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charts/chart1.xml" ContentType="application/vnd.openxmlformats-officedocument.drawingml.chart+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charts/chart2.xml" ContentType="application/vnd.openxmlformats-officedocument.drawingml.chart+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charts/chart3.xml" ContentType="application/vnd.openxmlformats-officedocument.drawingml.chart+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charts/chart4.xml" ContentType="application/vnd.openxmlformats-officedocument.drawingml.chart+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841" r:id="rId2"/>
  </p:sldMasterIdLst>
  <p:notesMasterIdLst>
    <p:notesMasterId r:id="rId11"/>
  </p:notesMasterIdLst>
  <p:handoutMasterIdLst>
    <p:handoutMasterId r:id="rId12"/>
  </p:handoutMasterIdLst>
  <p:sldIdLst>
    <p:sldId id="285" r:id="rId3"/>
    <p:sldId id="307" r:id="rId4"/>
    <p:sldId id="302" r:id="rId5"/>
    <p:sldId id="299" r:id="rId6"/>
    <p:sldId id="305" r:id="rId7"/>
    <p:sldId id="296" r:id="rId8"/>
    <p:sldId id="293" r:id="rId9"/>
    <p:sldId id="292" r:id="rId10"/>
  </p:sldIdLst>
  <p:sldSz cx="12192000" cy="6858000"/>
  <p:notesSz cx="6794500" cy="9931400"/>
  <p:custDataLst>
    <p:tags r:id="rId13"/>
  </p:custDataLst>
  <p:defaultTextStyle>
    <a:defPPr>
      <a:defRPr lang="en-US"/>
    </a:defPPr>
    <a:lvl1pPr marL="0" algn="l" defTabSz="1072819" rtl="0" eaLnBrk="1" latinLnBrk="0" hangingPunct="1">
      <a:defRPr sz="2100" kern="1200">
        <a:solidFill>
          <a:schemeClr val="tx1"/>
        </a:solidFill>
        <a:latin typeface="+mn-lt"/>
        <a:ea typeface="+mn-ea"/>
        <a:cs typeface="+mn-cs"/>
      </a:defRPr>
    </a:lvl1pPr>
    <a:lvl2pPr marL="536410" algn="l" defTabSz="1072819" rtl="0" eaLnBrk="1" latinLnBrk="0" hangingPunct="1">
      <a:defRPr sz="2100" kern="1200">
        <a:solidFill>
          <a:schemeClr val="tx1"/>
        </a:solidFill>
        <a:latin typeface="+mn-lt"/>
        <a:ea typeface="+mn-ea"/>
        <a:cs typeface="+mn-cs"/>
      </a:defRPr>
    </a:lvl2pPr>
    <a:lvl3pPr marL="1072819" algn="l" defTabSz="1072819" rtl="0" eaLnBrk="1" latinLnBrk="0" hangingPunct="1">
      <a:defRPr sz="2100" kern="1200">
        <a:solidFill>
          <a:schemeClr val="tx1"/>
        </a:solidFill>
        <a:latin typeface="+mn-lt"/>
        <a:ea typeface="+mn-ea"/>
        <a:cs typeface="+mn-cs"/>
      </a:defRPr>
    </a:lvl3pPr>
    <a:lvl4pPr marL="1609227" algn="l" defTabSz="1072819" rtl="0" eaLnBrk="1" latinLnBrk="0" hangingPunct="1">
      <a:defRPr sz="2100" kern="1200">
        <a:solidFill>
          <a:schemeClr val="tx1"/>
        </a:solidFill>
        <a:latin typeface="+mn-lt"/>
        <a:ea typeface="+mn-ea"/>
        <a:cs typeface="+mn-cs"/>
      </a:defRPr>
    </a:lvl4pPr>
    <a:lvl5pPr marL="2145636" algn="l" defTabSz="1072819" rtl="0" eaLnBrk="1" latinLnBrk="0" hangingPunct="1">
      <a:defRPr sz="2100" kern="1200">
        <a:solidFill>
          <a:schemeClr val="tx1"/>
        </a:solidFill>
        <a:latin typeface="+mn-lt"/>
        <a:ea typeface="+mn-ea"/>
        <a:cs typeface="+mn-cs"/>
      </a:defRPr>
    </a:lvl5pPr>
    <a:lvl6pPr marL="2682046" algn="l" defTabSz="1072819" rtl="0" eaLnBrk="1" latinLnBrk="0" hangingPunct="1">
      <a:defRPr sz="2100" kern="1200">
        <a:solidFill>
          <a:schemeClr val="tx1"/>
        </a:solidFill>
        <a:latin typeface="+mn-lt"/>
        <a:ea typeface="+mn-ea"/>
        <a:cs typeface="+mn-cs"/>
      </a:defRPr>
    </a:lvl6pPr>
    <a:lvl7pPr marL="3218456" algn="l" defTabSz="1072819" rtl="0" eaLnBrk="1" latinLnBrk="0" hangingPunct="1">
      <a:defRPr sz="2100" kern="1200">
        <a:solidFill>
          <a:schemeClr val="tx1"/>
        </a:solidFill>
        <a:latin typeface="+mn-lt"/>
        <a:ea typeface="+mn-ea"/>
        <a:cs typeface="+mn-cs"/>
      </a:defRPr>
    </a:lvl7pPr>
    <a:lvl8pPr marL="3754864" algn="l" defTabSz="1072819" rtl="0" eaLnBrk="1" latinLnBrk="0" hangingPunct="1">
      <a:defRPr sz="2100" kern="1200">
        <a:solidFill>
          <a:schemeClr val="tx1"/>
        </a:solidFill>
        <a:latin typeface="+mn-lt"/>
        <a:ea typeface="+mn-ea"/>
        <a:cs typeface="+mn-cs"/>
      </a:defRPr>
    </a:lvl8pPr>
    <a:lvl9pPr marL="4291274" algn="l" defTabSz="1072819"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2" pos="574" userDrawn="1">
          <p15:clr>
            <a:srgbClr val="A4A3A4"/>
          </p15:clr>
        </p15:guide>
        <p15:guide id="5" orient="horz" pos="777" userDrawn="1">
          <p15:clr>
            <a:srgbClr val="A4A3A4"/>
          </p15:clr>
        </p15:guide>
        <p15:guide id="6" orient="horz" pos="3997" userDrawn="1">
          <p15:clr>
            <a:srgbClr val="A4A3A4"/>
          </p15:clr>
        </p15:guide>
        <p15:guide id="11" pos="7285" userDrawn="1">
          <p15:clr>
            <a:srgbClr val="A4A3A4"/>
          </p15:clr>
        </p15:guide>
      </p15:sldGuideLst>
    </p:ext>
    <p:ext uri="{2D200454-40CA-4A62-9FC3-DE9A4176ACB9}">
      <p15:notesGuideLst xmlns:p15="http://schemas.microsoft.com/office/powerpoint/2012/main">
        <p15:guide id="1" orient="horz" pos="3129" userDrawn="1">
          <p15:clr>
            <a:srgbClr val="A4A3A4"/>
          </p15:clr>
        </p15:guide>
        <p15:guide id="2" pos="214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ania Beard" initials="TB" lastIdx="0" clrIdx="0">
    <p:extLst>
      <p:ext uri="{19B8F6BF-5375-455C-9EA6-DF929625EA0E}">
        <p15:presenceInfo xmlns:p15="http://schemas.microsoft.com/office/powerpoint/2012/main" userId="S-1-5-21-3324274095-3891562277-1554038188-100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A3DC"/>
    <a:srgbClr val="CBE7D7"/>
    <a:srgbClr val="77B8E4"/>
    <a:srgbClr val="D6D6D6"/>
    <a:srgbClr val="55BD8C"/>
    <a:srgbClr val="8A69AD"/>
    <a:srgbClr val="ACD0EE"/>
    <a:srgbClr val="855EAA"/>
    <a:srgbClr val="F9B8AA"/>
    <a:srgbClr val="ADD1E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651" autoAdjust="0"/>
    <p:restoredTop sz="93933" autoAdjust="0"/>
  </p:normalViewPr>
  <p:slideViewPr>
    <p:cSldViewPr snapToGrid="0" snapToObjects="1">
      <p:cViewPr varScale="1">
        <p:scale>
          <a:sx n="112" d="100"/>
          <a:sy n="112" d="100"/>
        </p:scale>
        <p:origin x="660" y="96"/>
      </p:cViewPr>
      <p:guideLst>
        <p:guide pos="574"/>
        <p:guide orient="horz" pos="777"/>
        <p:guide orient="horz" pos="3997"/>
        <p:guide pos="7285"/>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snapToObjects="1">
      <p:cViewPr varScale="1">
        <p:scale>
          <a:sx n="56" d="100"/>
          <a:sy n="56" d="100"/>
        </p:scale>
        <p:origin x="3288" y="48"/>
      </p:cViewPr>
      <p:guideLst>
        <p:guide orient="horz" pos="3129"/>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549937836717777E-2"/>
          <c:y val="0.11859838274932616"/>
          <c:w val="0.95690012432656435"/>
          <c:h val="0.81132075471698117"/>
        </c:manualLayout>
      </c:layout>
      <c:barChart>
        <c:barDir val="col"/>
        <c:grouping val="stacked"/>
        <c:varyColors val="0"/>
        <c:ser>
          <c:idx val="0"/>
          <c:order val="0"/>
          <c:spPr>
            <a:noFill/>
            <a:ln>
              <a:noFill/>
            </a:ln>
          </c:spPr>
          <c:invertIfNegative val="0"/>
          <c:dPt>
            <c:idx val="0"/>
            <c:invertIfNegative val="0"/>
            <c:bubble3D val="0"/>
            <c:spPr>
              <a:solidFill>
                <a:srgbClr val="ACD0EE"/>
              </a:solidFill>
              <a:ln>
                <a:noFill/>
              </a:ln>
            </c:spPr>
            <c:extLst>
              <c:ext xmlns:c16="http://schemas.microsoft.com/office/drawing/2014/chart" uri="{C3380CC4-5D6E-409C-BE32-E72D297353CC}">
                <c16:uniqueId val="{00000000-2137-44E4-BDDE-27B88D303878}"/>
              </c:ext>
            </c:extLst>
          </c:dPt>
          <c:dPt>
            <c:idx val="4"/>
            <c:invertIfNegative val="0"/>
            <c:bubble3D val="0"/>
            <c:spPr>
              <a:solidFill>
                <a:srgbClr val="ACD0EE"/>
              </a:solidFill>
              <a:ln>
                <a:noFill/>
              </a:ln>
            </c:spPr>
            <c:extLst>
              <c:ext xmlns:c16="http://schemas.microsoft.com/office/drawing/2014/chart" uri="{C3380CC4-5D6E-409C-BE32-E72D297353CC}">
                <c16:uniqueId val="{00000001-2137-44E4-BDDE-27B88D303878}"/>
              </c:ext>
            </c:extLst>
          </c:dPt>
          <c:dLbls>
            <c:dLbl>
              <c:idx val="0"/>
              <c:layout>
                <c:manualLayout>
                  <c:x val="0"/>
                  <c:y val="-0.46630727762803237"/>
                </c:manualLayout>
              </c:layout>
              <c:numFmt formatCode="#,##0&quot;%&quot;;&quot;-&quot;#,##0&quot;%&quot;" sourceLinked="0"/>
              <c:spPr>
                <a:noFill/>
                <a:ln>
                  <a:noFill/>
                </a:ln>
              </c:spPr>
              <c:txPr>
                <a:bodyPr wrap="none"/>
                <a:lstStyle/>
                <a:p>
                  <a:pPr>
                    <a:defRPr sz="600">
                      <a:solidFill>
                        <a:srgbClr val="707274"/>
                      </a:solidFill>
                      <a:latin typeface="Proxima Nova A"/>
                      <a:ea typeface="+mn-ea"/>
                      <a:cs typeface="Arial"/>
                      <a:sym typeface="Proxima Nova 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137-44E4-BDDE-27B88D303878}"/>
                </c:ext>
              </c:extLst>
            </c:dLbl>
            <c:dLbl>
              <c:idx val="4"/>
              <c:layout>
                <c:manualLayout>
                  <c:x val="0"/>
                  <c:y val="-8.8948787061994605E-2"/>
                </c:manualLayout>
              </c:layout>
              <c:numFmt formatCode="#,##0&quot;%&quot;;&quot;-&quot;#,##0&quot;%&quot;" sourceLinked="0"/>
              <c:spPr>
                <a:noFill/>
                <a:ln>
                  <a:noFill/>
                </a:ln>
              </c:spPr>
              <c:txPr>
                <a:bodyPr wrap="none"/>
                <a:lstStyle/>
                <a:p>
                  <a:pPr>
                    <a:defRPr sz="600">
                      <a:solidFill>
                        <a:srgbClr val="707274"/>
                      </a:solidFill>
                      <a:latin typeface="Proxima Nova A"/>
                      <a:ea typeface="Proxima Nova A"/>
                      <a:cs typeface="Proxima Nova A"/>
                      <a:sym typeface="Proxima Nova 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137-44E4-BDDE-27B88D30387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99.999993568398281</c:v>
                </c:pt>
                <c:pt idx="1">
                  <c:v>74.117634914560469</c:v>
                </c:pt>
                <c:pt idx="2">
                  <c:v>26.80240071795096</c:v>
                </c:pt>
                <c:pt idx="3">
                  <c:v>6.9886001928872341</c:v>
                </c:pt>
                <c:pt idx="4">
                  <c:v>6.9886001928872341</c:v>
                </c:pt>
              </c:numCache>
            </c:numRef>
          </c:val>
          <c:extLst>
            <c:ext xmlns:c16="http://schemas.microsoft.com/office/drawing/2014/chart" uri="{C3380CC4-5D6E-409C-BE32-E72D297353CC}">
              <c16:uniqueId val="{00000002-2137-44E4-BDDE-27B88D303878}"/>
            </c:ext>
          </c:extLst>
        </c:ser>
        <c:ser>
          <c:idx val="1"/>
          <c:order val="1"/>
          <c:spPr>
            <a:solidFill>
              <a:srgbClr val="ACD0EE"/>
            </a:solidFill>
            <a:ln>
              <a:noFill/>
            </a:ln>
          </c:spPr>
          <c:invertIfNegative val="0"/>
          <c:dLbls>
            <c:dLbl>
              <c:idx val="1"/>
              <c:layout>
                <c:manualLayout>
                  <c:x val="0"/>
                  <c:y val="-0.16576819407008087"/>
                </c:manualLayout>
              </c:layout>
              <c:numFmt formatCode="#,##0&quot;%&quot;;&quot;-&quot;#,##0&quot;%&quot;" sourceLinked="0"/>
              <c:spPr>
                <a:noFill/>
                <a:ln>
                  <a:noFill/>
                </a:ln>
              </c:spPr>
              <c:txPr>
                <a:bodyPr wrap="none"/>
                <a:lstStyle/>
                <a:p>
                  <a:pPr>
                    <a:defRPr sz="600">
                      <a:solidFill>
                        <a:srgbClr val="707274"/>
                      </a:solidFill>
                      <a:latin typeface="Proxima Nova A"/>
                      <a:ea typeface="Proxima Nova A"/>
                      <a:cs typeface="Proxima Nova A"/>
                      <a:sym typeface="Proxima Nova 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137-44E4-BDDE-27B88D303878}"/>
                </c:ext>
              </c:extLst>
            </c:dLbl>
            <c:dLbl>
              <c:idx val="2"/>
              <c:layout>
                <c:manualLayout>
                  <c:x val="0"/>
                  <c:y val="-0.25202156334231807"/>
                </c:manualLayout>
              </c:layout>
              <c:numFmt formatCode="#,##0&quot;%&quot;;&quot;-&quot;#,##0&quot;%&quot;" sourceLinked="0"/>
              <c:spPr>
                <a:noFill/>
                <a:ln>
                  <a:noFill/>
                </a:ln>
              </c:spPr>
              <c:txPr>
                <a:bodyPr wrap="none"/>
                <a:lstStyle/>
                <a:p>
                  <a:pPr>
                    <a:defRPr sz="600">
                      <a:solidFill>
                        <a:srgbClr val="707274"/>
                      </a:solidFill>
                      <a:latin typeface="Proxima Nova A"/>
                      <a:ea typeface="Proxima Nova A"/>
                      <a:cs typeface="Proxima Nova A"/>
                      <a:sym typeface="Proxima Nova 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137-44E4-BDDE-27B88D303878}"/>
                </c:ext>
              </c:extLst>
            </c:dLbl>
            <c:dLbl>
              <c:idx val="3"/>
              <c:layout>
                <c:manualLayout>
                  <c:x val="0"/>
                  <c:y val="-0.14016172506738545"/>
                </c:manualLayout>
              </c:layout>
              <c:numFmt formatCode="#,##0&quot;%&quot;;&quot;-&quot;#,##0&quot;%&quot;" sourceLinked="0"/>
              <c:spPr>
                <a:noFill/>
                <a:ln>
                  <a:noFill/>
                </a:ln>
              </c:spPr>
              <c:txPr>
                <a:bodyPr wrap="none"/>
                <a:lstStyle/>
                <a:p>
                  <a:pPr>
                    <a:defRPr sz="600">
                      <a:solidFill>
                        <a:srgbClr val="707274"/>
                      </a:solidFill>
                      <a:latin typeface="Proxima Nova A"/>
                      <a:ea typeface="Proxima Nova A"/>
                      <a:cs typeface="Proxima Nova A"/>
                      <a:sym typeface="Proxima Nova 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137-44E4-BDDE-27B88D30387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1">
                  <c:v>25.882358653837812</c:v>
                </c:pt>
                <c:pt idx="2">
                  <c:v>47.315234196609509</c:v>
                </c:pt>
                <c:pt idx="3">
                  <c:v>19.813800525063726</c:v>
                </c:pt>
              </c:numCache>
            </c:numRef>
          </c:val>
          <c:extLst>
            <c:ext xmlns:c16="http://schemas.microsoft.com/office/drawing/2014/chart" uri="{C3380CC4-5D6E-409C-BE32-E72D297353CC}">
              <c16:uniqueId val="{00000006-2137-44E4-BDDE-27B88D303878}"/>
            </c:ext>
          </c:extLst>
        </c:ser>
        <c:dLbls>
          <c:showLegendKey val="0"/>
          <c:showVal val="0"/>
          <c:showCatName val="0"/>
          <c:showSerName val="0"/>
          <c:showPercent val="0"/>
          <c:showBubbleSize val="0"/>
        </c:dLbls>
        <c:gapWidth val="80"/>
        <c:overlap val="100"/>
        <c:axId val="1008372752"/>
        <c:axId val="1"/>
      </c:barChart>
      <c:catAx>
        <c:axId val="1008372752"/>
        <c:scaling>
          <c:orientation val="minMax"/>
        </c:scaling>
        <c:delete val="0"/>
        <c:axPos val="b"/>
        <c:majorGridlines>
          <c:spPr>
            <a:ln>
              <a:noFill/>
            </a:ln>
          </c:spPr>
        </c:majorGridlines>
        <c:majorTickMark val="none"/>
        <c:minorTickMark val="none"/>
        <c:tickLblPos val="none"/>
        <c:spPr>
          <a:ln w="6350" algn="ctr">
            <a:solidFill>
              <a:srgbClr val="D6D6D6"/>
            </a:solidFill>
            <a:prstDash val="solid"/>
          </a:ln>
        </c:spPr>
        <c:crossAx val="1"/>
        <c:crosses val="min"/>
        <c:auto val="0"/>
        <c:lblAlgn val="ctr"/>
        <c:lblOffset val="100"/>
        <c:noMultiLvlLbl val="0"/>
      </c:catAx>
      <c:valAx>
        <c:axId val="1"/>
        <c:scaling>
          <c:orientation val="minMax"/>
          <c:max val="99.999993568398281"/>
          <c:min val="0"/>
        </c:scaling>
        <c:delete val="1"/>
        <c:axPos val="l"/>
        <c:numFmt formatCode="General" sourceLinked="1"/>
        <c:majorTickMark val="out"/>
        <c:minorTickMark val="none"/>
        <c:tickLblPos val="nextTo"/>
        <c:crossAx val="1008372752"/>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73127501429388E-2"/>
          <c:y val="3.5064059339177341E-2"/>
          <c:w val="0.9405374499714122"/>
          <c:h val="0.92987188132164533"/>
        </c:manualLayout>
      </c:layout>
      <c:barChart>
        <c:barDir val="col"/>
        <c:grouping val="stacked"/>
        <c:varyColors val="0"/>
        <c:ser>
          <c:idx val="0"/>
          <c:order val="0"/>
          <c:spPr>
            <a:solidFill>
              <a:srgbClr val="77B8E4"/>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600" b="1">
                      <a:solidFill>
                        <a:schemeClr val="bg1"/>
                      </a:solidFill>
                      <a:latin typeface="Proxima Nova A"/>
                      <a:ea typeface="Proxima Nova A"/>
                      <a:cs typeface="Proxima Nova A"/>
                      <a:sym typeface="Proxima Nova 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473-40B5-B05A-C9362EF6CD11}"/>
                </c:ext>
              </c:extLst>
            </c:dLbl>
            <c:dLbl>
              <c:idx val="2"/>
              <c:layout>
                <c:manualLayout>
                  <c:x val="0"/>
                  <c:y val="-6.7430883344571813E-4"/>
                </c:manualLayout>
              </c:layout>
              <c:numFmt formatCode="#,##0&quot;%&quot;;&quot;-&quot;#,##0&quot;%&quot;" sourceLinked="0"/>
              <c:spPr>
                <a:noFill/>
                <a:ln>
                  <a:noFill/>
                </a:ln>
              </c:spPr>
              <c:txPr>
                <a:bodyPr wrap="none"/>
                <a:lstStyle/>
                <a:p>
                  <a:pPr>
                    <a:defRPr sz="600" b="1">
                      <a:solidFill>
                        <a:schemeClr val="bg1"/>
                      </a:solidFill>
                      <a:latin typeface="Proxima Nova A"/>
                      <a:ea typeface="Proxima Nova A"/>
                      <a:cs typeface="Proxima Nova A"/>
                      <a:sym typeface="Proxima Nova 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473-40B5-B05A-C9362EF6CD1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95</c:v>
                </c:pt>
                <c:pt idx="2">
                  <c:v>62.999999999999986</c:v>
                </c:pt>
              </c:numCache>
            </c:numRef>
          </c:val>
          <c:extLst>
            <c:ext xmlns:c16="http://schemas.microsoft.com/office/drawing/2014/chart" uri="{C3380CC4-5D6E-409C-BE32-E72D297353CC}">
              <c16:uniqueId val="{00000002-1473-40B5-B05A-C9362EF6CD11}"/>
            </c:ext>
          </c:extLst>
        </c:ser>
        <c:ser>
          <c:idx val="1"/>
          <c:order val="1"/>
          <c:spPr>
            <a:solidFill>
              <a:srgbClr val="E0ECF9"/>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600">
                      <a:solidFill>
                        <a:srgbClr val="606060"/>
                      </a:solidFill>
                      <a:latin typeface="Proxima Nova A"/>
                      <a:ea typeface="Proxima Nova A"/>
                      <a:cs typeface="Proxima Nova A"/>
                      <a:sym typeface="Proxima Nova 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473-40B5-B05A-C9362EF6CD11}"/>
                </c:ext>
              </c:extLst>
            </c:dLbl>
            <c:dLbl>
              <c:idx val="2"/>
              <c:layout>
                <c:manualLayout>
                  <c:x val="0"/>
                  <c:y val="-6.7430883344571813E-4"/>
                </c:manualLayout>
              </c:layout>
              <c:numFmt formatCode="#,##0&quot;%&quot;;&quot;-&quot;#,##0&quot;%&quot;" sourceLinked="0"/>
              <c:spPr>
                <a:noFill/>
                <a:ln>
                  <a:noFill/>
                </a:ln>
              </c:spPr>
              <c:txPr>
                <a:bodyPr wrap="none"/>
                <a:lstStyle/>
                <a:p>
                  <a:pPr>
                    <a:defRPr sz="600" b="1">
                      <a:solidFill>
                        <a:srgbClr val="707274"/>
                      </a:solidFill>
                      <a:latin typeface="Proxima Nova A"/>
                      <a:ea typeface="+mn-ea"/>
                      <a:cs typeface="Arial"/>
                      <a:sym typeface="Proxima Nova 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473-40B5-B05A-C9362EF6CD1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5</c:v>
                </c:pt>
                <c:pt idx="2">
                  <c:v>32</c:v>
                </c:pt>
              </c:numCache>
            </c:numRef>
          </c:val>
          <c:extLst>
            <c:ext xmlns:c16="http://schemas.microsoft.com/office/drawing/2014/chart" uri="{C3380CC4-5D6E-409C-BE32-E72D297353CC}">
              <c16:uniqueId val="{00000005-1473-40B5-B05A-C9362EF6CD11}"/>
            </c:ext>
          </c:extLst>
        </c:ser>
        <c:dLbls>
          <c:showLegendKey val="0"/>
          <c:showVal val="0"/>
          <c:showCatName val="0"/>
          <c:showSerName val="0"/>
          <c:showPercent val="0"/>
          <c:showBubbleSize val="0"/>
        </c:dLbls>
        <c:gapWidth val="80"/>
        <c:overlap val="100"/>
        <c:axId val="1162573296"/>
        <c:axId val="1"/>
      </c:barChart>
      <c:catAx>
        <c:axId val="1162573296"/>
        <c:scaling>
          <c:orientation val="minMax"/>
        </c:scaling>
        <c:delete val="0"/>
        <c:axPos val="b"/>
        <c:majorGridlines>
          <c:spPr>
            <a:ln>
              <a:noFill/>
            </a:ln>
          </c:spPr>
        </c:majorGridlines>
        <c:majorTickMark val="none"/>
        <c:minorTickMark val="none"/>
        <c:tickLblPos val="none"/>
        <c:spPr>
          <a:ln w="6350" algn="ctr">
            <a:solidFill>
              <a:srgbClr val="D6D6D6"/>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162573296"/>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043592264831202E-2"/>
          <c:y val="0.11548556430446194"/>
          <c:w val="0.96591281547033758"/>
          <c:h val="0.81627296587926512"/>
        </c:manualLayout>
      </c:layout>
      <c:barChart>
        <c:barDir val="col"/>
        <c:grouping val="clustered"/>
        <c:varyColors val="0"/>
        <c:ser>
          <c:idx val="0"/>
          <c:order val="0"/>
          <c:spPr>
            <a:solidFill>
              <a:srgbClr val="F58A77"/>
            </a:solidFill>
            <a:ln>
              <a:noFill/>
            </a:ln>
          </c:spPr>
          <c:invertIfNegative val="0"/>
          <c:dLbls>
            <c:dLbl>
              <c:idx val="0"/>
              <c:layout>
                <c:manualLayout>
                  <c:x val="0"/>
                  <c:y val="-2.2309711286089239E-2"/>
                </c:manualLayout>
              </c:layout>
              <c:numFmt formatCode="#,##0.0&quot;%&quot;;&quot;-&quot;#,##0.0&quot;%&quot;" sourceLinked="0"/>
              <c:spPr>
                <a:noFill/>
                <a:ln>
                  <a:noFill/>
                </a:ln>
              </c:spPr>
              <c:txPr>
                <a:bodyPr wrap="none"/>
                <a:lstStyle/>
                <a:p>
                  <a:pPr>
                    <a:defRPr sz="600">
                      <a:solidFill>
                        <a:srgbClr val="707274"/>
                      </a:solidFill>
                      <a:latin typeface="Proxima Nova A"/>
                      <a:ea typeface="Proxima Nova A"/>
                      <a:cs typeface="Proxima Nova A"/>
                      <a:sym typeface="Proxima Nova 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02E-422A-82C8-2FB20B102CD3}"/>
                </c:ext>
              </c:extLst>
            </c:dLbl>
            <c:dLbl>
              <c:idx val="1"/>
              <c:layout>
                <c:manualLayout>
                  <c:x val="0"/>
                  <c:y val="-4.7244094488188976E-2"/>
                </c:manualLayout>
              </c:layout>
              <c:numFmt formatCode="#,##0.0&quot;%&quot;;&quot;-&quot;#,##0.0&quot;%&quot;" sourceLinked="0"/>
              <c:spPr>
                <a:noFill/>
                <a:ln>
                  <a:noFill/>
                </a:ln>
              </c:spPr>
              <c:txPr>
                <a:bodyPr wrap="none"/>
                <a:lstStyle/>
                <a:p>
                  <a:pPr>
                    <a:defRPr sz="600">
                      <a:solidFill>
                        <a:srgbClr val="707274"/>
                      </a:solidFill>
                      <a:latin typeface="Proxima Nova A"/>
                      <a:ea typeface="Proxima Nova A"/>
                      <a:cs typeface="Proxima Nova A"/>
                      <a:sym typeface="Proxima Nova 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02E-422A-82C8-2FB20B102CD3}"/>
                </c:ext>
              </c:extLst>
            </c:dLbl>
            <c:dLbl>
              <c:idx val="2"/>
              <c:layout>
                <c:manualLayout>
                  <c:x val="0"/>
                  <c:y val="2.2309711286089239E-2"/>
                </c:manualLayout>
              </c:layout>
              <c:numFmt formatCode="#,##0.0&quot;%&quot;;&quot;-&quot;#,##0.0&quot;%&quot;" sourceLinked="0"/>
              <c:spPr>
                <a:noFill/>
                <a:ln>
                  <a:noFill/>
                </a:ln>
              </c:spPr>
              <c:txPr>
                <a:bodyPr wrap="none"/>
                <a:lstStyle/>
                <a:p>
                  <a:pPr>
                    <a:defRPr sz="600">
                      <a:solidFill>
                        <a:srgbClr val="707274"/>
                      </a:solidFill>
                      <a:latin typeface="Proxima Nova A"/>
                      <a:ea typeface="Proxima Nova A"/>
                      <a:cs typeface="Proxima Nova A"/>
                      <a:sym typeface="Proxima Nova 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02E-422A-82C8-2FB20B102CD3}"/>
                </c:ext>
              </c:extLst>
            </c:dLbl>
            <c:dLbl>
              <c:idx val="3"/>
              <c:layout>
                <c:manualLayout>
                  <c:x val="0"/>
                  <c:y val="-0.13648293963254593"/>
                </c:manualLayout>
              </c:layout>
              <c:numFmt formatCode="#,##0.0&quot;%&quot;;&quot;-&quot;#,##0.0&quot;%&quot;" sourceLinked="0"/>
              <c:spPr>
                <a:noFill/>
                <a:ln>
                  <a:noFill/>
                </a:ln>
              </c:spPr>
              <c:txPr>
                <a:bodyPr wrap="none"/>
                <a:lstStyle/>
                <a:p>
                  <a:pPr>
                    <a:defRPr sz="600">
                      <a:solidFill>
                        <a:srgbClr val="707274"/>
                      </a:solidFill>
                      <a:latin typeface="Proxima Nova A"/>
                      <a:ea typeface="Proxima Nova A"/>
                      <a:cs typeface="Proxima Nova A"/>
                      <a:sym typeface="Proxima Nova 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02E-422A-82C8-2FB20B102CD3}"/>
                </c:ext>
              </c:extLst>
            </c:dLbl>
            <c:dLbl>
              <c:idx val="4"/>
              <c:layout>
                <c:manualLayout>
                  <c:x val="0"/>
                  <c:y val="-9.1863517060367453E-3"/>
                </c:manualLayout>
              </c:layout>
              <c:numFmt formatCode="#,##0.0&quot;%&quot;;&quot;-&quot;#,##0.0&quot;%&quot;" sourceLinked="0"/>
              <c:spPr>
                <a:noFill/>
                <a:ln>
                  <a:noFill/>
                </a:ln>
              </c:spPr>
              <c:txPr>
                <a:bodyPr wrap="none"/>
                <a:lstStyle/>
                <a:p>
                  <a:pPr>
                    <a:defRPr sz="600">
                      <a:solidFill>
                        <a:srgbClr val="707274"/>
                      </a:solidFill>
                      <a:latin typeface="Proxima Nova A"/>
                      <a:ea typeface="Proxima Nova A"/>
                      <a:cs typeface="Proxima Nova A"/>
                      <a:sym typeface="Proxima Nova 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02E-422A-82C8-2FB20B102CD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02</c:v>
                </c:pt>
                <c:pt idx="1">
                  <c:v>1.52</c:v>
                </c:pt>
                <c:pt idx="2">
                  <c:v>0.123</c:v>
                </c:pt>
                <c:pt idx="3">
                  <c:v>3.31</c:v>
                </c:pt>
                <c:pt idx="4">
                  <c:v>0.76700000000000002</c:v>
                </c:pt>
              </c:numCache>
            </c:numRef>
          </c:val>
          <c:extLst>
            <c:ext xmlns:c16="http://schemas.microsoft.com/office/drawing/2014/chart" uri="{C3380CC4-5D6E-409C-BE32-E72D297353CC}">
              <c16:uniqueId val="{00000005-F02E-422A-82C8-2FB20B102CD3}"/>
            </c:ext>
          </c:extLst>
        </c:ser>
        <c:ser>
          <c:idx val="1"/>
          <c:order val="1"/>
          <c:spPr>
            <a:solidFill>
              <a:srgbClr val="D9D6D6"/>
            </a:solidFill>
            <a:ln>
              <a:noFill/>
            </a:ln>
          </c:spPr>
          <c:invertIfNegative val="0"/>
          <c:dLbls>
            <c:dLbl>
              <c:idx val="0"/>
              <c:layout>
                <c:manualLayout>
                  <c:x val="0"/>
                  <c:y val="-0.46719160104986879"/>
                </c:manualLayout>
              </c:layout>
              <c:numFmt formatCode="#,##0.0&quot;%&quot;;&quot;-&quot;#,##0.0&quot;%&quot;" sourceLinked="0"/>
              <c:spPr>
                <a:noFill/>
                <a:ln>
                  <a:noFill/>
                </a:ln>
              </c:spPr>
              <c:txPr>
                <a:bodyPr wrap="none"/>
                <a:lstStyle/>
                <a:p>
                  <a:pPr>
                    <a:defRPr sz="600">
                      <a:solidFill>
                        <a:srgbClr val="707274"/>
                      </a:solidFill>
                      <a:latin typeface="Proxima Nova A"/>
                      <a:ea typeface="Proxima Nova A"/>
                      <a:cs typeface="Proxima Nova A"/>
                      <a:sym typeface="Proxima Nova 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02E-422A-82C8-2FB20B102CD3}"/>
                </c:ext>
              </c:extLst>
            </c:dLbl>
            <c:dLbl>
              <c:idx val="1"/>
              <c:layout>
                <c:manualLayout>
                  <c:x val="0"/>
                  <c:y val="-0.28346456692913385"/>
                </c:manualLayout>
              </c:layout>
              <c:numFmt formatCode="#,##0.0&quot;%&quot;;&quot;-&quot;#,##0.0&quot;%&quot;" sourceLinked="0"/>
              <c:spPr>
                <a:noFill/>
                <a:ln>
                  <a:noFill/>
                </a:ln>
              </c:spPr>
              <c:txPr>
                <a:bodyPr wrap="none"/>
                <a:lstStyle/>
                <a:p>
                  <a:pPr>
                    <a:defRPr sz="600">
                      <a:solidFill>
                        <a:srgbClr val="707274"/>
                      </a:solidFill>
                      <a:latin typeface="Proxima Nova A"/>
                      <a:ea typeface="Proxima Nova A"/>
                      <a:cs typeface="Proxima Nova A"/>
                      <a:sym typeface="Proxima Nova 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02E-422A-82C8-2FB20B102CD3}"/>
                </c:ext>
              </c:extLst>
            </c:dLbl>
            <c:dLbl>
              <c:idx val="2"/>
              <c:layout>
                <c:manualLayout>
                  <c:x val="0"/>
                  <c:y val="1.1811023622047244E-2"/>
                </c:manualLayout>
              </c:layout>
              <c:numFmt formatCode="#,##0.0&quot;%&quot;;&quot;-&quot;#,##0.0&quot;%&quot;" sourceLinked="0"/>
              <c:spPr>
                <a:noFill/>
                <a:ln>
                  <a:noFill/>
                </a:ln>
              </c:spPr>
              <c:txPr>
                <a:bodyPr wrap="none"/>
                <a:lstStyle/>
                <a:p>
                  <a:pPr>
                    <a:defRPr sz="600">
                      <a:solidFill>
                        <a:srgbClr val="707274"/>
                      </a:solidFill>
                      <a:latin typeface="Proxima Nova A"/>
                      <a:ea typeface="Proxima Nova A"/>
                      <a:cs typeface="Proxima Nova A"/>
                      <a:sym typeface="Proxima Nova 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02E-422A-82C8-2FB20B102CD3}"/>
                </c:ext>
              </c:extLst>
            </c:dLbl>
            <c:dLbl>
              <c:idx val="3"/>
              <c:layout>
                <c:manualLayout>
                  <c:x val="0"/>
                  <c:y val="-0.21653543307086615"/>
                </c:manualLayout>
              </c:layout>
              <c:numFmt formatCode="#,##0.0&quot;%&quot;;&quot;-&quot;#,##0.0&quot;%&quot;" sourceLinked="0"/>
              <c:spPr>
                <a:noFill/>
                <a:ln>
                  <a:noFill/>
                </a:ln>
              </c:spPr>
              <c:txPr>
                <a:bodyPr wrap="none"/>
                <a:lstStyle/>
                <a:p>
                  <a:pPr>
                    <a:defRPr sz="600">
                      <a:solidFill>
                        <a:srgbClr val="707274"/>
                      </a:solidFill>
                      <a:latin typeface="Proxima Nova A"/>
                      <a:ea typeface="Proxima Nova A"/>
                      <a:cs typeface="Proxima Nova A"/>
                      <a:sym typeface="Proxima Nova 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02E-422A-82C8-2FB20B102CD3}"/>
                </c:ext>
              </c:extLst>
            </c:dLbl>
            <c:dLbl>
              <c:idx val="4"/>
              <c:layout>
                <c:manualLayout>
                  <c:x val="0"/>
                  <c:y val="-0.12860892388451445"/>
                </c:manualLayout>
              </c:layout>
              <c:numFmt formatCode="#,##0.0&quot;%&quot;;&quot;-&quot;#,##0.0&quot;%&quot;" sourceLinked="0"/>
              <c:spPr>
                <a:noFill/>
                <a:ln>
                  <a:noFill/>
                </a:ln>
              </c:spPr>
              <c:txPr>
                <a:bodyPr wrap="none"/>
                <a:lstStyle/>
                <a:p>
                  <a:pPr>
                    <a:defRPr sz="600">
                      <a:solidFill>
                        <a:srgbClr val="707274"/>
                      </a:solidFill>
                      <a:latin typeface="Proxima Nova A"/>
                      <a:ea typeface="Proxima Nova A"/>
                      <a:cs typeface="Proxima Nova A"/>
                      <a:sym typeface="Proxima Nova A"/>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02E-422A-82C8-2FB20B102CD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16.399999999999999</c:v>
                </c:pt>
                <c:pt idx="1">
                  <c:v>8.98</c:v>
                </c:pt>
                <c:pt idx="2">
                  <c:v>0.33100000000000002</c:v>
                </c:pt>
                <c:pt idx="3">
                  <c:v>6.32</c:v>
                </c:pt>
                <c:pt idx="4">
                  <c:v>3.17</c:v>
                </c:pt>
              </c:numCache>
            </c:numRef>
          </c:val>
          <c:extLst>
            <c:ext xmlns:c16="http://schemas.microsoft.com/office/drawing/2014/chart" uri="{C3380CC4-5D6E-409C-BE32-E72D297353CC}">
              <c16:uniqueId val="{0000000B-F02E-422A-82C8-2FB20B102CD3}"/>
            </c:ext>
          </c:extLst>
        </c:ser>
        <c:dLbls>
          <c:showLegendKey val="0"/>
          <c:showVal val="0"/>
          <c:showCatName val="0"/>
          <c:showSerName val="0"/>
          <c:showPercent val="0"/>
          <c:showBubbleSize val="0"/>
        </c:dLbls>
        <c:gapWidth val="150"/>
        <c:axId val="1162562096"/>
        <c:axId val="1"/>
      </c:barChart>
      <c:catAx>
        <c:axId val="1162562096"/>
        <c:scaling>
          <c:orientation val="minMax"/>
        </c:scaling>
        <c:delete val="0"/>
        <c:axPos val="b"/>
        <c:majorGridlines>
          <c:spPr>
            <a:ln>
              <a:noFill/>
            </a:ln>
          </c:spPr>
        </c:majorGridlines>
        <c:majorTickMark val="none"/>
        <c:minorTickMark val="none"/>
        <c:tickLblPos val="none"/>
        <c:spPr>
          <a:ln w="6350" algn="ctr">
            <a:solidFill>
              <a:srgbClr val="D6D6D6"/>
            </a:solidFill>
            <a:prstDash val="solid"/>
          </a:ln>
        </c:spPr>
        <c:crossAx val="1"/>
        <c:crosses val="min"/>
        <c:auto val="0"/>
        <c:lblAlgn val="ctr"/>
        <c:lblOffset val="100"/>
        <c:noMultiLvlLbl val="0"/>
      </c:catAx>
      <c:valAx>
        <c:axId val="1"/>
        <c:scaling>
          <c:orientation val="minMax"/>
          <c:max val="16.399999999999999"/>
          <c:min val="0"/>
        </c:scaling>
        <c:delete val="1"/>
        <c:axPos val="l"/>
        <c:numFmt formatCode="General" sourceLinked="1"/>
        <c:majorTickMark val="out"/>
        <c:minorTickMark val="none"/>
        <c:tickLblPos val="nextTo"/>
        <c:crossAx val="1162562096"/>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845476381104883E-2"/>
          <c:y val="4.2379788101059496E-2"/>
          <c:w val="0.89911929543634905"/>
          <c:h val="0.91524042379788095"/>
        </c:manualLayout>
      </c:layout>
      <c:doughnutChart>
        <c:varyColors val="0"/>
        <c:ser>
          <c:idx val="0"/>
          <c:order val="0"/>
          <c:dPt>
            <c:idx val="0"/>
            <c:bubble3D val="0"/>
            <c:spPr>
              <a:solidFill>
                <a:srgbClr val="175C96"/>
              </a:solidFill>
              <a:ln>
                <a:noFill/>
              </a:ln>
            </c:spPr>
            <c:extLst>
              <c:ext xmlns:c16="http://schemas.microsoft.com/office/drawing/2014/chart" uri="{C3380CC4-5D6E-409C-BE32-E72D297353CC}">
                <c16:uniqueId val="{00000000-7AEA-4C72-960B-50F2EAD80614}"/>
              </c:ext>
            </c:extLst>
          </c:dPt>
          <c:dPt>
            <c:idx val="1"/>
            <c:bubble3D val="0"/>
            <c:spPr>
              <a:solidFill>
                <a:srgbClr val="33A3DC"/>
              </a:solidFill>
              <a:ln>
                <a:noFill/>
              </a:ln>
            </c:spPr>
            <c:extLst>
              <c:ext xmlns:c16="http://schemas.microsoft.com/office/drawing/2014/chart" uri="{C3380CC4-5D6E-409C-BE32-E72D297353CC}">
                <c16:uniqueId val="{00000001-7AEA-4C72-960B-50F2EAD80614}"/>
              </c:ext>
            </c:extLst>
          </c:dPt>
          <c:dPt>
            <c:idx val="2"/>
            <c:bubble3D val="0"/>
            <c:spPr>
              <a:solidFill>
                <a:srgbClr val="77B8E4"/>
              </a:solidFill>
              <a:ln>
                <a:noFill/>
              </a:ln>
            </c:spPr>
            <c:extLst>
              <c:ext xmlns:c16="http://schemas.microsoft.com/office/drawing/2014/chart" uri="{C3380CC4-5D6E-409C-BE32-E72D297353CC}">
                <c16:uniqueId val="{00000002-7AEA-4C72-960B-50F2EAD80614}"/>
              </c:ext>
            </c:extLst>
          </c:dPt>
          <c:dPt>
            <c:idx val="3"/>
            <c:bubble3D val="0"/>
            <c:spPr>
              <a:solidFill>
                <a:srgbClr val="ACD0EE"/>
              </a:solidFill>
              <a:ln>
                <a:noFill/>
              </a:ln>
            </c:spPr>
            <c:extLst>
              <c:ext xmlns:c16="http://schemas.microsoft.com/office/drawing/2014/chart" uri="{C3380CC4-5D6E-409C-BE32-E72D297353CC}">
                <c16:uniqueId val="{00000003-7AEA-4C72-960B-50F2EAD80614}"/>
              </c:ext>
            </c:extLst>
          </c:dPt>
          <c:dPt>
            <c:idx val="4"/>
            <c:bubble3D val="0"/>
            <c:spPr>
              <a:solidFill>
                <a:srgbClr val="E1EDF9"/>
              </a:solidFill>
              <a:ln>
                <a:noFill/>
              </a:ln>
            </c:spPr>
            <c:extLst>
              <c:ext xmlns:c16="http://schemas.microsoft.com/office/drawing/2014/chart" uri="{C3380CC4-5D6E-409C-BE32-E72D297353CC}">
                <c16:uniqueId val="{00000004-7AEA-4C72-960B-50F2EAD80614}"/>
              </c:ext>
            </c:extLst>
          </c:dPt>
          <c:dLbls>
            <c:dLbl>
              <c:idx val="0"/>
              <c:layout>
                <c:manualLayout>
                  <c:x val="3.2025620496397116E-2"/>
                  <c:y val="7.3349633251833741E-3"/>
                </c:manualLayout>
              </c:layout>
              <c:numFmt formatCode="#,##0&quot;%&quot;;&quot;-&quot;#,##0&quot;%&quot;" sourceLinked="0"/>
              <c:spPr>
                <a:noFill/>
                <a:ln>
                  <a:noFill/>
                </a:ln>
              </c:spPr>
              <c:txPr>
                <a:bodyPr wrap="none"/>
                <a:lstStyle/>
                <a:p>
                  <a:pPr>
                    <a:defRPr sz="600">
                      <a:solidFill>
                        <a:srgbClr val="FFFFFF"/>
                      </a:solidFill>
                      <a:latin typeface="Proxima Nova A"/>
                      <a:ea typeface="Proxima Nova A"/>
                      <a:cs typeface="Proxima Nova A"/>
                      <a:sym typeface="Proxima Nova A"/>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AEA-4C72-960B-50F2EAD80614}"/>
                </c:ext>
              </c:extLst>
            </c:dLbl>
            <c:dLbl>
              <c:idx val="1"/>
              <c:layout>
                <c:manualLayout>
                  <c:x val="-3.6028823058446756E-2"/>
                  <c:y val="2.4449877750611247E-3"/>
                </c:manualLayout>
              </c:layout>
              <c:numFmt formatCode="#,##0&quot;%&quot;;&quot;-&quot;#,##0&quot;%&quot;" sourceLinked="0"/>
              <c:spPr>
                <a:noFill/>
                <a:ln>
                  <a:noFill/>
                </a:ln>
              </c:spPr>
              <c:txPr>
                <a:bodyPr wrap="none"/>
                <a:lstStyle/>
                <a:p>
                  <a:pPr>
                    <a:defRPr sz="600">
                      <a:solidFill>
                        <a:srgbClr val="FFFFFF"/>
                      </a:solidFill>
                      <a:latin typeface="Proxima Nova A"/>
                      <a:ea typeface="Proxima Nova A"/>
                      <a:cs typeface="Proxima Nova A"/>
                      <a:sym typeface="Proxima Nova A"/>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AEA-4C72-960B-50F2EAD80614}"/>
                </c:ext>
              </c:extLst>
            </c:dLbl>
            <c:dLbl>
              <c:idx val="2"/>
              <c:layout>
                <c:manualLayout>
                  <c:x val="-1.6012810248198558E-2"/>
                  <c:y val="-3.9934800325998367E-2"/>
                </c:manualLayout>
              </c:layout>
              <c:numFmt formatCode="#,##0&quot;%&quot;;&quot;-&quot;#,##0&quot;%&quot;" sourceLinked="0"/>
              <c:spPr>
                <a:noFill/>
                <a:ln>
                  <a:noFill/>
                </a:ln>
              </c:spPr>
              <c:txPr>
                <a:bodyPr wrap="none"/>
                <a:lstStyle/>
                <a:p>
                  <a:pPr>
                    <a:defRPr sz="600">
                      <a:solidFill>
                        <a:srgbClr val="FFFFFF"/>
                      </a:solidFill>
                      <a:latin typeface="Proxima Nova A"/>
                      <a:ea typeface="Proxima Nova A"/>
                      <a:cs typeface="Proxima Nova A"/>
                      <a:sym typeface="Proxima Nova A"/>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AEA-4C72-960B-50F2EAD8061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56.999999999999993</c:v>
                </c:pt>
                <c:pt idx="1">
                  <c:v>34</c:v>
                </c:pt>
                <c:pt idx="2">
                  <c:v>6</c:v>
                </c:pt>
                <c:pt idx="3">
                  <c:v>2</c:v>
                </c:pt>
                <c:pt idx="4">
                  <c:v>1</c:v>
                </c:pt>
              </c:numCache>
            </c:numRef>
          </c:val>
          <c:extLst>
            <c:ext xmlns:c16="http://schemas.microsoft.com/office/drawing/2014/chart" uri="{C3380CC4-5D6E-409C-BE32-E72D297353CC}">
              <c16:uniqueId val="{00000005-7AEA-4C72-960B-50F2EAD80614}"/>
            </c:ext>
          </c:extLst>
        </c:ser>
        <c:dLbls>
          <c:showLegendKey val="0"/>
          <c:showVal val="0"/>
          <c:showCatName val="0"/>
          <c:showSerName val="0"/>
          <c:showPercent val="0"/>
          <c:showBubbleSize val="0"/>
          <c:showLeaderLines val="0"/>
        </c:dLbls>
        <c:firstSliceAng val="0"/>
        <c:holeSize val="65"/>
      </c:doughnutChart>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4813" cy="276999"/>
          </a:xfrm>
          <a:prstGeom prst="rect">
            <a:avLst/>
          </a:prstGeom>
        </p:spPr>
        <p:txBody>
          <a:bodyPr vert="horz" lIns="91440" tIns="45720" rIns="91440" bIns="45720" rtlCol="0">
            <a:spAutoFit/>
          </a:bodyPr>
          <a:lstStyle>
            <a:lvl1pPr algn="l">
              <a:defRPr sz="1200"/>
            </a:lvl1pPr>
          </a:lstStyle>
          <a:p>
            <a:endParaRPr lang="en-US">
              <a:latin typeface="Lato" panose="020F0502020204030203" pitchFamily="34" charset="0"/>
            </a:endParaRPr>
          </a:p>
        </p:txBody>
      </p:sp>
      <p:sp>
        <p:nvSpPr>
          <p:cNvPr id="3" name="Date Placeholder 2"/>
          <p:cNvSpPr>
            <a:spLocks noGrp="1"/>
          </p:cNvSpPr>
          <p:nvPr>
            <p:ph type="dt" sz="quarter" idx="1"/>
          </p:nvPr>
        </p:nvSpPr>
        <p:spPr>
          <a:xfrm>
            <a:off x="3848101" y="1"/>
            <a:ext cx="2944813" cy="276999"/>
          </a:xfrm>
          <a:prstGeom prst="rect">
            <a:avLst/>
          </a:prstGeom>
        </p:spPr>
        <p:txBody>
          <a:bodyPr vert="horz" lIns="91440" tIns="45720" rIns="91440" bIns="45720" rtlCol="0">
            <a:spAutoFit/>
          </a:bodyPr>
          <a:lstStyle>
            <a:lvl1pPr algn="r">
              <a:defRPr sz="1200"/>
            </a:lvl1pPr>
          </a:lstStyle>
          <a:p>
            <a:fld id="{F281FD4D-DBC1-48D3-B89B-C4E8200DB7F9}" type="datetimeFigureOut">
              <a:rPr lang="en-US" smtClean="0">
                <a:latin typeface="Lato" panose="020F0502020204030203" pitchFamily="34" charset="0"/>
              </a:rPr>
              <a:t>11/20/2019</a:t>
            </a:fld>
            <a:endParaRPr lang="en-US">
              <a:latin typeface="Lato" panose="020F0502020204030203" pitchFamily="34" charset="0"/>
            </a:endParaRPr>
          </a:p>
        </p:txBody>
      </p:sp>
      <p:sp>
        <p:nvSpPr>
          <p:cNvPr id="4" name="Footer Placeholder 3"/>
          <p:cNvSpPr>
            <a:spLocks noGrp="1"/>
          </p:cNvSpPr>
          <p:nvPr>
            <p:ph type="ftr" sz="quarter" idx="2"/>
          </p:nvPr>
        </p:nvSpPr>
        <p:spPr>
          <a:xfrm>
            <a:off x="1" y="9524931"/>
            <a:ext cx="2944813" cy="404885"/>
          </a:xfrm>
          <a:prstGeom prst="rect">
            <a:avLst/>
          </a:prstGeom>
        </p:spPr>
        <p:txBody>
          <a:bodyPr vert="horz" lIns="91440" tIns="45720" rIns="91440" bIns="45720" rtlCol="0" anchor="b">
            <a:noAutofit/>
          </a:bodyPr>
          <a:lstStyle>
            <a:lvl1pPr algn="l">
              <a:defRPr sz="1200"/>
            </a:lvl1pPr>
          </a:lstStyle>
          <a:p>
            <a:endParaRPr lang="en-US"/>
          </a:p>
        </p:txBody>
      </p:sp>
      <p:sp>
        <p:nvSpPr>
          <p:cNvPr id="5" name="Slide Number Placeholder 4"/>
          <p:cNvSpPr>
            <a:spLocks noGrp="1"/>
          </p:cNvSpPr>
          <p:nvPr>
            <p:ph type="sldNum" sz="quarter" idx="3"/>
          </p:nvPr>
        </p:nvSpPr>
        <p:spPr>
          <a:xfrm>
            <a:off x="3848101" y="9524931"/>
            <a:ext cx="2944813" cy="404885"/>
          </a:xfrm>
          <a:prstGeom prst="rect">
            <a:avLst/>
          </a:prstGeom>
        </p:spPr>
        <p:txBody>
          <a:bodyPr vert="horz" lIns="91440" tIns="45720" rIns="91440" bIns="45720" rtlCol="0" anchor="b">
            <a:noAutofit/>
          </a:bodyPr>
          <a:lstStyle>
            <a:lvl1pPr algn="r">
              <a:defRPr sz="1200"/>
            </a:lvl1pPr>
          </a:lstStyle>
          <a:p>
            <a:fld id="{53B1290F-167B-45E6-BC35-54AB56131F5F}" type="slidenum">
              <a:rPr lang="en-US" smtClean="0"/>
              <a:t>‹#›</a:t>
            </a:fld>
            <a:endParaRPr lang="en-US"/>
          </a:p>
        </p:txBody>
      </p:sp>
    </p:spTree>
    <p:extLst>
      <p:ext uri="{BB962C8B-B14F-4D97-AF65-F5344CB8AC3E}">
        <p14:creationId xmlns:p14="http://schemas.microsoft.com/office/powerpoint/2010/main" val="11709244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44283" cy="276999"/>
          </a:xfrm>
          <a:prstGeom prst="rect">
            <a:avLst/>
          </a:prstGeom>
        </p:spPr>
        <p:txBody>
          <a:bodyPr vert="horz" lIns="91440" tIns="45720" rIns="91440" bIns="45720" rtlCol="0">
            <a:spAutoFit/>
          </a:bodyPr>
          <a:lstStyle>
            <a:lvl1pPr algn="l">
              <a:defRPr sz="1200">
                <a:latin typeface="Lato" panose="020F0502020204030203" pitchFamily="34" charset="0"/>
              </a:defRPr>
            </a:lvl1pPr>
          </a:lstStyle>
          <a:p>
            <a:endParaRPr lang="en-US" dirty="0"/>
          </a:p>
        </p:txBody>
      </p:sp>
      <p:sp>
        <p:nvSpPr>
          <p:cNvPr id="3" name="Date Placeholder 2"/>
          <p:cNvSpPr>
            <a:spLocks noGrp="1"/>
          </p:cNvSpPr>
          <p:nvPr>
            <p:ph type="dt" idx="1"/>
          </p:nvPr>
        </p:nvSpPr>
        <p:spPr>
          <a:xfrm>
            <a:off x="3848646" y="1"/>
            <a:ext cx="2944283" cy="276999"/>
          </a:xfrm>
          <a:prstGeom prst="rect">
            <a:avLst/>
          </a:prstGeom>
        </p:spPr>
        <p:txBody>
          <a:bodyPr vert="horz" lIns="91440" tIns="45720" rIns="91440" bIns="45720" rtlCol="0">
            <a:spAutoFit/>
          </a:bodyPr>
          <a:lstStyle>
            <a:lvl1pPr algn="r">
              <a:defRPr sz="1200">
                <a:latin typeface="Lato" panose="020F0502020204030203" pitchFamily="34" charset="0"/>
              </a:defRPr>
            </a:lvl1pPr>
          </a:lstStyle>
          <a:p>
            <a:fld id="{C4BB39B2-2D76-4C96-9F7D-A71A2267E735}" type="datetimeFigureOut">
              <a:rPr lang="en-US" smtClean="0"/>
              <a:pPr/>
              <a:t>11/20/2019</a:t>
            </a:fld>
            <a:endParaRPr lang="en-US" dirty="0"/>
          </a:p>
        </p:txBody>
      </p:sp>
      <p:sp>
        <p:nvSpPr>
          <p:cNvPr id="4" name="Slide Image Placeholder 3"/>
          <p:cNvSpPr>
            <a:spLocks noGrp="1" noRot="1" noChangeAspect="1"/>
          </p:cNvSpPr>
          <p:nvPr>
            <p:ph type="sldImg" idx="2"/>
          </p:nvPr>
        </p:nvSpPr>
        <p:spPr>
          <a:xfrm>
            <a:off x="-584200" y="544513"/>
            <a:ext cx="7962900" cy="447992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160741" y="5127272"/>
            <a:ext cx="6473021" cy="276999"/>
          </a:xfrm>
          <a:prstGeom prst="rect">
            <a:avLst/>
          </a:prstGeom>
        </p:spPr>
        <p:txBody>
          <a:bodyPr vert="horz" lIns="0" tIns="0" rIns="0" bIns="0" rtlCol="0" anchor="t">
            <a:spAutoFit/>
          </a:bodyPr>
          <a:lstStyle/>
          <a:p>
            <a:pPr lvl="0"/>
            <a:r>
              <a:rPr lang="en-US" dirty="0"/>
              <a:t>Click to edit Master text styles</a:t>
            </a:r>
          </a:p>
        </p:txBody>
      </p:sp>
      <p:sp>
        <p:nvSpPr>
          <p:cNvPr id="6" name="Footer Placeholder 5"/>
          <p:cNvSpPr>
            <a:spLocks noGrp="1"/>
          </p:cNvSpPr>
          <p:nvPr>
            <p:ph type="ftr" sz="quarter" idx="4"/>
          </p:nvPr>
        </p:nvSpPr>
        <p:spPr>
          <a:xfrm>
            <a:off x="2" y="9654403"/>
            <a:ext cx="2944283" cy="276999"/>
          </a:xfrm>
          <a:prstGeom prst="rect">
            <a:avLst/>
          </a:prstGeom>
        </p:spPr>
        <p:txBody>
          <a:bodyPr vert="horz" lIns="91440" tIns="45720" rIns="91440" bIns="45720" rtlCol="0" anchor="b">
            <a:spAutoFit/>
          </a:bodyPr>
          <a:lstStyle>
            <a:lvl1pPr algn="l">
              <a:defRPr sz="1200">
                <a:latin typeface="Lato" panose="020F0502020204030203" pitchFamily="34" charset="0"/>
              </a:defRPr>
            </a:lvl1pPr>
          </a:lstStyle>
          <a:p>
            <a:endParaRPr lang="en-US" dirty="0"/>
          </a:p>
        </p:txBody>
      </p:sp>
      <p:sp>
        <p:nvSpPr>
          <p:cNvPr id="7" name="Slide Number Placeholder 6"/>
          <p:cNvSpPr>
            <a:spLocks noGrp="1"/>
          </p:cNvSpPr>
          <p:nvPr>
            <p:ph type="sldNum" sz="quarter" idx="5"/>
          </p:nvPr>
        </p:nvSpPr>
        <p:spPr>
          <a:xfrm>
            <a:off x="3848646" y="9654403"/>
            <a:ext cx="2944283" cy="276999"/>
          </a:xfrm>
          <a:prstGeom prst="rect">
            <a:avLst/>
          </a:prstGeom>
        </p:spPr>
        <p:txBody>
          <a:bodyPr vert="horz" lIns="91440" tIns="45720" rIns="91440" bIns="45720" rtlCol="0" anchor="b">
            <a:spAutoFit/>
          </a:bodyPr>
          <a:lstStyle>
            <a:lvl1pPr algn="r">
              <a:defRPr sz="1200">
                <a:latin typeface="Lato" panose="020F0502020204030203" pitchFamily="34" charset="0"/>
              </a:defRPr>
            </a:lvl1pPr>
          </a:lstStyle>
          <a:p>
            <a:fld id="{25D28593-68A0-4B9C-B297-0A4C245441A3}" type="slidenum">
              <a:rPr lang="en-US" smtClean="0"/>
              <a:pPr/>
              <a:t>‹#›</a:t>
            </a:fld>
            <a:endParaRPr lang="en-US" dirty="0"/>
          </a:p>
        </p:txBody>
      </p:sp>
    </p:spTree>
    <p:extLst>
      <p:ext uri="{BB962C8B-B14F-4D97-AF65-F5344CB8AC3E}">
        <p14:creationId xmlns:p14="http://schemas.microsoft.com/office/powerpoint/2010/main" val="3975290500"/>
      </p:ext>
    </p:extLst>
  </p:cSld>
  <p:clrMap bg1="lt1" tx1="dk1" bg2="lt2" tx2="dk2" accent1="accent1" accent2="accent2" accent3="accent3" accent4="accent4" accent5="accent5" accent6="accent6" hlink="hlink" folHlink="folHlink"/>
  <p:notesStyle>
    <a:lvl1pPr marL="0" algn="l" defTabSz="1072819" rtl="0" eaLnBrk="1" latinLnBrk="0" hangingPunct="1">
      <a:defRPr sz="1800" b="0" kern="1200">
        <a:solidFill>
          <a:schemeClr val="tx1"/>
        </a:solidFill>
        <a:latin typeface="Lato" panose="020F0502020204030203" pitchFamily="34" charset="0"/>
        <a:ea typeface="+mn-ea"/>
        <a:cs typeface="+mn-cs"/>
      </a:defRPr>
    </a:lvl1pPr>
    <a:lvl2pPr marL="536410" algn="l" defTabSz="1072819" rtl="0" eaLnBrk="1" latinLnBrk="0" hangingPunct="1">
      <a:defRPr sz="1400" kern="1200">
        <a:solidFill>
          <a:schemeClr val="tx1"/>
        </a:solidFill>
        <a:latin typeface="+mn-lt"/>
        <a:ea typeface="+mn-ea"/>
        <a:cs typeface="+mn-cs"/>
      </a:defRPr>
    </a:lvl2pPr>
    <a:lvl3pPr marL="1072819" algn="l" defTabSz="1072819" rtl="0" eaLnBrk="1" latinLnBrk="0" hangingPunct="1">
      <a:defRPr sz="1400" kern="1200">
        <a:solidFill>
          <a:schemeClr val="tx1"/>
        </a:solidFill>
        <a:latin typeface="+mn-lt"/>
        <a:ea typeface="+mn-ea"/>
        <a:cs typeface="+mn-cs"/>
      </a:defRPr>
    </a:lvl3pPr>
    <a:lvl4pPr marL="1609227" algn="l" defTabSz="1072819" rtl="0" eaLnBrk="1" latinLnBrk="0" hangingPunct="1">
      <a:defRPr sz="1400" kern="1200">
        <a:solidFill>
          <a:schemeClr val="tx1"/>
        </a:solidFill>
        <a:latin typeface="+mn-lt"/>
        <a:ea typeface="+mn-ea"/>
        <a:cs typeface="+mn-cs"/>
      </a:defRPr>
    </a:lvl4pPr>
    <a:lvl5pPr marL="2145636" algn="l" defTabSz="1072819" rtl="0" eaLnBrk="1" latinLnBrk="0" hangingPunct="1">
      <a:defRPr sz="1400" kern="1200">
        <a:solidFill>
          <a:schemeClr val="tx1"/>
        </a:solidFill>
        <a:latin typeface="+mn-lt"/>
        <a:ea typeface="+mn-ea"/>
        <a:cs typeface="+mn-cs"/>
      </a:defRPr>
    </a:lvl5pPr>
    <a:lvl6pPr marL="2682046" algn="l" defTabSz="1072819" rtl="0" eaLnBrk="1" latinLnBrk="0" hangingPunct="1">
      <a:defRPr sz="1400" kern="1200">
        <a:solidFill>
          <a:schemeClr val="tx1"/>
        </a:solidFill>
        <a:latin typeface="+mn-lt"/>
        <a:ea typeface="+mn-ea"/>
        <a:cs typeface="+mn-cs"/>
      </a:defRPr>
    </a:lvl6pPr>
    <a:lvl7pPr marL="3218456" algn="l" defTabSz="1072819" rtl="0" eaLnBrk="1" latinLnBrk="0" hangingPunct="1">
      <a:defRPr sz="1400" kern="1200">
        <a:solidFill>
          <a:schemeClr val="tx1"/>
        </a:solidFill>
        <a:latin typeface="+mn-lt"/>
        <a:ea typeface="+mn-ea"/>
        <a:cs typeface="+mn-cs"/>
      </a:defRPr>
    </a:lvl7pPr>
    <a:lvl8pPr marL="3754864" algn="l" defTabSz="1072819" rtl="0" eaLnBrk="1" latinLnBrk="0" hangingPunct="1">
      <a:defRPr sz="1400" kern="1200">
        <a:solidFill>
          <a:schemeClr val="tx1"/>
        </a:solidFill>
        <a:latin typeface="+mn-lt"/>
        <a:ea typeface="+mn-ea"/>
        <a:cs typeface="+mn-cs"/>
      </a:defRPr>
    </a:lvl8pPr>
    <a:lvl9pPr marL="4291274" algn="l" defTabSz="1072819" rtl="0" eaLnBrk="1" latinLnBrk="0" hangingPunct="1">
      <a:defRPr sz="14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11.png"/><Relationship Id="rId2" Type="http://schemas.openxmlformats.org/officeDocument/2006/relationships/tags" Target="../tags/tag15.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11.png"/><Relationship Id="rId2" Type="http://schemas.openxmlformats.org/officeDocument/2006/relationships/tags" Target="../tags/tag17.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11.png"/><Relationship Id="rId2" Type="http://schemas.openxmlformats.org/officeDocument/2006/relationships/tags" Target="../tags/tag19.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1.png"/><Relationship Id="rId2" Type="http://schemas.openxmlformats.org/officeDocument/2006/relationships/tags" Target="../tags/tag21.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5.v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16.v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1.png"/><Relationship Id="rId2" Type="http://schemas.openxmlformats.org/officeDocument/2006/relationships/tags" Target="../tags/tag25.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png"/><Relationship Id="rId12" Type="http://schemas.openxmlformats.org/officeDocument/2006/relationships/image" Target="../media/image8.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11" Type="http://schemas.openxmlformats.org/officeDocument/2006/relationships/image" Target="../media/image7.png"/><Relationship Id="rId5" Type="http://schemas.openxmlformats.org/officeDocument/2006/relationships/oleObject" Target="../embeddings/oleObject3.bin"/><Relationship Id="rId10" Type="http://schemas.openxmlformats.org/officeDocument/2006/relationships/image" Target="../media/image6.png"/><Relationship Id="rId4" Type="http://schemas.openxmlformats.org/officeDocument/2006/relationships/image" Target="../media/image2.jpeg"/><Relationship Id="rId9"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24.v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25.v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26.v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27.v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38.xml"/><Relationship Id="rId7" Type="http://schemas.openxmlformats.org/officeDocument/2006/relationships/image" Target="../media/image12.png"/><Relationship Id="rId2" Type="http://schemas.openxmlformats.org/officeDocument/2006/relationships/tags" Target="../tags/tag37.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40.xml"/><Relationship Id="rId7" Type="http://schemas.openxmlformats.org/officeDocument/2006/relationships/image" Target="../media/image14.png"/><Relationship Id="rId2" Type="http://schemas.openxmlformats.org/officeDocument/2006/relationships/tags" Target="../tags/tag39.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42.xml"/><Relationship Id="rId7" Type="http://schemas.openxmlformats.org/officeDocument/2006/relationships/image" Target="../media/image13.png"/><Relationship Id="rId2" Type="http://schemas.openxmlformats.org/officeDocument/2006/relationships/tags" Target="../tags/tag41.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44.xml"/><Relationship Id="rId7" Type="http://schemas.openxmlformats.org/officeDocument/2006/relationships/image" Target="../media/image13.png"/><Relationship Id="rId2" Type="http://schemas.openxmlformats.org/officeDocument/2006/relationships/tags" Target="../tags/tag43.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46.xml"/><Relationship Id="rId7" Type="http://schemas.openxmlformats.org/officeDocument/2006/relationships/image" Target="../media/image17.png"/><Relationship Id="rId2" Type="http://schemas.openxmlformats.org/officeDocument/2006/relationships/tags" Target="../tags/tag45.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48.xml"/><Relationship Id="rId7" Type="http://schemas.openxmlformats.org/officeDocument/2006/relationships/image" Target="../media/image13.png"/><Relationship Id="rId12" Type="http://schemas.openxmlformats.org/officeDocument/2006/relationships/image" Target="../media/image22.png"/><Relationship Id="rId2" Type="http://schemas.openxmlformats.org/officeDocument/2006/relationships/tags" Target="../tags/tag47.xml"/><Relationship Id="rId1" Type="http://schemas.openxmlformats.org/officeDocument/2006/relationships/vmlDrawing" Target="../drawings/vmlDrawing33.vml"/><Relationship Id="rId6" Type="http://schemas.openxmlformats.org/officeDocument/2006/relationships/image" Target="../media/image1.emf"/><Relationship Id="rId11" Type="http://schemas.openxmlformats.org/officeDocument/2006/relationships/image" Target="../media/image21.png"/><Relationship Id="rId5" Type="http://schemas.openxmlformats.org/officeDocument/2006/relationships/oleObject" Target="../embeddings/oleObject33.bin"/><Relationship Id="rId10" Type="http://schemas.openxmlformats.org/officeDocument/2006/relationships/image" Target="../media/image20.png"/><Relationship Id="rId4" Type="http://schemas.openxmlformats.org/officeDocument/2006/relationships/slideMaster" Target="../slideMasters/slideMaster1.xml"/><Relationship Id="rId9" Type="http://schemas.openxmlformats.org/officeDocument/2006/relationships/image" Target="../media/image19.png"/></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23.png"/><Relationship Id="rId2" Type="http://schemas.openxmlformats.org/officeDocument/2006/relationships/tags" Target="../tags/tag51.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vmlDrawing" Target="../drawings/vmlDrawing36.v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23.png"/><Relationship Id="rId2" Type="http://schemas.openxmlformats.org/officeDocument/2006/relationships/tags" Target="../tags/tag54.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57.xml"/><Relationship Id="rId7" Type="http://schemas.openxmlformats.org/officeDocument/2006/relationships/image" Target="../media/image23.png"/><Relationship Id="rId2" Type="http://schemas.openxmlformats.org/officeDocument/2006/relationships/tags" Target="../tags/tag56.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59.xml"/><Relationship Id="rId7" Type="http://schemas.openxmlformats.org/officeDocument/2006/relationships/image" Target="../media/image23.png"/><Relationship Id="rId2" Type="http://schemas.openxmlformats.org/officeDocument/2006/relationships/tags" Target="../tags/tag58.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61.xml"/><Relationship Id="rId7" Type="http://schemas.openxmlformats.org/officeDocument/2006/relationships/image" Target="../media/image26.png"/><Relationship Id="rId2" Type="http://schemas.openxmlformats.org/officeDocument/2006/relationships/tags" Target="../tags/tag60.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10" Type="http://schemas.openxmlformats.org/officeDocument/2006/relationships/image" Target="../media/image28.png"/><Relationship Id="rId4" Type="http://schemas.openxmlformats.org/officeDocument/2006/relationships/slideMaster" Target="../slideMasters/slideMaster2.xml"/><Relationship Id="rId9" Type="http://schemas.openxmlformats.org/officeDocument/2006/relationships/image" Target="../media/image23.png"/></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63.xml"/><Relationship Id="rId7" Type="http://schemas.openxmlformats.org/officeDocument/2006/relationships/image" Target="../media/image27.png"/><Relationship Id="rId2" Type="http://schemas.openxmlformats.org/officeDocument/2006/relationships/tags" Target="../tags/tag62.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slideMaster" Target="../slideMasters/slideMaster2.xml"/><Relationship Id="rId9" Type="http://schemas.openxmlformats.org/officeDocument/2006/relationships/image" Target="../media/image29.pn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65.xml"/><Relationship Id="rId7" Type="http://schemas.openxmlformats.org/officeDocument/2006/relationships/image" Target="../media/image23.png"/><Relationship Id="rId2" Type="http://schemas.openxmlformats.org/officeDocument/2006/relationships/tags" Target="../tags/tag64.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67.xml"/><Relationship Id="rId7" Type="http://schemas.openxmlformats.org/officeDocument/2006/relationships/image" Target="../media/image23.png"/><Relationship Id="rId12" Type="http://schemas.openxmlformats.org/officeDocument/2006/relationships/image" Target="../media/image35.png"/><Relationship Id="rId2" Type="http://schemas.openxmlformats.org/officeDocument/2006/relationships/tags" Target="../tags/tag66.xml"/><Relationship Id="rId1" Type="http://schemas.openxmlformats.org/officeDocument/2006/relationships/vmlDrawing" Target="../drawings/vmlDrawing43.vml"/><Relationship Id="rId6" Type="http://schemas.openxmlformats.org/officeDocument/2006/relationships/image" Target="../media/image1.emf"/><Relationship Id="rId11" Type="http://schemas.openxmlformats.org/officeDocument/2006/relationships/image" Target="../media/image34.png"/><Relationship Id="rId5" Type="http://schemas.openxmlformats.org/officeDocument/2006/relationships/oleObject" Target="../embeddings/oleObject43.bin"/><Relationship Id="rId10" Type="http://schemas.openxmlformats.org/officeDocument/2006/relationships/image" Target="../media/image33.png"/><Relationship Id="rId4" Type="http://schemas.openxmlformats.org/officeDocument/2006/relationships/slideMaster" Target="../slideMasters/slideMaster2.xml"/><Relationship Id="rId9" Type="http://schemas.openxmlformats.org/officeDocument/2006/relationships/image" Target="../media/image32.pn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9.jpe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0.png"/><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1.png"/><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chemeClr val="bg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8C4A3343-C30F-1C45-9610-402B1F360A03}"/>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DEE1AA8C-E15D-A44A-9406-A5219CE72065}"/>
              </a:ext>
            </a:extLst>
          </p:cNvPr>
          <p:cNvSpPr/>
          <p:nvPr userDrawn="1"/>
        </p:nvSpPr>
        <p:spPr>
          <a:xfrm>
            <a:off x="4" y="3"/>
            <a:ext cx="12192000" cy="6858000"/>
          </a:xfrm>
          <a:prstGeom prst="rect">
            <a:avLst/>
          </a:prstGeom>
          <a:solidFill>
            <a:srgbClr val="0889A8">
              <a:alpha val="94902"/>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algn="l" defTabSz="914423" rtl="0" eaLnBrk="1" latinLnBrk="0" hangingPunct="1">
              <a:lnSpc>
                <a:spcPct val="100000"/>
              </a:lnSpc>
              <a:spcBef>
                <a:spcPts val="0"/>
              </a:spcBef>
            </a:pPr>
            <a:endParaRPr lang="en-US" sz="1600" kern="1200" dirty="0">
              <a:solidFill>
                <a:schemeClr val="tx1"/>
              </a:solidFill>
              <a:ea typeface="+mn-ea"/>
              <a:cs typeface="Arial" pitchFamily="34" charset="0"/>
            </a:endParaRPr>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8942675"/>
              </p:ext>
            </p:extLst>
          </p:nvPr>
        </p:nvGraphicFramePr>
        <p:xfrm>
          <a:off x="5" y="6"/>
          <a:ext cx="211668" cy="158751"/>
        </p:xfrm>
        <a:graphic>
          <a:graphicData uri="http://schemas.openxmlformats.org/presentationml/2006/ole">
            <mc:AlternateContent xmlns:mc="http://schemas.openxmlformats.org/markup-compatibility/2006">
              <mc:Choice xmlns:v="urn:schemas-microsoft-com:vml" Requires="v">
                <p:oleObj spid="_x0000_s361936" name="think-cell Slide" r:id="rId5" imgW="383" imgH="385" progId="TCLayout.ActiveDocument.1">
                  <p:embed/>
                </p:oleObj>
              </mc:Choice>
              <mc:Fallback>
                <p:oleObj name="think-cell Slide" r:id="rId5" imgW="383" imgH="385" progId="TCLayout.ActiveDocument.1">
                  <p:embed/>
                  <p:pic>
                    <p:nvPicPr>
                      <p:cNvPr id="3" name="Object 2" hidden="1"/>
                      <p:cNvPicPr/>
                      <p:nvPr/>
                    </p:nvPicPr>
                    <p:blipFill>
                      <a:blip r:embed="rId6"/>
                      <a:stretch>
                        <a:fillRect/>
                      </a:stretch>
                    </p:blipFill>
                    <p:spPr>
                      <a:xfrm>
                        <a:off x="5" y="6"/>
                        <a:ext cx="211668" cy="158751"/>
                      </a:xfrm>
                      <a:prstGeom prst="rect">
                        <a:avLst/>
                      </a:prstGeom>
                    </p:spPr>
                  </p:pic>
                </p:oleObj>
              </mc:Fallback>
            </mc:AlternateContent>
          </a:graphicData>
        </a:graphic>
      </p:graphicFrame>
      <p:sp>
        <p:nvSpPr>
          <p:cNvPr id="22" name="Subtitle 2">
            <a:extLst>
              <a:ext uri="{FF2B5EF4-FFF2-40B4-BE49-F238E27FC236}">
                <a16:creationId xmlns:a16="http://schemas.microsoft.com/office/drawing/2014/main" id="{0FEF2971-18CA-A447-B977-0E8BA063D874}"/>
              </a:ext>
            </a:extLst>
          </p:cNvPr>
          <p:cNvSpPr>
            <a:spLocks noGrp="1"/>
          </p:cNvSpPr>
          <p:nvPr>
            <p:ph type="subTitle" idx="1" hasCustomPrompt="1"/>
          </p:nvPr>
        </p:nvSpPr>
        <p:spPr bwMode="gray">
          <a:xfrm>
            <a:off x="3481899" y="3993161"/>
            <a:ext cx="6564923" cy="215572"/>
          </a:xfrm>
        </p:spPr>
        <p:txBody>
          <a:bodyPr wrap="square" lIns="0" tIns="0" rIns="0" bIns="0" anchor="t">
            <a:spAutoFit/>
          </a:bodyPr>
          <a:lstStyle>
            <a:lvl1pPr marL="0" indent="0" algn="l">
              <a:spcAft>
                <a:spcPts val="0"/>
              </a:spcAft>
              <a:buNone/>
              <a:defRPr sz="1401" b="0" cap="all" spc="300" baseline="0">
                <a:solidFill>
                  <a:schemeClr val="bg1"/>
                </a:solidFill>
                <a:latin typeface="+mn-lt"/>
                <a:cs typeface="Arial" pitchFamily="34" charset="0"/>
              </a:defRPr>
            </a:lvl1pPr>
            <a:lvl2pPr marL="536447" indent="0" algn="ctr">
              <a:buNone/>
              <a:defRPr sz="2300"/>
            </a:lvl2pPr>
            <a:lvl3pPr marL="1072893" indent="0" algn="ctr">
              <a:buNone/>
              <a:defRPr sz="2100"/>
            </a:lvl3pPr>
            <a:lvl4pPr marL="1609339" indent="0" algn="ctr">
              <a:buNone/>
              <a:defRPr sz="1900"/>
            </a:lvl4pPr>
            <a:lvl5pPr marL="2145784" indent="0" algn="ctr">
              <a:buNone/>
              <a:defRPr sz="1900"/>
            </a:lvl5pPr>
            <a:lvl6pPr marL="2682231" indent="0" algn="ctr">
              <a:buNone/>
              <a:defRPr sz="1900"/>
            </a:lvl6pPr>
            <a:lvl7pPr marL="3218677" indent="0" algn="ctr">
              <a:buNone/>
              <a:defRPr sz="1900"/>
            </a:lvl7pPr>
            <a:lvl8pPr marL="3755123" indent="0" algn="ctr">
              <a:buNone/>
              <a:defRPr sz="1900"/>
            </a:lvl8pPr>
            <a:lvl9pPr marL="4291569" indent="0" algn="ctr">
              <a:buNone/>
              <a:defRPr sz="1900"/>
            </a:lvl9pPr>
          </a:lstStyle>
          <a:p>
            <a:r>
              <a:rPr lang="en-US" dirty="0"/>
              <a:t>Sub-title and date</a:t>
            </a:r>
          </a:p>
        </p:txBody>
      </p:sp>
      <p:sp>
        <p:nvSpPr>
          <p:cNvPr id="23" name="Text Placeholder 6">
            <a:extLst>
              <a:ext uri="{FF2B5EF4-FFF2-40B4-BE49-F238E27FC236}">
                <a16:creationId xmlns:a16="http://schemas.microsoft.com/office/drawing/2014/main" id="{21B53F68-7CEB-4F4B-A468-2B1D397F0E75}"/>
              </a:ext>
            </a:extLst>
          </p:cNvPr>
          <p:cNvSpPr>
            <a:spLocks noGrp="1"/>
          </p:cNvSpPr>
          <p:nvPr>
            <p:ph type="body" sz="quarter" idx="18" hasCustomPrompt="1"/>
          </p:nvPr>
        </p:nvSpPr>
        <p:spPr>
          <a:xfrm>
            <a:off x="3481902" y="2757285"/>
            <a:ext cx="8082916" cy="646459"/>
          </a:xfrm>
        </p:spPr>
        <p:txBody>
          <a:bodyPr wrap="square" lIns="0" tIns="0" rIns="0" bIns="0" anchor="b">
            <a:spAutoFit/>
          </a:bodyPr>
          <a:lstStyle>
            <a:lvl1pPr marL="0" indent="0">
              <a:buFont typeface="Arial" panose="020B0604020202020204" pitchFamily="34" charset="0"/>
              <a:buNone/>
              <a:defRPr sz="4201" b="0" baseline="0">
                <a:solidFill>
                  <a:schemeClr val="bg1"/>
                </a:solidFill>
                <a:latin typeface="Lato Light" panose="020F0302020204030203" pitchFamily="34" charset="0"/>
              </a:defRPr>
            </a:lvl1pPr>
          </a:lstStyle>
          <a:p>
            <a:pPr lvl="0"/>
            <a:r>
              <a:rPr lang="en-US" dirty="0"/>
              <a:t>Title is </a:t>
            </a:r>
            <a:r>
              <a:rPr lang="en-US" dirty="0" err="1"/>
              <a:t>Lato</a:t>
            </a:r>
            <a:r>
              <a:rPr lang="en-US" dirty="0"/>
              <a:t> Light 42 point</a:t>
            </a:r>
          </a:p>
        </p:txBody>
      </p:sp>
      <p:cxnSp>
        <p:nvCxnSpPr>
          <p:cNvPr id="24" name="Line">
            <a:extLst>
              <a:ext uri="{FF2B5EF4-FFF2-40B4-BE49-F238E27FC236}">
                <a16:creationId xmlns:a16="http://schemas.microsoft.com/office/drawing/2014/main" id="{E277333D-8D22-DE4D-BED7-4452956ECF14}"/>
              </a:ext>
            </a:extLst>
          </p:cNvPr>
          <p:cNvCxnSpPr>
            <a:cxnSpLocks/>
          </p:cNvCxnSpPr>
          <p:nvPr userDrawn="1"/>
        </p:nvCxnSpPr>
        <p:spPr>
          <a:xfrm>
            <a:off x="3481899" y="3709468"/>
            <a:ext cx="562708" cy="0"/>
          </a:xfrm>
          <a:prstGeom prst="line">
            <a:avLst/>
          </a:prstGeom>
          <a:ln w="28575">
            <a:solidFill>
              <a:srgbClr val="881846"/>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36EC3E5E-8C80-C44A-AD67-64D64758C168}"/>
              </a:ext>
            </a:extLst>
          </p:cNvPr>
          <p:cNvSpPr/>
          <p:nvPr userDrawn="1"/>
        </p:nvSpPr>
        <p:spPr>
          <a:xfrm>
            <a:off x="1" y="1695091"/>
            <a:ext cx="2250831" cy="3474237"/>
          </a:xfrm>
          <a:prstGeom prst="rect">
            <a:avLst/>
          </a:pr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30" indent="-174630" algn="l" defTabSz="914423" rtl="0" eaLnBrk="1" latinLnBrk="0" hangingPunct="1">
              <a:lnSpc>
                <a:spcPct val="100000"/>
              </a:lnSpc>
              <a:spcBef>
                <a:spcPts val="0"/>
              </a:spcBef>
              <a:buFont typeface="Arial" panose="020B0604020202020204" pitchFamily="34" charset="0"/>
              <a:buChar char="•"/>
            </a:pPr>
            <a:endParaRPr lang="en-US" sz="1600" kern="1200" dirty="0" err="1">
              <a:solidFill>
                <a:schemeClr val="tx1"/>
              </a:solidFill>
              <a:latin typeface="+mj-lt"/>
              <a:ea typeface="+mn-ea"/>
              <a:cs typeface="Arial" pitchFamily="34" charset="0"/>
            </a:endParaRPr>
          </a:p>
        </p:txBody>
      </p:sp>
      <p:pic>
        <p:nvPicPr>
          <p:cNvPr id="11" name="Picture 10" descr="A picture containing clipart&#10;&#10;Description generated with very high confidence">
            <a:extLst>
              <a:ext uri="{FF2B5EF4-FFF2-40B4-BE49-F238E27FC236}">
                <a16:creationId xmlns:a16="http://schemas.microsoft.com/office/drawing/2014/main" id="{CE608940-7CC6-4FCC-BE50-86A0F850C8F8}"/>
              </a:ext>
            </a:extLst>
          </p:cNvPr>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291235" y="3121218"/>
            <a:ext cx="1317631" cy="457201"/>
          </a:xfrm>
          <a:prstGeom prst="rect">
            <a:avLst/>
          </a:prstGeom>
        </p:spPr>
      </p:pic>
    </p:spTree>
    <p:extLst>
      <p:ext uri="{BB962C8B-B14F-4D97-AF65-F5344CB8AC3E}">
        <p14:creationId xmlns:p14="http://schemas.microsoft.com/office/powerpoint/2010/main" val="1755709499"/>
      </p:ext>
    </p:extLst>
  </p:cSld>
  <p:clrMapOvr>
    <a:masterClrMapping/>
  </p:clrMapOvr>
  <p:extLst>
    <p:ext uri="{DCECCB84-F9BA-43D5-87BE-67443E8EF086}">
      <p15:sldGuideLst xmlns:p15="http://schemas.microsoft.com/office/powerpoint/2012/main">
        <p15:guide id="1" pos="236" userDrawn="1">
          <p15:clr>
            <a:srgbClr val="FBAE40"/>
          </p15:clr>
        </p15:guide>
        <p15:guide id="2" orient="horz" pos="2160" userDrawn="1">
          <p15:clr>
            <a:srgbClr val="FBAE40"/>
          </p15:clr>
        </p15:guide>
        <p15:guide id="3" orient="horz" pos="2298" userDrawn="1">
          <p15:clr>
            <a:srgbClr val="FBAE40"/>
          </p15:clr>
        </p15:guide>
        <p15:guide id="4" orient="horz" pos="2432" userDrawn="1">
          <p15:clr>
            <a:srgbClr val="FBAE40"/>
          </p15:clr>
        </p15:guide>
        <p15:guide id="5" orient="horz" pos="2568" userDrawn="1">
          <p15:clr>
            <a:srgbClr val="FBAE40"/>
          </p15:clr>
        </p15:guide>
        <p15:guide id="6" orient="horz" pos="2702" userDrawn="1">
          <p15:clr>
            <a:srgbClr val="FBAE40"/>
          </p15:clr>
        </p15:guide>
        <p15:guide id="7" orient="horz" pos="2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tandard content + takeaway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005307239"/>
              </p:ext>
            </p:extLst>
          </p:nvPr>
        </p:nvGraphicFramePr>
        <p:xfrm>
          <a:off x="2121" y="2118"/>
          <a:ext cx="2116" cy="2116"/>
        </p:xfrm>
        <a:graphic>
          <a:graphicData uri="http://schemas.openxmlformats.org/presentationml/2006/ole">
            <mc:AlternateContent xmlns:mc="http://schemas.openxmlformats.org/markup-compatibility/2006">
              <mc:Choice xmlns:v="urn:schemas-microsoft-com:vml" Requires="v">
                <p:oleObj spid="_x0000_s204467" name="think-cell Slide" r:id="rId5" imgW="383" imgH="385" progId="TCLayout.ActiveDocument.1">
                  <p:embed/>
                </p:oleObj>
              </mc:Choice>
              <mc:Fallback>
                <p:oleObj name="think-cell Slide" r:id="rId5" imgW="383" imgH="385" progId="TCLayout.ActiveDocument.1">
                  <p:embed/>
                  <p:pic>
                    <p:nvPicPr>
                      <p:cNvPr id="0" name=""/>
                      <p:cNvPicPr/>
                      <p:nvPr/>
                    </p:nvPicPr>
                    <p:blipFill>
                      <a:blip r:embed="rId6"/>
                      <a:stretch>
                        <a:fillRect/>
                      </a:stretch>
                    </p:blipFill>
                    <p:spPr>
                      <a:xfrm>
                        <a:off x="2121" y="2118"/>
                        <a:ext cx="2116" cy="211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241682A-0F7F-4D69-A730-2544F37EAD22}"/>
              </a:ext>
            </a:extLst>
          </p:cNvPr>
          <p:cNvSpPr/>
          <p:nvPr userDrawn="1">
            <p:custDataLst>
              <p:tags r:id="rId3"/>
            </p:custDataLst>
          </p:nvPr>
        </p:nvSpPr>
        <p:spPr>
          <a:xfrm>
            <a:off x="0" y="0"/>
            <a:ext cx="158750" cy="158750"/>
          </a:xfrm>
          <a:prstGeom prst="rect">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23" rtl="0" eaLnBrk="1" latinLnBrk="0" hangingPunct="1">
              <a:lnSpc>
                <a:spcPct val="100000"/>
              </a:lnSpc>
              <a:spcBef>
                <a:spcPct val="0"/>
              </a:spcBef>
              <a:spcAft>
                <a:spcPct val="0"/>
              </a:spcAft>
            </a:pPr>
            <a:endParaRPr lang="en-US" sz="2601" b="0" i="0" kern="1200" baseline="0" dirty="0" err="1">
              <a:solidFill>
                <a:schemeClr val="bg1"/>
              </a:solidFill>
              <a:latin typeface="Lato" panose="020F0502020204030203" pitchFamily="34" charset="0"/>
              <a:ea typeface="+mj-ea"/>
              <a:cs typeface="Arial" pitchFamily="34" charset="0"/>
              <a:sym typeface="Lato" panose="020F0502020204030203" pitchFamily="34" charset="0"/>
            </a:endParaRPr>
          </a:p>
        </p:txBody>
      </p:sp>
      <p:sp>
        <p:nvSpPr>
          <p:cNvPr id="13" name="Rectangle 12"/>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sp>
        <p:nvSpPr>
          <p:cNvPr id="21" name="Title 1"/>
          <p:cNvSpPr>
            <a:spLocks noGrp="1"/>
          </p:cNvSpPr>
          <p:nvPr>
            <p:ph type="title" hasCustomPrompt="1"/>
          </p:nvPr>
        </p:nvSpPr>
        <p:spPr>
          <a:xfrm>
            <a:off x="943690" y="91834"/>
            <a:ext cx="10618842" cy="800476"/>
          </a:xfrm>
        </p:spPr>
        <p:txBody>
          <a:bodyPr wrap="square" anchor="ctr">
            <a:spAutoFit/>
          </a:bodyPr>
          <a:lstStyle>
            <a:lvl1pPr>
              <a:defRPr sz="2601" baseline="0">
                <a:solidFill>
                  <a:srgbClr val="881946"/>
                </a:solidFill>
                <a:latin typeface="+mj-lt"/>
              </a:defRPr>
            </a:lvl1pPr>
          </a:lstStyle>
          <a:p>
            <a:r>
              <a:rPr lang="en-US" dirty="0"/>
              <a:t>Title of the slide in </a:t>
            </a:r>
            <a:r>
              <a:rPr lang="en-US" dirty="0" err="1"/>
              <a:t>Lato</a:t>
            </a:r>
            <a:r>
              <a:rPr lang="en-US" dirty="0"/>
              <a:t> 26 points</a:t>
            </a:r>
            <a:br>
              <a:rPr lang="en-US" dirty="0"/>
            </a:br>
            <a:r>
              <a:rPr lang="en-US" dirty="0"/>
              <a:t>Max 2 lines</a:t>
            </a:r>
          </a:p>
        </p:txBody>
      </p:sp>
      <p:sp>
        <p:nvSpPr>
          <p:cNvPr id="20" name="Text Placeholder 6"/>
          <p:cNvSpPr>
            <a:spLocks noGrp="1"/>
          </p:cNvSpPr>
          <p:nvPr>
            <p:ph type="body" sz="quarter" idx="14" hasCustomPrompt="1"/>
          </p:nvPr>
        </p:nvSpPr>
        <p:spPr>
          <a:xfrm>
            <a:off x="943691" y="6377453"/>
            <a:ext cx="8059634" cy="308033"/>
          </a:xfrm>
        </p:spPr>
        <p:txBody>
          <a:bodyPr wrap="square" anchor="b">
            <a:spAutoFit/>
          </a:bodyPr>
          <a:lstStyle>
            <a:lvl1pPr marL="0" indent="0">
              <a:buNone/>
              <a:defRPr sz="1001" baseline="0">
                <a:solidFill>
                  <a:srgbClr val="606060"/>
                </a:solidFill>
              </a:defRPr>
            </a:lvl1pPr>
          </a:lstStyle>
          <a:p>
            <a:pPr lvl="0"/>
            <a:r>
              <a:rPr lang="en-US" dirty="0"/>
              <a:t>This space is reserved for footnotes and sources only, and cannot be expanded beyond its current size.                                        Source: [Author/Publisher Name], [Report Name], [Year]</a:t>
            </a:r>
          </a:p>
        </p:txBody>
      </p:sp>
      <p:sp>
        <p:nvSpPr>
          <p:cNvPr id="30" name="Text Placeholder 2">
            <a:extLst>
              <a:ext uri="{FF2B5EF4-FFF2-40B4-BE49-F238E27FC236}">
                <a16:creationId xmlns:a16="http://schemas.microsoft.com/office/drawing/2014/main" id="{CC611104-3FAB-422F-8E5E-5CD930E5A32C}"/>
              </a:ext>
            </a:extLst>
          </p:cNvPr>
          <p:cNvSpPr>
            <a:spLocks noGrp="1"/>
          </p:cNvSpPr>
          <p:nvPr>
            <p:ph idx="1"/>
          </p:nvPr>
        </p:nvSpPr>
        <p:spPr bwMode="gray">
          <a:xfrm>
            <a:off x="943690" y="1257300"/>
            <a:ext cx="10621127" cy="5067300"/>
          </a:xfrm>
          <a:prstGeom prst="rect">
            <a:avLst/>
          </a:prstGeom>
        </p:spPr>
        <p:txBody>
          <a:bodyPr vert="horz" wrap="square" lIns="0" tIns="0" rIns="0" bIns="0" rtlCol="0">
            <a:noAutofit/>
          </a:bodyPr>
          <a:lstStyle>
            <a:lvl1pPr>
              <a:defRPr>
                <a:solidFill>
                  <a:srgbClr val="606060"/>
                </a:solidFill>
              </a:defRPr>
            </a:lvl1pPr>
            <a:lvl2pPr>
              <a:defRPr>
                <a:solidFill>
                  <a:srgbClr val="606060"/>
                </a:solidFill>
              </a:defRPr>
            </a:lvl2pPr>
            <a:lvl3pPr>
              <a:defRPr>
                <a:solidFill>
                  <a:srgbClr val="606060"/>
                </a:solidFill>
              </a:defRPr>
            </a:lvl3pPr>
            <a:lvl4pPr>
              <a:defRPr>
                <a:solidFill>
                  <a:srgbClr val="606060"/>
                </a:solidFill>
              </a:defRPr>
            </a:lvl4pPr>
            <a:lvl5pPr>
              <a:defRPr>
                <a:solidFill>
                  <a:srgbClr val="60606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1" name="Text Placeholder 6"/>
          <p:cNvSpPr>
            <a:spLocks noGrp="1"/>
          </p:cNvSpPr>
          <p:nvPr>
            <p:ph type="body" sz="quarter" idx="18" hasCustomPrompt="1"/>
          </p:nvPr>
        </p:nvSpPr>
        <p:spPr>
          <a:xfrm>
            <a:off x="1162005" y="5553610"/>
            <a:ext cx="10182212" cy="770990"/>
          </a:xfrm>
          <a:prstGeom prst="rect">
            <a:avLst/>
          </a:prstGeom>
          <a:solidFill>
            <a:schemeClr val="bg1"/>
          </a:solidFill>
        </p:spPr>
        <p:txBody>
          <a:bodyPr wrap="square" lIns="182880" tIns="91440" rIns="182880" bIns="91440" anchor="ctr">
            <a:noAutofit/>
          </a:bodyPr>
          <a:lstStyle>
            <a:lvl1pPr marL="0" indent="0" algn="ctr">
              <a:buNone/>
              <a:defRPr sz="2000" b="0" i="1">
                <a:solidFill>
                  <a:schemeClr val="tx2"/>
                </a:solidFill>
              </a:defRPr>
            </a:lvl1pPr>
            <a:lvl2pPr>
              <a:defRPr sz="2000" b="1">
                <a:solidFill>
                  <a:schemeClr val="bg1"/>
                </a:solidFill>
              </a:defRPr>
            </a:lvl2pPr>
            <a:lvl3pPr>
              <a:defRPr sz="2000" b="1">
                <a:solidFill>
                  <a:schemeClr val="bg1"/>
                </a:solidFill>
              </a:defRPr>
            </a:lvl3pPr>
            <a:lvl4pPr>
              <a:defRPr sz="2000" b="1">
                <a:solidFill>
                  <a:schemeClr val="bg1"/>
                </a:solidFill>
              </a:defRPr>
            </a:lvl4pPr>
            <a:lvl5pPr>
              <a:defRPr sz="2000" b="1" baseline="0">
                <a:solidFill>
                  <a:schemeClr val="bg1"/>
                </a:solidFill>
              </a:defRPr>
            </a:lvl5pPr>
            <a:lvl6pPr>
              <a:defRPr sz="2000" b="1" baseline="0">
                <a:solidFill>
                  <a:schemeClr val="bg1"/>
                </a:solidFill>
              </a:defRPr>
            </a:lvl6pPr>
            <a:lvl7pPr>
              <a:defRPr sz="2000" b="1" baseline="0">
                <a:solidFill>
                  <a:schemeClr val="bg1"/>
                </a:solidFill>
              </a:defRPr>
            </a:lvl7pPr>
            <a:lvl8pPr>
              <a:defRPr sz="2000" b="1">
                <a:solidFill>
                  <a:schemeClr val="bg1"/>
                </a:solidFill>
              </a:defRPr>
            </a:lvl8pPr>
            <a:lvl9pPr>
              <a:defRPr sz="2000" b="1">
                <a:solidFill>
                  <a:schemeClr val="bg1"/>
                </a:solidFill>
              </a:defRPr>
            </a:lvl9pPr>
          </a:lstStyle>
          <a:p>
            <a:pPr lvl="0"/>
            <a:r>
              <a:rPr lang="en-US" dirty="0"/>
              <a:t>Key takeaway in </a:t>
            </a:r>
            <a:r>
              <a:rPr lang="en-US" dirty="0" err="1"/>
              <a:t>Lato</a:t>
            </a:r>
            <a:r>
              <a:rPr lang="en-US" dirty="0"/>
              <a:t> 20 points Italics</a:t>
            </a:r>
          </a:p>
        </p:txBody>
      </p:sp>
      <p:sp>
        <p:nvSpPr>
          <p:cNvPr id="23" name="Text Placeholder 6">
            <a:extLst>
              <a:ext uri="{FF2B5EF4-FFF2-40B4-BE49-F238E27FC236}">
                <a16:creationId xmlns:a16="http://schemas.microsoft.com/office/drawing/2014/main" id="{4B08AB75-6F32-469C-BF0C-CAAB8351BF1D}"/>
              </a:ext>
            </a:extLst>
          </p:cNvPr>
          <p:cNvSpPr>
            <a:spLocks noGrp="1"/>
          </p:cNvSpPr>
          <p:nvPr>
            <p:ph type="body" sz="quarter" idx="17" hasCustomPrompt="1"/>
          </p:nvPr>
        </p:nvSpPr>
        <p:spPr>
          <a:xfrm>
            <a:off x="80277" y="399740"/>
            <a:ext cx="468922" cy="184666"/>
          </a:xfrm>
        </p:spPr>
        <p:txBody>
          <a:bodyPr wrap="square" anchor="ctr">
            <a:spAutoFit/>
          </a:bodyPr>
          <a:lstStyle>
            <a:lvl1pPr marL="0" indent="0" algn="ctr">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dirty="0"/>
              <a:t>Text</a:t>
            </a:r>
          </a:p>
        </p:txBody>
      </p:sp>
      <p:sp>
        <p:nvSpPr>
          <p:cNvPr id="25" name="Rectangle 24">
            <a:extLst>
              <a:ext uri="{FF2B5EF4-FFF2-40B4-BE49-F238E27FC236}">
                <a16:creationId xmlns:a16="http://schemas.microsoft.com/office/drawing/2014/main" id="{31EF7F9D-BEB6-4B88-A956-7D5227998839}"/>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sp>
        <p:nvSpPr>
          <p:cNvPr id="26" name="Slide Number Placeholder 5">
            <a:extLst>
              <a:ext uri="{FF2B5EF4-FFF2-40B4-BE49-F238E27FC236}">
                <a16:creationId xmlns:a16="http://schemas.microsoft.com/office/drawing/2014/main" id="{68EB3C0A-C523-4890-A962-8D5474812EC4}"/>
              </a:ext>
            </a:extLst>
          </p:cNvPr>
          <p:cNvSpPr>
            <a:spLocks noGrp="1"/>
          </p:cNvSpPr>
          <p:nvPr>
            <p:ph type="sldNum" sz="quarter" idx="4"/>
          </p:nvPr>
        </p:nvSpPr>
        <p:spPr bwMode="gray">
          <a:xfrm>
            <a:off x="11743978" y="6529802"/>
            <a:ext cx="280034" cy="154017"/>
          </a:xfrm>
          <a:prstGeom prst="rect">
            <a:avLst/>
          </a:prstGeom>
          <a:noFill/>
        </p:spPr>
        <p:txBody>
          <a:bodyPr vert="horz" wrap="square" lIns="0" tIns="0" rIns="0" bIns="0" rtlCol="0" anchor="ctr">
            <a:spAutoFit/>
          </a:bodyPr>
          <a:lstStyle>
            <a:lvl1pPr algn="ctr">
              <a:defRPr sz="1001">
                <a:solidFill>
                  <a:schemeClr val="bg1"/>
                </a:solidFill>
                <a:latin typeface="Lato" panose="020F0502020204030203" pitchFamily="34" charset="0"/>
                <a:cs typeface="Arial" pitchFamily="34" charset="0"/>
              </a:defRPr>
            </a:lvl1pPr>
          </a:lstStyle>
          <a:p>
            <a:fld id="{A90607E6-BCED-4FC1-A345-AB2A307AB80F}" type="slidenum">
              <a:rPr lang="en-US" smtClean="0"/>
              <a:pPr/>
              <a:t>‹#›</a:t>
            </a:fld>
            <a:endParaRPr lang="en-US" dirty="0"/>
          </a:p>
        </p:txBody>
      </p:sp>
      <p:pic>
        <p:nvPicPr>
          <p:cNvPr id="14" name="Picture 13">
            <a:extLst>
              <a:ext uri="{FF2B5EF4-FFF2-40B4-BE49-F238E27FC236}">
                <a16:creationId xmlns:a16="http://schemas.microsoft.com/office/drawing/2014/main" id="{6DA6E45B-5A83-4B4C-BEFB-F94AD9B226C1}"/>
              </a:ext>
            </a:extLst>
          </p:cNvPr>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480621" y="6511925"/>
            <a:ext cx="704948" cy="219106"/>
          </a:xfrm>
          <a:prstGeom prst="rect">
            <a:avLst/>
          </a:prstGeom>
        </p:spPr>
      </p:pic>
    </p:spTree>
    <p:extLst>
      <p:ext uri="{BB962C8B-B14F-4D97-AF65-F5344CB8AC3E}">
        <p14:creationId xmlns:p14="http://schemas.microsoft.com/office/powerpoint/2010/main" val="11497609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495994004"/>
              </p:ext>
            </p:extLst>
          </p:nvPr>
        </p:nvGraphicFramePr>
        <p:xfrm>
          <a:off x="2121" y="2118"/>
          <a:ext cx="2116" cy="2116"/>
        </p:xfrm>
        <a:graphic>
          <a:graphicData uri="http://schemas.openxmlformats.org/presentationml/2006/ole">
            <mc:AlternateContent xmlns:mc="http://schemas.openxmlformats.org/markup-compatibility/2006">
              <mc:Choice xmlns:v="urn:schemas-microsoft-com:vml" Requires="v">
                <p:oleObj spid="_x0000_s236055" name="think-cell Slide" r:id="rId5" imgW="383" imgH="385" progId="TCLayout.ActiveDocument.1">
                  <p:embed/>
                </p:oleObj>
              </mc:Choice>
              <mc:Fallback>
                <p:oleObj name="think-cell Slide" r:id="rId5" imgW="383" imgH="385" progId="TCLayout.ActiveDocument.1">
                  <p:embed/>
                  <p:pic>
                    <p:nvPicPr>
                      <p:cNvPr id="6" name="Object 5" hidden="1"/>
                      <p:cNvPicPr/>
                      <p:nvPr/>
                    </p:nvPicPr>
                    <p:blipFill>
                      <a:blip r:embed="rId6"/>
                      <a:stretch>
                        <a:fillRect/>
                      </a:stretch>
                    </p:blipFill>
                    <p:spPr>
                      <a:xfrm>
                        <a:off x="2121" y="2118"/>
                        <a:ext cx="2116" cy="211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75018D1-1E7E-4928-8CCE-C888F2537EBC}"/>
              </a:ext>
            </a:extLst>
          </p:cNvPr>
          <p:cNvSpPr/>
          <p:nvPr userDrawn="1">
            <p:custDataLst>
              <p:tags r:id="rId3"/>
            </p:custDataLst>
          </p:nvPr>
        </p:nvSpPr>
        <p:spPr>
          <a:xfrm>
            <a:off x="0" y="0"/>
            <a:ext cx="158750" cy="158750"/>
          </a:xfrm>
          <a:prstGeom prst="rect">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23" rtl="0" eaLnBrk="1" latinLnBrk="0" hangingPunct="1">
              <a:lnSpc>
                <a:spcPct val="100000"/>
              </a:lnSpc>
              <a:spcBef>
                <a:spcPct val="0"/>
              </a:spcBef>
              <a:spcAft>
                <a:spcPct val="0"/>
              </a:spcAft>
            </a:pPr>
            <a:endParaRPr lang="en-US" sz="2601" b="0" i="0" kern="1200" baseline="0" dirty="0" err="1">
              <a:solidFill>
                <a:schemeClr val="bg1"/>
              </a:solidFill>
              <a:latin typeface="Lato" panose="020F0502020204030203" pitchFamily="34" charset="0"/>
              <a:ea typeface="+mj-ea"/>
              <a:cs typeface="Arial" pitchFamily="34" charset="0"/>
              <a:sym typeface="Lato" panose="020F0502020204030203" pitchFamily="34" charset="0"/>
            </a:endParaRPr>
          </a:p>
        </p:txBody>
      </p:sp>
      <p:sp>
        <p:nvSpPr>
          <p:cNvPr id="17" name="Text Placeholder 6"/>
          <p:cNvSpPr>
            <a:spLocks noGrp="1"/>
          </p:cNvSpPr>
          <p:nvPr>
            <p:ph type="body" sz="quarter" idx="15" hasCustomPrompt="1"/>
          </p:nvPr>
        </p:nvSpPr>
        <p:spPr>
          <a:xfrm>
            <a:off x="943691" y="1252993"/>
            <a:ext cx="6313307" cy="307777"/>
          </a:xfrm>
        </p:spPr>
        <p:txBody>
          <a:bodyPr vert="horz" wrap="square" lIns="0" tIns="0" rIns="0" bIns="0" rtlCol="0">
            <a:spAutoFit/>
          </a:bodyPr>
          <a:lstStyle>
            <a:lvl1pPr marL="201167" indent="-201167">
              <a:buNone/>
              <a:defRPr lang="en-US" sz="2000" b="0" cap="none" baseline="0" dirty="0">
                <a:solidFill>
                  <a:srgbClr val="F3B11C"/>
                </a:solidFill>
              </a:defRPr>
            </a:lvl1pPr>
          </a:lstStyle>
          <a:p>
            <a:pPr marL="0" lvl="0" indent="0"/>
            <a:r>
              <a:rPr lang="en-US" dirty="0"/>
              <a:t>Sub-title in </a:t>
            </a:r>
            <a:r>
              <a:rPr lang="en-US" dirty="0" err="1"/>
              <a:t>Lato</a:t>
            </a:r>
            <a:r>
              <a:rPr lang="en-US" dirty="0"/>
              <a:t> 20 points</a:t>
            </a:r>
          </a:p>
        </p:txBody>
      </p:sp>
      <p:sp>
        <p:nvSpPr>
          <p:cNvPr id="13" name="Rectangle 12"/>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sp>
        <p:nvSpPr>
          <p:cNvPr id="36" name="Text Placeholder 6"/>
          <p:cNvSpPr>
            <a:spLocks noGrp="1"/>
          </p:cNvSpPr>
          <p:nvPr>
            <p:ph type="body" sz="quarter" idx="24"/>
          </p:nvPr>
        </p:nvSpPr>
        <p:spPr>
          <a:xfrm>
            <a:off x="7369913" y="1252991"/>
            <a:ext cx="4194903" cy="5071610"/>
          </a:xfrm>
          <a:solidFill>
            <a:srgbClr val="0889A8"/>
          </a:solidFill>
        </p:spPr>
        <p:txBody>
          <a:bodyPr wrap="square">
            <a:noAutofit/>
          </a:bodyPr>
          <a:lstStyle>
            <a:lvl1pPr marL="0" indent="0">
              <a:spcAft>
                <a:spcPts val="601"/>
              </a:spcAft>
              <a:buNone/>
              <a:defRPr sz="1200">
                <a:solidFill>
                  <a:schemeClr val="accent2"/>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a:t>Click to edit Master text styles</a:t>
            </a:r>
          </a:p>
        </p:txBody>
      </p:sp>
      <p:sp>
        <p:nvSpPr>
          <p:cNvPr id="21" name="Title 1"/>
          <p:cNvSpPr>
            <a:spLocks noGrp="1"/>
          </p:cNvSpPr>
          <p:nvPr>
            <p:ph type="title" hasCustomPrompt="1"/>
          </p:nvPr>
        </p:nvSpPr>
        <p:spPr>
          <a:xfrm>
            <a:off x="943690" y="291952"/>
            <a:ext cx="10621127" cy="400238"/>
          </a:xfrm>
        </p:spPr>
        <p:txBody>
          <a:bodyPr wrap="square" anchor="ctr">
            <a:spAutoFit/>
          </a:bodyPr>
          <a:lstStyle>
            <a:lvl1pPr>
              <a:defRPr sz="2601" baseline="0">
                <a:solidFill>
                  <a:srgbClr val="881946"/>
                </a:solidFill>
                <a:latin typeface="+mj-lt"/>
              </a:defRPr>
            </a:lvl1pPr>
          </a:lstStyle>
          <a:p>
            <a:r>
              <a:rPr lang="en-US" dirty="0"/>
              <a:t>Title of the slide in </a:t>
            </a:r>
            <a:r>
              <a:rPr lang="en-US" dirty="0" err="1"/>
              <a:t>Lato</a:t>
            </a:r>
            <a:r>
              <a:rPr lang="en-US" dirty="0"/>
              <a:t> 26 points.  Max 1 line</a:t>
            </a:r>
          </a:p>
        </p:txBody>
      </p:sp>
      <p:sp>
        <p:nvSpPr>
          <p:cNvPr id="7" name="Text Placeholder 6"/>
          <p:cNvSpPr>
            <a:spLocks noGrp="1"/>
          </p:cNvSpPr>
          <p:nvPr>
            <p:ph type="body" sz="quarter" idx="13" hasCustomPrompt="1"/>
          </p:nvPr>
        </p:nvSpPr>
        <p:spPr>
          <a:xfrm>
            <a:off x="943691" y="1707338"/>
            <a:ext cx="6313307" cy="184666"/>
          </a:xfrm>
        </p:spPr>
        <p:txBody>
          <a:bodyPr wrap="square" anchor="b">
            <a:spAutoFit/>
          </a:bodyPr>
          <a:lstStyle>
            <a:lvl1pPr marL="0" indent="0">
              <a:buNone/>
              <a:defRPr sz="1200" cap="all" baseline="0">
                <a:solidFill>
                  <a:srgbClr val="606060"/>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dirty="0"/>
              <a:t>Text in </a:t>
            </a:r>
            <a:r>
              <a:rPr lang="en-US" dirty="0" err="1"/>
              <a:t>lato</a:t>
            </a:r>
            <a:r>
              <a:rPr lang="en-US" dirty="0"/>
              <a:t> 12 points all caps</a:t>
            </a:r>
          </a:p>
        </p:txBody>
      </p:sp>
      <p:sp>
        <p:nvSpPr>
          <p:cNvPr id="24" name="Text Placeholder 6"/>
          <p:cNvSpPr>
            <a:spLocks noGrp="1"/>
          </p:cNvSpPr>
          <p:nvPr>
            <p:ph type="body" sz="quarter" idx="19" hasCustomPrompt="1"/>
          </p:nvPr>
        </p:nvSpPr>
        <p:spPr>
          <a:xfrm>
            <a:off x="943691" y="1996631"/>
            <a:ext cx="6313307" cy="4327971"/>
          </a:xfrm>
        </p:spPr>
        <p:txBody>
          <a:bodyPr wrap="square">
            <a:noAutofit/>
          </a:bodyPr>
          <a:lstStyle>
            <a:lvl1pPr>
              <a:spcAft>
                <a:spcPts val="601"/>
              </a:spcAft>
              <a:defRPr sz="1001">
                <a:solidFill>
                  <a:srgbClr val="606060"/>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dirty="0"/>
              <a:t>Type your text here</a:t>
            </a:r>
          </a:p>
        </p:txBody>
      </p:sp>
      <p:sp>
        <p:nvSpPr>
          <p:cNvPr id="37" name="Text Placeholder 6"/>
          <p:cNvSpPr>
            <a:spLocks noGrp="1"/>
          </p:cNvSpPr>
          <p:nvPr>
            <p:ph type="body" sz="quarter" idx="25" hasCustomPrompt="1"/>
          </p:nvPr>
        </p:nvSpPr>
        <p:spPr>
          <a:xfrm>
            <a:off x="7904284" y="1707338"/>
            <a:ext cx="3083456" cy="184666"/>
          </a:xfrm>
        </p:spPr>
        <p:txBody>
          <a:bodyPr wrap="square" anchor="b">
            <a:spAutoFit/>
          </a:bodyPr>
          <a:lstStyle>
            <a:lvl1pPr marL="0" indent="0">
              <a:buNone/>
              <a:defRPr sz="1200" b="1" cap="all" baseline="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dirty="0"/>
              <a:t>Type your title text here</a:t>
            </a:r>
          </a:p>
        </p:txBody>
      </p:sp>
      <p:sp>
        <p:nvSpPr>
          <p:cNvPr id="38" name="Text Placeholder 6"/>
          <p:cNvSpPr>
            <a:spLocks noGrp="1"/>
          </p:cNvSpPr>
          <p:nvPr>
            <p:ph type="body" sz="quarter" idx="26" hasCustomPrompt="1"/>
          </p:nvPr>
        </p:nvSpPr>
        <p:spPr>
          <a:xfrm>
            <a:off x="7904284" y="1996629"/>
            <a:ext cx="3083456" cy="4319328"/>
          </a:xfrm>
        </p:spPr>
        <p:txBody>
          <a:bodyPr wrap="square">
            <a:noAutofit/>
          </a:bodyPr>
          <a:lstStyle>
            <a:lvl1pPr>
              <a:spcAft>
                <a:spcPts val="601"/>
              </a:spcAft>
              <a:defRPr sz="1001">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dirty="0"/>
              <a:t>Type your text here</a:t>
            </a:r>
          </a:p>
        </p:txBody>
      </p:sp>
      <p:sp>
        <p:nvSpPr>
          <p:cNvPr id="18" name="Text Placeholder 6"/>
          <p:cNvSpPr>
            <a:spLocks noGrp="1"/>
          </p:cNvSpPr>
          <p:nvPr>
            <p:ph type="body" sz="quarter" idx="14" hasCustomPrompt="1"/>
          </p:nvPr>
        </p:nvSpPr>
        <p:spPr>
          <a:xfrm>
            <a:off x="943691" y="6377453"/>
            <a:ext cx="8059634" cy="308033"/>
          </a:xfrm>
        </p:spPr>
        <p:txBody>
          <a:bodyPr wrap="square" anchor="b">
            <a:spAutoFit/>
          </a:bodyPr>
          <a:lstStyle>
            <a:lvl1pPr marL="0" indent="0">
              <a:buNone/>
              <a:defRPr sz="1001" baseline="0">
                <a:solidFill>
                  <a:srgbClr val="606060"/>
                </a:solidFill>
              </a:defRPr>
            </a:lvl1pPr>
          </a:lstStyle>
          <a:p>
            <a:pPr lvl="0"/>
            <a:r>
              <a:rPr lang="en-US" dirty="0"/>
              <a:t>This space is reserved for footnotes and sources only, and cannot be expanded beyond its current size.                                        Source: [Author/Publisher Name], [Report Name], [Year]</a:t>
            </a:r>
          </a:p>
        </p:txBody>
      </p:sp>
      <p:sp>
        <p:nvSpPr>
          <p:cNvPr id="25" name="Text Placeholder 6">
            <a:extLst>
              <a:ext uri="{FF2B5EF4-FFF2-40B4-BE49-F238E27FC236}">
                <a16:creationId xmlns:a16="http://schemas.microsoft.com/office/drawing/2014/main" id="{649FD732-DDC9-4776-AE97-A9BA2881D005}"/>
              </a:ext>
            </a:extLst>
          </p:cNvPr>
          <p:cNvSpPr>
            <a:spLocks noGrp="1"/>
          </p:cNvSpPr>
          <p:nvPr>
            <p:ph type="body" sz="quarter" idx="17" hasCustomPrompt="1"/>
          </p:nvPr>
        </p:nvSpPr>
        <p:spPr>
          <a:xfrm>
            <a:off x="80277" y="399740"/>
            <a:ext cx="468922" cy="184666"/>
          </a:xfrm>
        </p:spPr>
        <p:txBody>
          <a:bodyPr wrap="square" anchor="ctr">
            <a:spAutoFit/>
          </a:bodyPr>
          <a:lstStyle>
            <a:lvl1pPr marL="0" indent="0" algn="ctr">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dirty="0"/>
              <a:t>Text</a:t>
            </a:r>
          </a:p>
        </p:txBody>
      </p:sp>
      <p:sp>
        <p:nvSpPr>
          <p:cNvPr id="22" name="Rectangle 21">
            <a:extLst>
              <a:ext uri="{FF2B5EF4-FFF2-40B4-BE49-F238E27FC236}">
                <a16:creationId xmlns:a16="http://schemas.microsoft.com/office/drawing/2014/main" id="{880780AE-D7A2-4004-B2E5-D7796577DF6E}"/>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sp>
        <p:nvSpPr>
          <p:cNvPr id="29" name="Slide Number Placeholder 5">
            <a:extLst>
              <a:ext uri="{FF2B5EF4-FFF2-40B4-BE49-F238E27FC236}">
                <a16:creationId xmlns:a16="http://schemas.microsoft.com/office/drawing/2014/main" id="{88345E53-7D85-4E56-8938-3EF899BB937B}"/>
              </a:ext>
            </a:extLst>
          </p:cNvPr>
          <p:cNvSpPr>
            <a:spLocks noGrp="1"/>
          </p:cNvSpPr>
          <p:nvPr>
            <p:ph type="sldNum" sz="quarter" idx="4"/>
          </p:nvPr>
        </p:nvSpPr>
        <p:spPr bwMode="gray">
          <a:xfrm>
            <a:off x="11743978" y="6529802"/>
            <a:ext cx="280034" cy="154017"/>
          </a:xfrm>
          <a:prstGeom prst="rect">
            <a:avLst/>
          </a:prstGeom>
          <a:noFill/>
        </p:spPr>
        <p:txBody>
          <a:bodyPr vert="horz" wrap="square" lIns="0" tIns="0" rIns="0" bIns="0" rtlCol="0" anchor="ctr">
            <a:spAutoFit/>
          </a:bodyPr>
          <a:lstStyle>
            <a:lvl1pPr algn="ctr">
              <a:defRPr sz="1001">
                <a:solidFill>
                  <a:schemeClr val="bg1"/>
                </a:solidFill>
                <a:latin typeface="Lato" panose="020F0502020204030203" pitchFamily="34" charset="0"/>
                <a:cs typeface="Arial" pitchFamily="34" charset="0"/>
              </a:defRPr>
            </a:lvl1pPr>
          </a:lstStyle>
          <a:p>
            <a:fld id="{A90607E6-BCED-4FC1-A345-AB2A307AB80F}" type="slidenum">
              <a:rPr lang="en-US" smtClean="0"/>
              <a:pPr/>
              <a:t>‹#›</a:t>
            </a:fld>
            <a:endParaRPr lang="en-US" dirty="0"/>
          </a:p>
        </p:txBody>
      </p:sp>
      <p:pic>
        <p:nvPicPr>
          <p:cNvPr id="19" name="Picture 18">
            <a:extLst>
              <a:ext uri="{FF2B5EF4-FFF2-40B4-BE49-F238E27FC236}">
                <a16:creationId xmlns:a16="http://schemas.microsoft.com/office/drawing/2014/main" id="{A2775669-8FDB-4D73-B0C3-46485F367345}"/>
              </a:ext>
            </a:extLst>
          </p:cNvPr>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480621" y="6511925"/>
            <a:ext cx="704948" cy="219106"/>
          </a:xfrm>
          <a:prstGeom prst="rect">
            <a:avLst/>
          </a:prstGeom>
        </p:spPr>
      </p:pic>
    </p:spTree>
    <p:extLst>
      <p:ext uri="{BB962C8B-B14F-4D97-AF65-F5344CB8AC3E}">
        <p14:creationId xmlns:p14="http://schemas.microsoft.com/office/powerpoint/2010/main" val="25609693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gre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252324038"/>
              </p:ext>
            </p:extLst>
          </p:nvPr>
        </p:nvGraphicFramePr>
        <p:xfrm>
          <a:off x="2121" y="2118"/>
          <a:ext cx="2116" cy="2116"/>
        </p:xfrm>
        <a:graphic>
          <a:graphicData uri="http://schemas.openxmlformats.org/presentationml/2006/ole">
            <mc:AlternateContent xmlns:mc="http://schemas.openxmlformats.org/markup-compatibility/2006">
              <mc:Choice xmlns:v="urn:schemas-microsoft-com:vml" Requires="v">
                <p:oleObj spid="_x0000_s245258" name="think-cell Slide" r:id="rId5" imgW="383" imgH="385" progId="TCLayout.ActiveDocument.1">
                  <p:embed/>
                </p:oleObj>
              </mc:Choice>
              <mc:Fallback>
                <p:oleObj name="think-cell Slide" r:id="rId5" imgW="383" imgH="385" progId="TCLayout.ActiveDocument.1">
                  <p:embed/>
                  <p:pic>
                    <p:nvPicPr>
                      <p:cNvPr id="6" name="Object 5" hidden="1"/>
                      <p:cNvPicPr/>
                      <p:nvPr/>
                    </p:nvPicPr>
                    <p:blipFill>
                      <a:blip r:embed="rId6"/>
                      <a:stretch>
                        <a:fillRect/>
                      </a:stretch>
                    </p:blipFill>
                    <p:spPr>
                      <a:xfrm>
                        <a:off x="2121" y="2118"/>
                        <a:ext cx="2116" cy="211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833356B-290E-4748-A54C-2740A0F90078}"/>
              </a:ext>
            </a:extLst>
          </p:cNvPr>
          <p:cNvSpPr/>
          <p:nvPr userDrawn="1">
            <p:custDataLst>
              <p:tags r:id="rId3"/>
            </p:custDataLst>
          </p:nvPr>
        </p:nvSpPr>
        <p:spPr>
          <a:xfrm>
            <a:off x="0" y="0"/>
            <a:ext cx="158750" cy="158750"/>
          </a:xfrm>
          <a:prstGeom prst="rect">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23" rtl="0" eaLnBrk="1" latinLnBrk="0" hangingPunct="1">
              <a:lnSpc>
                <a:spcPct val="100000"/>
              </a:lnSpc>
              <a:spcBef>
                <a:spcPct val="0"/>
              </a:spcBef>
              <a:spcAft>
                <a:spcPct val="0"/>
              </a:spcAft>
            </a:pPr>
            <a:endParaRPr lang="en-US" sz="2601" b="0" i="0" kern="1200" baseline="0" dirty="0" err="1">
              <a:solidFill>
                <a:schemeClr val="bg1"/>
              </a:solidFill>
              <a:latin typeface="Lato" panose="020F0502020204030203" pitchFamily="34" charset="0"/>
              <a:ea typeface="+mj-ea"/>
              <a:cs typeface="Arial" pitchFamily="34" charset="0"/>
              <a:sym typeface="Lato" panose="020F0502020204030203" pitchFamily="34" charset="0"/>
            </a:endParaRPr>
          </a:p>
        </p:txBody>
      </p:sp>
      <p:sp>
        <p:nvSpPr>
          <p:cNvPr id="17" name="Text Placeholder 6"/>
          <p:cNvSpPr>
            <a:spLocks noGrp="1"/>
          </p:cNvSpPr>
          <p:nvPr>
            <p:ph type="body" sz="quarter" idx="15" hasCustomPrompt="1"/>
          </p:nvPr>
        </p:nvSpPr>
        <p:spPr>
          <a:xfrm>
            <a:off x="943691" y="1252993"/>
            <a:ext cx="6313307" cy="307777"/>
          </a:xfrm>
        </p:spPr>
        <p:txBody>
          <a:bodyPr vert="horz" wrap="square" lIns="0" tIns="0" rIns="0" bIns="0" rtlCol="0">
            <a:spAutoFit/>
          </a:bodyPr>
          <a:lstStyle>
            <a:lvl1pPr marL="201167" indent="-201167">
              <a:buNone/>
              <a:defRPr lang="en-US" sz="2000" b="0" cap="none" baseline="0" dirty="0">
                <a:solidFill>
                  <a:srgbClr val="F3B11C"/>
                </a:solidFill>
              </a:defRPr>
            </a:lvl1pPr>
          </a:lstStyle>
          <a:p>
            <a:pPr marL="0" lvl="0" indent="0"/>
            <a:r>
              <a:rPr lang="en-US" dirty="0"/>
              <a:t>Sub-title in </a:t>
            </a:r>
            <a:r>
              <a:rPr lang="en-US" dirty="0" err="1"/>
              <a:t>Lato</a:t>
            </a:r>
            <a:r>
              <a:rPr lang="en-US" dirty="0"/>
              <a:t> 20 points</a:t>
            </a:r>
          </a:p>
        </p:txBody>
      </p:sp>
      <p:sp>
        <p:nvSpPr>
          <p:cNvPr id="13" name="Rectangle 12"/>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sp>
        <p:nvSpPr>
          <p:cNvPr id="36" name="Text Placeholder 6"/>
          <p:cNvSpPr>
            <a:spLocks noGrp="1"/>
          </p:cNvSpPr>
          <p:nvPr>
            <p:ph type="body" sz="quarter" idx="24"/>
          </p:nvPr>
        </p:nvSpPr>
        <p:spPr>
          <a:xfrm>
            <a:off x="7369913" y="1252991"/>
            <a:ext cx="4194903" cy="5071610"/>
          </a:xfrm>
          <a:solidFill>
            <a:srgbClr val="918A87"/>
          </a:solidFill>
        </p:spPr>
        <p:txBody>
          <a:bodyPr vert="horz" wrap="square" lIns="0" tIns="0" rIns="0" bIns="0" rtlCol="0" anchor="ctr">
            <a:noAutofit/>
          </a:bodyPr>
          <a:lstStyle>
            <a:lvl1pPr>
              <a:defRPr lang="en-US" sz="1401" dirty="0">
                <a:solidFill>
                  <a:schemeClr val="bg1"/>
                </a:solidFill>
              </a:defRPr>
            </a:lvl1pPr>
          </a:lstStyle>
          <a:p>
            <a:pPr marL="0" lvl="0" indent="0" algn="ctr">
              <a:spcAft>
                <a:spcPts val="601"/>
              </a:spcAft>
              <a:buNone/>
            </a:pPr>
            <a:r>
              <a:rPr lang="en-US"/>
              <a:t>Click to edit Master text styles</a:t>
            </a:r>
          </a:p>
        </p:txBody>
      </p:sp>
      <p:sp>
        <p:nvSpPr>
          <p:cNvPr id="21" name="Title 1"/>
          <p:cNvSpPr>
            <a:spLocks noGrp="1"/>
          </p:cNvSpPr>
          <p:nvPr>
            <p:ph type="title" hasCustomPrompt="1"/>
          </p:nvPr>
        </p:nvSpPr>
        <p:spPr>
          <a:xfrm>
            <a:off x="943690" y="291952"/>
            <a:ext cx="10621127" cy="400238"/>
          </a:xfrm>
        </p:spPr>
        <p:txBody>
          <a:bodyPr wrap="square" anchor="ctr">
            <a:spAutoFit/>
          </a:bodyPr>
          <a:lstStyle>
            <a:lvl1pPr>
              <a:defRPr sz="2601" baseline="0">
                <a:solidFill>
                  <a:srgbClr val="881946"/>
                </a:solidFill>
                <a:latin typeface="+mj-lt"/>
              </a:defRPr>
            </a:lvl1pPr>
          </a:lstStyle>
          <a:p>
            <a:r>
              <a:rPr lang="en-US" dirty="0"/>
              <a:t>Title of the slide in </a:t>
            </a:r>
            <a:r>
              <a:rPr lang="en-US" dirty="0" err="1"/>
              <a:t>Lato</a:t>
            </a:r>
            <a:r>
              <a:rPr lang="en-US" dirty="0"/>
              <a:t> 26 points.  Max 1 line</a:t>
            </a:r>
          </a:p>
        </p:txBody>
      </p:sp>
      <p:sp>
        <p:nvSpPr>
          <p:cNvPr id="7" name="Text Placeholder 6"/>
          <p:cNvSpPr>
            <a:spLocks noGrp="1"/>
          </p:cNvSpPr>
          <p:nvPr>
            <p:ph type="body" sz="quarter" idx="13" hasCustomPrompt="1"/>
          </p:nvPr>
        </p:nvSpPr>
        <p:spPr>
          <a:xfrm>
            <a:off x="943691" y="1707338"/>
            <a:ext cx="6313307" cy="184666"/>
          </a:xfrm>
        </p:spPr>
        <p:txBody>
          <a:bodyPr wrap="square" anchor="b">
            <a:spAutoFit/>
          </a:bodyPr>
          <a:lstStyle>
            <a:lvl1pPr marL="0" indent="0">
              <a:buNone/>
              <a:defRPr sz="1200" cap="all" baseline="0">
                <a:solidFill>
                  <a:srgbClr val="606060"/>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dirty="0"/>
              <a:t>Text in </a:t>
            </a:r>
            <a:r>
              <a:rPr lang="en-US" dirty="0" err="1"/>
              <a:t>lato</a:t>
            </a:r>
            <a:r>
              <a:rPr lang="en-US" dirty="0"/>
              <a:t> 12 points all caps</a:t>
            </a:r>
          </a:p>
        </p:txBody>
      </p:sp>
      <p:sp>
        <p:nvSpPr>
          <p:cNvPr id="24" name="Text Placeholder 6"/>
          <p:cNvSpPr>
            <a:spLocks noGrp="1"/>
          </p:cNvSpPr>
          <p:nvPr>
            <p:ph type="body" sz="quarter" idx="19" hasCustomPrompt="1"/>
          </p:nvPr>
        </p:nvSpPr>
        <p:spPr>
          <a:xfrm>
            <a:off x="943691" y="1996631"/>
            <a:ext cx="6313307" cy="4327971"/>
          </a:xfrm>
        </p:spPr>
        <p:txBody>
          <a:bodyPr wrap="square">
            <a:noAutofit/>
          </a:bodyPr>
          <a:lstStyle>
            <a:lvl1pPr>
              <a:spcAft>
                <a:spcPts val="601"/>
              </a:spcAft>
              <a:defRPr sz="1001">
                <a:solidFill>
                  <a:srgbClr val="606060"/>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dirty="0"/>
              <a:t>Type your text here</a:t>
            </a:r>
          </a:p>
        </p:txBody>
      </p:sp>
      <p:sp>
        <p:nvSpPr>
          <p:cNvPr id="37" name="Text Placeholder 6"/>
          <p:cNvSpPr>
            <a:spLocks noGrp="1"/>
          </p:cNvSpPr>
          <p:nvPr>
            <p:ph type="body" sz="quarter" idx="25" hasCustomPrompt="1"/>
          </p:nvPr>
        </p:nvSpPr>
        <p:spPr>
          <a:xfrm>
            <a:off x="7904284" y="1707338"/>
            <a:ext cx="3083456" cy="184666"/>
          </a:xfrm>
        </p:spPr>
        <p:txBody>
          <a:bodyPr wrap="square" anchor="b">
            <a:spAutoFit/>
          </a:bodyPr>
          <a:lstStyle>
            <a:lvl1pPr marL="0" indent="0">
              <a:buNone/>
              <a:defRPr sz="1200" b="1" cap="all" baseline="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dirty="0"/>
              <a:t>Type your title text here</a:t>
            </a:r>
          </a:p>
        </p:txBody>
      </p:sp>
      <p:sp>
        <p:nvSpPr>
          <p:cNvPr id="38" name="Text Placeholder 6"/>
          <p:cNvSpPr>
            <a:spLocks noGrp="1"/>
          </p:cNvSpPr>
          <p:nvPr>
            <p:ph type="body" sz="quarter" idx="26" hasCustomPrompt="1"/>
          </p:nvPr>
        </p:nvSpPr>
        <p:spPr>
          <a:xfrm>
            <a:off x="7904284" y="1996629"/>
            <a:ext cx="3083456" cy="4319328"/>
          </a:xfrm>
        </p:spPr>
        <p:txBody>
          <a:bodyPr wrap="square">
            <a:noAutofit/>
          </a:bodyPr>
          <a:lstStyle>
            <a:lvl1pPr>
              <a:spcAft>
                <a:spcPts val="601"/>
              </a:spcAft>
              <a:defRPr sz="1001">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dirty="0"/>
              <a:t>Type your text here</a:t>
            </a:r>
          </a:p>
        </p:txBody>
      </p:sp>
      <p:sp>
        <p:nvSpPr>
          <p:cNvPr id="18" name="Text Placeholder 6"/>
          <p:cNvSpPr>
            <a:spLocks noGrp="1"/>
          </p:cNvSpPr>
          <p:nvPr>
            <p:ph type="body" sz="quarter" idx="14" hasCustomPrompt="1"/>
          </p:nvPr>
        </p:nvSpPr>
        <p:spPr>
          <a:xfrm>
            <a:off x="943691" y="6377453"/>
            <a:ext cx="8059634" cy="308033"/>
          </a:xfrm>
        </p:spPr>
        <p:txBody>
          <a:bodyPr wrap="square" anchor="b">
            <a:spAutoFit/>
          </a:bodyPr>
          <a:lstStyle>
            <a:lvl1pPr marL="0" indent="0">
              <a:buNone/>
              <a:defRPr sz="1001" baseline="0">
                <a:solidFill>
                  <a:srgbClr val="606060"/>
                </a:solidFill>
              </a:defRPr>
            </a:lvl1pPr>
          </a:lstStyle>
          <a:p>
            <a:pPr lvl="0"/>
            <a:r>
              <a:rPr lang="en-US" dirty="0"/>
              <a:t>This space is reserved for footnotes and sources only, and cannot be expanded beyond its current size.                                        Source: [Author/Publisher Name], [Report Name], [Year]</a:t>
            </a:r>
          </a:p>
        </p:txBody>
      </p:sp>
      <p:sp>
        <p:nvSpPr>
          <p:cNvPr id="25" name="Text Placeholder 6">
            <a:extLst>
              <a:ext uri="{FF2B5EF4-FFF2-40B4-BE49-F238E27FC236}">
                <a16:creationId xmlns:a16="http://schemas.microsoft.com/office/drawing/2014/main" id="{B68A9C93-4320-4F62-BD4B-3D01795D3C5F}"/>
              </a:ext>
            </a:extLst>
          </p:cNvPr>
          <p:cNvSpPr>
            <a:spLocks noGrp="1"/>
          </p:cNvSpPr>
          <p:nvPr>
            <p:ph type="body" sz="quarter" idx="17" hasCustomPrompt="1"/>
          </p:nvPr>
        </p:nvSpPr>
        <p:spPr>
          <a:xfrm>
            <a:off x="80277" y="399740"/>
            <a:ext cx="468922" cy="184666"/>
          </a:xfrm>
        </p:spPr>
        <p:txBody>
          <a:bodyPr wrap="square" anchor="ctr">
            <a:spAutoFit/>
          </a:bodyPr>
          <a:lstStyle>
            <a:lvl1pPr marL="0" indent="0" algn="ctr">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dirty="0"/>
              <a:t>Text</a:t>
            </a:r>
          </a:p>
        </p:txBody>
      </p:sp>
      <p:sp>
        <p:nvSpPr>
          <p:cNvPr id="22" name="Rectangle 21">
            <a:extLst>
              <a:ext uri="{FF2B5EF4-FFF2-40B4-BE49-F238E27FC236}">
                <a16:creationId xmlns:a16="http://schemas.microsoft.com/office/drawing/2014/main" id="{CBFCE6C5-D2B6-4A49-8CA7-1D1D3EAA25AD}"/>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sp>
        <p:nvSpPr>
          <p:cNvPr id="29" name="Slide Number Placeholder 5">
            <a:extLst>
              <a:ext uri="{FF2B5EF4-FFF2-40B4-BE49-F238E27FC236}">
                <a16:creationId xmlns:a16="http://schemas.microsoft.com/office/drawing/2014/main" id="{F458950F-C999-4D7D-8E79-0411D94D26D3}"/>
              </a:ext>
            </a:extLst>
          </p:cNvPr>
          <p:cNvSpPr>
            <a:spLocks noGrp="1"/>
          </p:cNvSpPr>
          <p:nvPr>
            <p:ph type="sldNum" sz="quarter" idx="4"/>
          </p:nvPr>
        </p:nvSpPr>
        <p:spPr bwMode="gray">
          <a:xfrm>
            <a:off x="11743978" y="6529802"/>
            <a:ext cx="280034" cy="154017"/>
          </a:xfrm>
          <a:prstGeom prst="rect">
            <a:avLst/>
          </a:prstGeom>
          <a:noFill/>
        </p:spPr>
        <p:txBody>
          <a:bodyPr vert="horz" wrap="square" lIns="0" tIns="0" rIns="0" bIns="0" rtlCol="0" anchor="ctr">
            <a:spAutoFit/>
          </a:bodyPr>
          <a:lstStyle>
            <a:lvl1pPr algn="ctr">
              <a:defRPr sz="1001">
                <a:solidFill>
                  <a:schemeClr val="bg1"/>
                </a:solidFill>
                <a:latin typeface="Lato" panose="020F0502020204030203" pitchFamily="34" charset="0"/>
                <a:cs typeface="Arial" pitchFamily="34" charset="0"/>
              </a:defRPr>
            </a:lvl1pPr>
          </a:lstStyle>
          <a:p>
            <a:fld id="{A90607E6-BCED-4FC1-A345-AB2A307AB80F}" type="slidenum">
              <a:rPr lang="en-US" smtClean="0"/>
              <a:pPr/>
              <a:t>‹#›</a:t>
            </a:fld>
            <a:endParaRPr lang="en-US" dirty="0"/>
          </a:p>
        </p:txBody>
      </p:sp>
      <p:pic>
        <p:nvPicPr>
          <p:cNvPr id="19" name="Picture 18">
            <a:extLst>
              <a:ext uri="{FF2B5EF4-FFF2-40B4-BE49-F238E27FC236}">
                <a16:creationId xmlns:a16="http://schemas.microsoft.com/office/drawing/2014/main" id="{905A4C0E-C16C-4374-AFE7-C1C8232FAF23}"/>
              </a:ext>
            </a:extLst>
          </p:cNvPr>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480621" y="6511925"/>
            <a:ext cx="704948" cy="219106"/>
          </a:xfrm>
          <a:prstGeom prst="rect">
            <a:avLst/>
          </a:prstGeom>
        </p:spPr>
      </p:pic>
    </p:spTree>
    <p:extLst>
      <p:ext uri="{BB962C8B-B14F-4D97-AF65-F5344CB8AC3E}">
        <p14:creationId xmlns:p14="http://schemas.microsoft.com/office/powerpoint/2010/main" val="17524249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180091674"/>
              </p:ext>
            </p:extLst>
          </p:nvPr>
        </p:nvGraphicFramePr>
        <p:xfrm>
          <a:off x="2121" y="2118"/>
          <a:ext cx="2116" cy="2116"/>
        </p:xfrm>
        <a:graphic>
          <a:graphicData uri="http://schemas.openxmlformats.org/presentationml/2006/ole">
            <mc:AlternateContent xmlns:mc="http://schemas.openxmlformats.org/markup-compatibility/2006">
              <mc:Choice xmlns:v="urn:schemas-microsoft-com:vml" Requires="v">
                <p:oleObj spid="_x0000_s237080" name="think-cell Slide" r:id="rId5" imgW="383" imgH="385" progId="TCLayout.ActiveDocument.1">
                  <p:embed/>
                </p:oleObj>
              </mc:Choice>
              <mc:Fallback>
                <p:oleObj name="think-cell Slide" r:id="rId5" imgW="383" imgH="385" progId="TCLayout.ActiveDocument.1">
                  <p:embed/>
                  <p:pic>
                    <p:nvPicPr>
                      <p:cNvPr id="6" name="Object 5" hidden="1"/>
                      <p:cNvPicPr/>
                      <p:nvPr/>
                    </p:nvPicPr>
                    <p:blipFill>
                      <a:blip r:embed="rId6"/>
                      <a:stretch>
                        <a:fillRect/>
                      </a:stretch>
                    </p:blipFill>
                    <p:spPr>
                      <a:xfrm>
                        <a:off x="2121" y="2118"/>
                        <a:ext cx="2116" cy="211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3BCD74-3223-4329-B120-7CADE19275DD}"/>
              </a:ext>
            </a:extLst>
          </p:cNvPr>
          <p:cNvSpPr/>
          <p:nvPr userDrawn="1">
            <p:custDataLst>
              <p:tags r:id="rId3"/>
            </p:custDataLst>
          </p:nvPr>
        </p:nvSpPr>
        <p:spPr>
          <a:xfrm>
            <a:off x="0" y="0"/>
            <a:ext cx="158750" cy="158750"/>
          </a:xfrm>
          <a:prstGeom prst="rect">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23" rtl="0" eaLnBrk="1" latinLnBrk="0" hangingPunct="1">
              <a:lnSpc>
                <a:spcPct val="100000"/>
              </a:lnSpc>
              <a:spcBef>
                <a:spcPct val="0"/>
              </a:spcBef>
              <a:spcAft>
                <a:spcPct val="0"/>
              </a:spcAft>
            </a:pPr>
            <a:endParaRPr lang="en-US" sz="2601" b="0" i="0" kern="1200" baseline="0" dirty="0" err="1">
              <a:solidFill>
                <a:schemeClr val="bg1"/>
              </a:solidFill>
              <a:latin typeface="Lato" panose="020F0502020204030203" pitchFamily="34" charset="0"/>
              <a:ea typeface="+mj-ea"/>
              <a:cs typeface="Arial" pitchFamily="34" charset="0"/>
              <a:sym typeface="Lato" panose="020F0502020204030203" pitchFamily="34" charset="0"/>
            </a:endParaRPr>
          </a:p>
        </p:txBody>
      </p:sp>
      <p:sp>
        <p:nvSpPr>
          <p:cNvPr id="17" name="Text Placeholder 6"/>
          <p:cNvSpPr>
            <a:spLocks noGrp="1"/>
          </p:cNvSpPr>
          <p:nvPr>
            <p:ph type="body" sz="quarter" idx="15" hasCustomPrompt="1"/>
          </p:nvPr>
        </p:nvSpPr>
        <p:spPr>
          <a:xfrm>
            <a:off x="943691" y="1252993"/>
            <a:ext cx="6313307" cy="307777"/>
          </a:xfrm>
        </p:spPr>
        <p:txBody>
          <a:bodyPr vert="horz" wrap="square" lIns="0" tIns="0" rIns="0" bIns="0" rtlCol="0">
            <a:spAutoFit/>
          </a:bodyPr>
          <a:lstStyle>
            <a:lvl1pPr marL="201167" indent="-201167">
              <a:buNone/>
              <a:defRPr lang="en-US" sz="2000" b="0" cap="none" baseline="0" dirty="0">
                <a:solidFill>
                  <a:srgbClr val="F3B11C"/>
                </a:solidFill>
              </a:defRPr>
            </a:lvl1pPr>
          </a:lstStyle>
          <a:p>
            <a:pPr marL="0" lvl="0" indent="0"/>
            <a:r>
              <a:rPr lang="en-US" dirty="0"/>
              <a:t>Sub-title in </a:t>
            </a:r>
            <a:r>
              <a:rPr lang="en-US" dirty="0" err="1"/>
              <a:t>Lato</a:t>
            </a:r>
            <a:r>
              <a:rPr lang="en-US" dirty="0"/>
              <a:t> 20 points</a:t>
            </a:r>
          </a:p>
        </p:txBody>
      </p:sp>
      <p:sp>
        <p:nvSpPr>
          <p:cNvPr id="13" name="Rectangle 12"/>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sp>
        <p:nvSpPr>
          <p:cNvPr id="36" name="Text Placeholder 6"/>
          <p:cNvSpPr>
            <a:spLocks noGrp="1"/>
          </p:cNvSpPr>
          <p:nvPr>
            <p:ph type="body" sz="quarter" idx="24"/>
          </p:nvPr>
        </p:nvSpPr>
        <p:spPr>
          <a:xfrm>
            <a:off x="7369913" y="1252991"/>
            <a:ext cx="4194903" cy="5071610"/>
          </a:xfrm>
          <a:solidFill>
            <a:srgbClr val="F3B11C"/>
          </a:solidFill>
        </p:spPr>
        <p:txBody>
          <a:bodyPr wrap="square">
            <a:noAutofit/>
          </a:bodyPr>
          <a:lstStyle>
            <a:lvl1pPr marL="0" indent="0">
              <a:spcAft>
                <a:spcPts val="601"/>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a:t>Click to edit Master text styles</a:t>
            </a:r>
          </a:p>
        </p:txBody>
      </p:sp>
      <p:sp>
        <p:nvSpPr>
          <p:cNvPr id="21" name="Title 1"/>
          <p:cNvSpPr>
            <a:spLocks noGrp="1"/>
          </p:cNvSpPr>
          <p:nvPr>
            <p:ph type="title" hasCustomPrompt="1"/>
          </p:nvPr>
        </p:nvSpPr>
        <p:spPr>
          <a:xfrm>
            <a:off x="943690" y="291952"/>
            <a:ext cx="10621127" cy="400238"/>
          </a:xfrm>
        </p:spPr>
        <p:txBody>
          <a:bodyPr wrap="square" anchor="ctr">
            <a:spAutoFit/>
          </a:bodyPr>
          <a:lstStyle>
            <a:lvl1pPr>
              <a:defRPr sz="2601" baseline="0">
                <a:solidFill>
                  <a:srgbClr val="881946"/>
                </a:solidFill>
                <a:latin typeface="+mj-lt"/>
              </a:defRPr>
            </a:lvl1pPr>
          </a:lstStyle>
          <a:p>
            <a:r>
              <a:rPr lang="en-US" dirty="0"/>
              <a:t>Title of the slide in </a:t>
            </a:r>
            <a:r>
              <a:rPr lang="en-US" dirty="0" err="1"/>
              <a:t>Lato</a:t>
            </a:r>
            <a:r>
              <a:rPr lang="en-US" dirty="0"/>
              <a:t> 26 points.  Max 1 line</a:t>
            </a:r>
          </a:p>
        </p:txBody>
      </p:sp>
      <p:sp>
        <p:nvSpPr>
          <p:cNvPr id="7" name="Text Placeholder 6"/>
          <p:cNvSpPr>
            <a:spLocks noGrp="1"/>
          </p:cNvSpPr>
          <p:nvPr>
            <p:ph type="body" sz="quarter" idx="13" hasCustomPrompt="1"/>
          </p:nvPr>
        </p:nvSpPr>
        <p:spPr>
          <a:xfrm>
            <a:off x="943691" y="1707338"/>
            <a:ext cx="6313307" cy="184666"/>
          </a:xfrm>
        </p:spPr>
        <p:txBody>
          <a:bodyPr wrap="square" anchor="b">
            <a:spAutoFit/>
          </a:bodyPr>
          <a:lstStyle>
            <a:lvl1pPr marL="0" indent="0">
              <a:buNone/>
              <a:defRPr sz="1200" cap="all" baseline="0">
                <a:solidFill>
                  <a:srgbClr val="606060"/>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dirty="0"/>
              <a:t>Text in </a:t>
            </a:r>
            <a:r>
              <a:rPr lang="en-US" dirty="0" err="1"/>
              <a:t>lato</a:t>
            </a:r>
            <a:r>
              <a:rPr lang="en-US" dirty="0"/>
              <a:t> 12 points all caps</a:t>
            </a:r>
          </a:p>
        </p:txBody>
      </p:sp>
      <p:sp>
        <p:nvSpPr>
          <p:cNvPr id="24" name="Text Placeholder 6"/>
          <p:cNvSpPr>
            <a:spLocks noGrp="1"/>
          </p:cNvSpPr>
          <p:nvPr>
            <p:ph type="body" sz="quarter" idx="19" hasCustomPrompt="1"/>
          </p:nvPr>
        </p:nvSpPr>
        <p:spPr>
          <a:xfrm>
            <a:off x="943691" y="1996629"/>
            <a:ext cx="6313307" cy="4327972"/>
          </a:xfrm>
        </p:spPr>
        <p:txBody>
          <a:bodyPr wrap="square">
            <a:noAutofit/>
          </a:bodyPr>
          <a:lstStyle>
            <a:lvl1pPr>
              <a:spcAft>
                <a:spcPts val="601"/>
              </a:spcAft>
              <a:defRPr sz="1001">
                <a:solidFill>
                  <a:srgbClr val="606060"/>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dirty="0"/>
              <a:t>Type your text here</a:t>
            </a:r>
          </a:p>
        </p:txBody>
      </p:sp>
      <p:sp>
        <p:nvSpPr>
          <p:cNvPr id="37" name="Text Placeholder 6"/>
          <p:cNvSpPr>
            <a:spLocks noGrp="1"/>
          </p:cNvSpPr>
          <p:nvPr>
            <p:ph type="body" sz="quarter" idx="25" hasCustomPrompt="1"/>
          </p:nvPr>
        </p:nvSpPr>
        <p:spPr>
          <a:xfrm>
            <a:off x="7904284" y="1707338"/>
            <a:ext cx="3083456" cy="184666"/>
          </a:xfrm>
        </p:spPr>
        <p:txBody>
          <a:bodyPr wrap="square" anchor="b">
            <a:spAutoFit/>
          </a:bodyPr>
          <a:lstStyle>
            <a:lvl1pPr marL="0" indent="0">
              <a:buNone/>
              <a:defRPr sz="1200" b="1" cap="all" baseline="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dirty="0"/>
              <a:t>Type your title text here</a:t>
            </a:r>
          </a:p>
        </p:txBody>
      </p:sp>
      <p:sp>
        <p:nvSpPr>
          <p:cNvPr id="22" name="Text Placeholder 6"/>
          <p:cNvSpPr>
            <a:spLocks noGrp="1"/>
          </p:cNvSpPr>
          <p:nvPr>
            <p:ph type="body" sz="quarter" idx="14" hasCustomPrompt="1"/>
          </p:nvPr>
        </p:nvSpPr>
        <p:spPr>
          <a:xfrm>
            <a:off x="943691" y="6377453"/>
            <a:ext cx="8059634" cy="308033"/>
          </a:xfrm>
        </p:spPr>
        <p:txBody>
          <a:bodyPr wrap="square" anchor="b">
            <a:spAutoFit/>
          </a:bodyPr>
          <a:lstStyle>
            <a:lvl1pPr marL="0" indent="0">
              <a:buNone/>
              <a:defRPr sz="1001" baseline="0">
                <a:solidFill>
                  <a:srgbClr val="606060"/>
                </a:solidFill>
              </a:defRPr>
            </a:lvl1pPr>
          </a:lstStyle>
          <a:p>
            <a:pPr lvl="0"/>
            <a:r>
              <a:rPr lang="en-US" dirty="0"/>
              <a:t>This space is reserved for footnotes and sources only, and cannot be expanded beyond its current size.                                        Source: [Author/Publisher Name], [Report Name], [Year]</a:t>
            </a:r>
          </a:p>
        </p:txBody>
      </p:sp>
      <p:sp>
        <p:nvSpPr>
          <p:cNvPr id="25" name="Text Placeholder 6">
            <a:extLst>
              <a:ext uri="{FF2B5EF4-FFF2-40B4-BE49-F238E27FC236}">
                <a16:creationId xmlns:a16="http://schemas.microsoft.com/office/drawing/2014/main" id="{85397553-447A-4E1B-93DA-1DCE56B04C66}"/>
              </a:ext>
            </a:extLst>
          </p:cNvPr>
          <p:cNvSpPr>
            <a:spLocks noGrp="1"/>
          </p:cNvSpPr>
          <p:nvPr>
            <p:ph type="body" sz="quarter" idx="27" hasCustomPrompt="1"/>
          </p:nvPr>
        </p:nvSpPr>
        <p:spPr>
          <a:xfrm>
            <a:off x="7904284" y="1996629"/>
            <a:ext cx="3083456" cy="4319328"/>
          </a:xfrm>
        </p:spPr>
        <p:txBody>
          <a:bodyPr wrap="square">
            <a:noAutofit/>
          </a:bodyPr>
          <a:lstStyle>
            <a:lvl1pPr>
              <a:spcAft>
                <a:spcPts val="601"/>
              </a:spcAft>
              <a:defRPr sz="1001">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dirty="0"/>
              <a:t>Type your text here</a:t>
            </a:r>
          </a:p>
        </p:txBody>
      </p:sp>
      <p:sp>
        <p:nvSpPr>
          <p:cNvPr id="23" name="Text Placeholder 6">
            <a:extLst>
              <a:ext uri="{FF2B5EF4-FFF2-40B4-BE49-F238E27FC236}">
                <a16:creationId xmlns:a16="http://schemas.microsoft.com/office/drawing/2014/main" id="{927054CD-F755-44BF-BC83-4B5B46968D08}"/>
              </a:ext>
            </a:extLst>
          </p:cNvPr>
          <p:cNvSpPr>
            <a:spLocks noGrp="1"/>
          </p:cNvSpPr>
          <p:nvPr>
            <p:ph type="body" sz="quarter" idx="17" hasCustomPrompt="1"/>
          </p:nvPr>
        </p:nvSpPr>
        <p:spPr>
          <a:xfrm>
            <a:off x="80277" y="399740"/>
            <a:ext cx="468922" cy="184666"/>
          </a:xfrm>
        </p:spPr>
        <p:txBody>
          <a:bodyPr wrap="square" anchor="ctr">
            <a:spAutoFit/>
          </a:bodyPr>
          <a:lstStyle>
            <a:lvl1pPr marL="0" indent="0" algn="ctr">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dirty="0"/>
              <a:t>Text</a:t>
            </a:r>
          </a:p>
        </p:txBody>
      </p:sp>
      <p:sp>
        <p:nvSpPr>
          <p:cNvPr id="19" name="Rectangle 18">
            <a:extLst>
              <a:ext uri="{FF2B5EF4-FFF2-40B4-BE49-F238E27FC236}">
                <a16:creationId xmlns:a16="http://schemas.microsoft.com/office/drawing/2014/main" id="{220CCFCA-2EA5-4005-96ED-09FB33835489}"/>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sp>
        <p:nvSpPr>
          <p:cNvPr id="20" name="Slide Number Placeholder 5">
            <a:extLst>
              <a:ext uri="{FF2B5EF4-FFF2-40B4-BE49-F238E27FC236}">
                <a16:creationId xmlns:a16="http://schemas.microsoft.com/office/drawing/2014/main" id="{80228121-BE9E-4192-AF30-C984DDD38C7E}"/>
              </a:ext>
            </a:extLst>
          </p:cNvPr>
          <p:cNvSpPr>
            <a:spLocks noGrp="1"/>
          </p:cNvSpPr>
          <p:nvPr>
            <p:ph type="sldNum" sz="quarter" idx="4"/>
          </p:nvPr>
        </p:nvSpPr>
        <p:spPr bwMode="gray">
          <a:xfrm>
            <a:off x="11737696" y="6528070"/>
            <a:ext cx="280034" cy="154017"/>
          </a:xfrm>
          <a:prstGeom prst="rect">
            <a:avLst/>
          </a:prstGeom>
          <a:noFill/>
        </p:spPr>
        <p:txBody>
          <a:bodyPr vert="horz" wrap="square" lIns="0" tIns="0" rIns="0" bIns="0" rtlCol="0" anchor="ctr">
            <a:spAutoFit/>
          </a:bodyPr>
          <a:lstStyle>
            <a:lvl1pPr algn="ctr">
              <a:defRPr sz="1001">
                <a:solidFill>
                  <a:schemeClr val="bg1"/>
                </a:solidFill>
                <a:latin typeface="Lato" panose="020F0502020204030203" pitchFamily="34" charset="0"/>
                <a:cs typeface="Arial" pitchFamily="34" charset="0"/>
              </a:defRPr>
            </a:lvl1pPr>
          </a:lstStyle>
          <a:p>
            <a:fld id="{A90607E6-BCED-4FC1-A345-AB2A307AB80F}" type="slidenum">
              <a:rPr lang="en-US" smtClean="0"/>
              <a:pPr/>
              <a:t>‹#›</a:t>
            </a:fld>
            <a:endParaRPr lang="en-US" dirty="0"/>
          </a:p>
        </p:txBody>
      </p:sp>
      <p:pic>
        <p:nvPicPr>
          <p:cNvPr id="18" name="Picture 17">
            <a:extLst>
              <a:ext uri="{FF2B5EF4-FFF2-40B4-BE49-F238E27FC236}">
                <a16:creationId xmlns:a16="http://schemas.microsoft.com/office/drawing/2014/main" id="{4E69F768-3C7C-4E75-B11B-BCD11FC7D6B8}"/>
              </a:ext>
            </a:extLst>
          </p:cNvPr>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480621" y="6511925"/>
            <a:ext cx="704948" cy="219106"/>
          </a:xfrm>
          <a:prstGeom prst="rect">
            <a:avLst/>
          </a:prstGeom>
        </p:spPr>
      </p:pic>
    </p:spTree>
    <p:extLst>
      <p:ext uri="{BB962C8B-B14F-4D97-AF65-F5344CB8AC3E}">
        <p14:creationId xmlns:p14="http://schemas.microsoft.com/office/powerpoint/2010/main" val="41650588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able of contents 1">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886873863"/>
              </p:ext>
            </p:extLst>
          </p:nvPr>
        </p:nvGraphicFramePr>
        <p:xfrm>
          <a:off x="2121" y="2118"/>
          <a:ext cx="2116" cy="2116"/>
        </p:xfrm>
        <a:graphic>
          <a:graphicData uri="http://schemas.openxmlformats.org/presentationml/2006/ole">
            <mc:AlternateContent xmlns:mc="http://schemas.openxmlformats.org/markup-compatibility/2006">
              <mc:Choice xmlns:v="urn:schemas-microsoft-com:vml" Requires="v">
                <p:oleObj spid="_x0000_s238103" name="think-cell Slide" r:id="rId4" imgW="383" imgH="385" progId="TCLayout.ActiveDocument.1">
                  <p:embed/>
                </p:oleObj>
              </mc:Choice>
              <mc:Fallback>
                <p:oleObj name="think-cell Slide" r:id="rId4" imgW="383" imgH="385" progId="TCLayout.ActiveDocument.1">
                  <p:embed/>
                  <p:pic>
                    <p:nvPicPr>
                      <p:cNvPr id="6" name="Object 5" hidden="1"/>
                      <p:cNvPicPr/>
                      <p:nvPr/>
                    </p:nvPicPr>
                    <p:blipFill>
                      <a:blip r:embed="rId5"/>
                      <a:stretch>
                        <a:fillRect/>
                      </a:stretch>
                    </p:blipFill>
                    <p:spPr>
                      <a:xfrm>
                        <a:off x="2121" y="2118"/>
                        <a:ext cx="2116" cy="2116"/>
                      </a:xfrm>
                      <a:prstGeom prst="rect">
                        <a:avLst/>
                      </a:prstGeom>
                    </p:spPr>
                  </p:pic>
                </p:oleObj>
              </mc:Fallback>
            </mc:AlternateContent>
          </a:graphicData>
        </a:graphic>
      </p:graphicFrame>
      <p:sp>
        <p:nvSpPr>
          <p:cNvPr id="20" name="Rectangle 3"/>
          <p:cNvSpPr>
            <a:spLocks noChangeArrowheads="1"/>
          </p:cNvSpPr>
          <p:nvPr userDrawn="1"/>
        </p:nvSpPr>
        <p:spPr bwMode="gray">
          <a:xfrm>
            <a:off x="1" y="-2"/>
            <a:ext cx="6887126" cy="6858002"/>
          </a:xfrm>
          <a:prstGeom prst="rect">
            <a:avLst/>
          </a:prstGeom>
          <a:solidFill>
            <a:srgbClr val="0889A8"/>
          </a:solidFill>
          <a:ln>
            <a:noFill/>
          </a:ln>
          <a:effectLst/>
        </p:spPr>
        <p:txBody>
          <a:bodyPr wrap="none" lIns="107287" tIns="53643" rIns="107287" bIns="53643" anchor="ctr"/>
          <a:lstStyle/>
          <a:p>
            <a:pPr algn="ctr"/>
            <a:endParaRPr lang="en-US" sz="2100"/>
          </a:p>
        </p:txBody>
      </p:sp>
      <p:sp>
        <p:nvSpPr>
          <p:cNvPr id="12" name="Text Placeholder 6"/>
          <p:cNvSpPr>
            <a:spLocks noGrp="1"/>
          </p:cNvSpPr>
          <p:nvPr>
            <p:ph type="body" sz="quarter" idx="18" hasCustomPrompt="1"/>
          </p:nvPr>
        </p:nvSpPr>
        <p:spPr>
          <a:xfrm>
            <a:off x="8102483" y="1257302"/>
            <a:ext cx="3462335" cy="277127"/>
          </a:xfrm>
        </p:spPr>
        <p:txBody>
          <a:bodyPr wrap="square" anchor="t">
            <a:spAutoFit/>
          </a:bodyPr>
          <a:lstStyle>
            <a:lvl1pPr marL="0" indent="0">
              <a:spcAft>
                <a:spcPts val="0"/>
              </a:spcAft>
              <a:buNone/>
              <a:defRPr sz="1801" baseline="0">
                <a:solidFill>
                  <a:srgbClr val="606060"/>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dirty="0"/>
              <a:t>Type your text here</a:t>
            </a:r>
          </a:p>
        </p:txBody>
      </p:sp>
      <p:sp>
        <p:nvSpPr>
          <p:cNvPr id="13" name="Text Placeholder 6"/>
          <p:cNvSpPr>
            <a:spLocks noGrp="1"/>
          </p:cNvSpPr>
          <p:nvPr>
            <p:ph type="body" sz="quarter" idx="19" hasCustomPrompt="1"/>
          </p:nvPr>
        </p:nvSpPr>
        <p:spPr>
          <a:xfrm>
            <a:off x="7548767" y="1257302"/>
            <a:ext cx="331451" cy="184666"/>
          </a:xfrm>
        </p:spPr>
        <p:txBody>
          <a:bodyPr wrap="square" anchor="t">
            <a:spAutoFit/>
          </a:bodyPr>
          <a:lstStyle>
            <a:lvl1pPr marL="0" indent="0" algn="l">
              <a:spcAft>
                <a:spcPts val="1200"/>
              </a:spcAft>
              <a:buNone/>
              <a:defRPr sz="1200" b="1">
                <a:solidFill>
                  <a:srgbClr val="606060"/>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dirty="0"/>
              <a:t>##</a:t>
            </a:r>
          </a:p>
        </p:txBody>
      </p:sp>
      <p:sp>
        <p:nvSpPr>
          <p:cNvPr id="16" name="Text Placeholder 6">
            <a:extLst>
              <a:ext uri="{FF2B5EF4-FFF2-40B4-BE49-F238E27FC236}">
                <a16:creationId xmlns:a16="http://schemas.microsoft.com/office/drawing/2014/main" id="{F4C551BF-DD3F-EB48-A609-58ED1518B102}"/>
              </a:ext>
            </a:extLst>
          </p:cNvPr>
          <p:cNvSpPr>
            <a:spLocks noGrp="1"/>
          </p:cNvSpPr>
          <p:nvPr>
            <p:ph type="body" sz="quarter" idx="14" hasCustomPrompt="1"/>
          </p:nvPr>
        </p:nvSpPr>
        <p:spPr>
          <a:xfrm>
            <a:off x="3" y="3059759"/>
            <a:ext cx="6887127" cy="646459"/>
          </a:xfrm>
        </p:spPr>
        <p:txBody>
          <a:bodyPr wrap="square" anchor="ctr">
            <a:spAutoFit/>
          </a:bodyPr>
          <a:lstStyle>
            <a:lvl1pPr marL="0" indent="0" algn="ctr">
              <a:buNone/>
              <a:defRPr sz="4201">
                <a:solidFill>
                  <a:schemeClr val="bg1"/>
                </a:solidFill>
                <a:latin typeface="Lato Light" panose="020F0302020204030203" pitchFamily="34" charset="0"/>
              </a:defRPr>
            </a:lvl1pPr>
            <a:lvl2pPr>
              <a:defRPr/>
            </a:lvl2pPr>
            <a:lvl3pPr>
              <a:defRPr/>
            </a:lvl3pPr>
            <a:lvl4pPr>
              <a:defRPr/>
            </a:lvl4pPr>
            <a:lvl5pPr>
              <a:defRPr baseline="0"/>
            </a:lvl5pPr>
            <a:lvl6pPr>
              <a:defRPr baseline="0"/>
            </a:lvl6pPr>
            <a:lvl7pPr>
              <a:defRPr baseline="0"/>
            </a:lvl7pPr>
            <a:lvl8pPr>
              <a:defRPr/>
            </a:lvl8pPr>
            <a:lvl9pPr>
              <a:defRPr/>
            </a:lvl9pPr>
          </a:lstStyle>
          <a:p>
            <a:pPr lvl="0"/>
            <a:r>
              <a:rPr lang="en-US" dirty="0"/>
              <a:t>Table of Contents</a:t>
            </a:r>
          </a:p>
        </p:txBody>
      </p:sp>
      <p:sp>
        <p:nvSpPr>
          <p:cNvPr id="14" name="Text Placeholder 3">
            <a:extLst>
              <a:ext uri="{FF2B5EF4-FFF2-40B4-BE49-F238E27FC236}">
                <a16:creationId xmlns:a16="http://schemas.microsoft.com/office/drawing/2014/main" id="{4CD68A67-C767-45A9-A685-A7D0B2976D2E}"/>
              </a:ext>
            </a:extLst>
          </p:cNvPr>
          <p:cNvSpPr>
            <a:spLocks noGrp="1"/>
          </p:cNvSpPr>
          <p:nvPr>
            <p:ph type="body" sz="quarter" idx="20" hasCustomPrompt="1"/>
          </p:nvPr>
        </p:nvSpPr>
        <p:spPr>
          <a:xfrm>
            <a:off x="418904" y="722574"/>
            <a:ext cx="2571262" cy="1254125"/>
          </a:xfrm>
        </p:spPr>
        <p:txBody>
          <a:bodyPr/>
          <a:lstStyle>
            <a:lvl1pPr marL="0" indent="0">
              <a:buNone/>
              <a:defRPr i="1">
                <a:solidFill>
                  <a:schemeClr val="bg1"/>
                </a:solidFill>
              </a:defRPr>
            </a:lvl1pPr>
          </a:lstStyle>
          <a:p>
            <a:pPr lvl="0"/>
            <a:r>
              <a:rPr lang="en-ZA" dirty="0"/>
              <a:t>To insert photo overlay, refer to instructions at end of deck</a:t>
            </a:r>
          </a:p>
        </p:txBody>
      </p:sp>
      <p:sp>
        <p:nvSpPr>
          <p:cNvPr id="19" name="Rectangle 18">
            <a:extLst>
              <a:ext uri="{FF2B5EF4-FFF2-40B4-BE49-F238E27FC236}">
                <a16:creationId xmlns:a16="http://schemas.microsoft.com/office/drawing/2014/main" id="{7E08D920-DEC7-4BD2-AF74-D126E219A5F5}"/>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sp>
        <p:nvSpPr>
          <p:cNvPr id="21" name="Slide Number Placeholder 5">
            <a:extLst>
              <a:ext uri="{FF2B5EF4-FFF2-40B4-BE49-F238E27FC236}">
                <a16:creationId xmlns:a16="http://schemas.microsoft.com/office/drawing/2014/main" id="{7B68DF96-36D2-4AD6-9C99-B882C6DA3455}"/>
              </a:ext>
            </a:extLst>
          </p:cNvPr>
          <p:cNvSpPr>
            <a:spLocks noGrp="1"/>
          </p:cNvSpPr>
          <p:nvPr>
            <p:ph type="sldNum" sz="quarter" idx="4"/>
          </p:nvPr>
        </p:nvSpPr>
        <p:spPr bwMode="gray">
          <a:xfrm>
            <a:off x="11743978" y="6529802"/>
            <a:ext cx="280034" cy="154017"/>
          </a:xfrm>
          <a:prstGeom prst="rect">
            <a:avLst/>
          </a:prstGeom>
          <a:noFill/>
        </p:spPr>
        <p:txBody>
          <a:bodyPr vert="horz" wrap="square" lIns="0" tIns="0" rIns="0" bIns="0" rtlCol="0" anchor="ctr">
            <a:spAutoFit/>
          </a:bodyPr>
          <a:lstStyle>
            <a:lvl1pPr algn="ctr">
              <a:defRPr sz="1001">
                <a:solidFill>
                  <a:schemeClr val="bg1"/>
                </a:solidFill>
                <a:latin typeface="Lato" panose="020F0502020204030203" pitchFamily="34" charset="0"/>
                <a:cs typeface="Arial" pitchFamily="34" charset="0"/>
              </a:defRPr>
            </a:lvl1pPr>
          </a:lstStyle>
          <a:p>
            <a:fld id="{A90607E6-BCED-4FC1-A345-AB2A307AB80F}" type="slidenum">
              <a:rPr lang="en-US" smtClean="0"/>
              <a:pPr/>
              <a:t>‹#›</a:t>
            </a:fld>
            <a:endParaRPr lang="en-US" dirty="0"/>
          </a:p>
        </p:txBody>
      </p:sp>
      <p:pic>
        <p:nvPicPr>
          <p:cNvPr id="15" name="Picture 14">
            <a:extLst>
              <a:ext uri="{FF2B5EF4-FFF2-40B4-BE49-F238E27FC236}">
                <a16:creationId xmlns:a16="http://schemas.microsoft.com/office/drawing/2014/main" id="{37B0203E-1DA0-4113-8CDB-EA186F68514C}"/>
              </a:ext>
            </a:extLst>
          </p:cNvPr>
          <p:cNvPicPr>
            <a:picLocks/>
          </p:cNvPicPr>
          <p:nvPr userDrawn="1"/>
        </p:nvPicPr>
        <p:blipFill>
          <a:blip r:embed="rId6" cstate="email">
            <a:extLst>
              <a:ext uri="{28A0092B-C50C-407E-A947-70E740481C1C}">
                <a14:useLocalDpi xmlns:a14="http://schemas.microsoft.com/office/drawing/2010/main"/>
              </a:ext>
            </a:extLst>
          </a:blip>
          <a:stretch>
            <a:fillRect/>
          </a:stretch>
        </p:blipFill>
        <p:spPr>
          <a:xfrm>
            <a:off x="10480621" y="6511925"/>
            <a:ext cx="704948" cy="219106"/>
          </a:xfrm>
          <a:prstGeom prst="rect">
            <a:avLst/>
          </a:prstGeom>
        </p:spPr>
      </p:pic>
    </p:spTree>
    <p:extLst>
      <p:ext uri="{BB962C8B-B14F-4D97-AF65-F5344CB8AC3E}">
        <p14:creationId xmlns:p14="http://schemas.microsoft.com/office/powerpoint/2010/main" val="1437927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able of contents 2">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58A18B7-DCA6-394F-A9E9-76D373225C4A}"/>
              </a:ext>
            </a:extLst>
          </p:cNvPr>
          <p:cNvSpPr/>
          <p:nvPr userDrawn="1"/>
        </p:nvSpPr>
        <p:spPr>
          <a:xfrm>
            <a:off x="6887130" y="0"/>
            <a:ext cx="5304873" cy="685800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algn="l" defTabSz="914423" rtl="0" eaLnBrk="1" latinLnBrk="0" hangingPunct="1">
              <a:lnSpc>
                <a:spcPct val="100000"/>
              </a:lnSpc>
              <a:spcBef>
                <a:spcPts val="0"/>
              </a:spcBef>
            </a:pPr>
            <a:endParaRPr lang="en-US" sz="1600" kern="1200" dirty="0">
              <a:solidFill>
                <a:schemeClr val="tx1"/>
              </a:solidFill>
              <a:ea typeface="+mn-ea"/>
              <a:cs typeface="Arial" pitchFamily="34" charset="0"/>
            </a:endParaRPr>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655872808"/>
              </p:ext>
            </p:extLst>
          </p:nvPr>
        </p:nvGraphicFramePr>
        <p:xfrm>
          <a:off x="2121" y="2118"/>
          <a:ext cx="2116" cy="2116"/>
        </p:xfrm>
        <a:graphic>
          <a:graphicData uri="http://schemas.openxmlformats.org/presentationml/2006/ole">
            <mc:AlternateContent xmlns:mc="http://schemas.openxmlformats.org/markup-compatibility/2006">
              <mc:Choice xmlns:v="urn:schemas-microsoft-com:vml" Requires="v">
                <p:oleObj spid="_x0000_s377256" name="think-cell Slide" r:id="rId4" imgW="383" imgH="385" progId="TCLayout.ActiveDocument.1">
                  <p:embed/>
                </p:oleObj>
              </mc:Choice>
              <mc:Fallback>
                <p:oleObj name="think-cell Slide" r:id="rId4" imgW="383" imgH="385" progId="TCLayout.ActiveDocument.1">
                  <p:embed/>
                  <p:pic>
                    <p:nvPicPr>
                      <p:cNvPr id="6" name="Object 5" hidden="1"/>
                      <p:cNvPicPr/>
                      <p:nvPr/>
                    </p:nvPicPr>
                    <p:blipFill>
                      <a:blip r:embed="rId5"/>
                      <a:stretch>
                        <a:fillRect/>
                      </a:stretch>
                    </p:blipFill>
                    <p:spPr>
                      <a:xfrm>
                        <a:off x="2121" y="2118"/>
                        <a:ext cx="2116" cy="2116"/>
                      </a:xfrm>
                      <a:prstGeom prst="rect">
                        <a:avLst/>
                      </a:prstGeom>
                    </p:spPr>
                  </p:pic>
                </p:oleObj>
              </mc:Fallback>
            </mc:AlternateContent>
          </a:graphicData>
        </a:graphic>
      </p:graphicFrame>
      <p:sp>
        <p:nvSpPr>
          <p:cNvPr id="13" name="Text Placeholder 6"/>
          <p:cNvSpPr>
            <a:spLocks noGrp="1"/>
          </p:cNvSpPr>
          <p:nvPr>
            <p:ph type="body" sz="quarter" idx="18" hasCustomPrompt="1"/>
          </p:nvPr>
        </p:nvSpPr>
        <p:spPr>
          <a:xfrm>
            <a:off x="8102483" y="1257302"/>
            <a:ext cx="3462335" cy="277127"/>
          </a:xfrm>
        </p:spPr>
        <p:txBody>
          <a:bodyPr wrap="square" anchor="t">
            <a:spAutoFit/>
          </a:bodyPr>
          <a:lstStyle>
            <a:lvl1pPr marL="0" indent="0">
              <a:spcAft>
                <a:spcPts val="0"/>
              </a:spcAft>
              <a:buNone/>
              <a:defRPr sz="1801" baseline="0">
                <a:solidFill>
                  <a:srgbClr val="606060"/>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dirty="0"/>
              <a:t>Type your text here</a:t>
            </a:r>
          </a:p>
        </p:txBody>
      </p:sp>
      <p:sp>
        <p:nvSpPr>
          <p:cNvPr id="14" name="Text Placeholder 6"/>
          <p:cNvSpPr>
            <a:spLocks noGrp="1"/>
          </p:cNvSpPr>
          <p:nvPr>
            <p:ph type="body" sz="quarter" idx="19" hasCustomPrompt="1"/>
          </p:nvPr>
        </p:nvSpPr>
        <p:spPr>
          <a:xfrm>
            <a:off x="7548767" y="1257302"/>
            <a:ext cx="331451" cy="184666"/>
          </a:xfrm>
        </p:spPr>
        <p:txBody>
          <a:bodyPr wrap="square" anchor="t">
            <a:spAutoFit/>
          </a:bodyPr>
          <a:lstStyle>
            <a:lvl1pPr marL="0" indent="0" algn="l">
              <a:spcAft>
                <a:spcPts val="1200"/>
              </a:spcAft>
              <a:buNone/>
              <a:defRPr sz="1200" b="1">
                <a:solidFill>
                  <a:srgbClr val="606060"/>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dirty="0"/>
              <a:t>##</a:t>
            </a:r>
          </a:p>
        </p:txBody>
      </p:sp>
      <p:sp>
        <p:nvSpPr>
          <p:cNvPr id="16" name="Rectangle 3">
            <a:extLst>
              <a:ext uri="{FF2B5EF4-FFF2-40B4-BE49-F238E27FC236}">
                <a16:creationId xmlns:a16="http://schemas.microsoft.com/office/drawing/2014/main" id="{EE3482A0-22F6-45D7-BB8E-AF895773E244}"/>
              </a:ext>
            </a:extLst>
          </p:cNvPr>
          <p:cNvSpPr>
            <a:spLocks noChangeArrowheads="1"/>
          </p:cNvSpPr>
          <p:nvPr userDrawn="1"/>
        </p:nvSpPr>
        <p:spPr bwMode="gray">
          <a:xfrm>
            <a:off x="4234" y="-1"/>
            <a:ext cx="6887126" cy="6858002"/>
          </a:xfrm>
          <a:prstGeom prst="rect">
            <a:avLst/>
          </a:prstGeom>
          <a:solidFill>
            <a:srgbClr val="F3B11C">
              <a:alpha val="89804"/>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lvl="0" defTabSz="914423">
              <a:lnSpc>
                <a:spcPct val="100000"/>
              </a:lnSpc>
              <a:spcBef>
                <a:spcPts val="0"/>
              </a:spcBef>
            </a:pPr>
            <a:endParaRPr lang="en-US" sz="1600">
              <a:cs typeface="Arial" pitchFamily="34" charset="0"/>
            </a:endParaRPr>
          </a:p>
        </p:txBody>
      </p:sp>
      <p:sp>
        <p:nvSpPr>
          <p:cNvPr id="20" name="Text Placeholder 6"/>
          <p:cNvSpPr>
            <a:spLocks noGrp="1"/>
          </p:cNvSpPr>
          <p:nvPr>
            <p:ph type="body" sz="quarter" idx="14" hasCustomPrompt="1"/>
          </p:nvPr>
        </p:nvSpPr>
        <p:spPr>
          <a:xfrm>
            <a:off x="3" y="3059759"/>
            <a:ext cx="6887127" cy="646459"/>
          </a:xfrm>
        </p:spPr>
        <p:txBody>
          <a:bodyPr wrap="square" anchor="ctr">
            <a:spAutoFit/>
          </a:bodyPr>
          <a:lstStyle>
            <a:lvl1pPr marL="0" indent="0" algn="ctr">
              <a:buNone/>
              <a:defRPr sz="4201">
                <a:solidFill>
                  <a:schemeClr val="bg1"/>
                </a:solidFill>
                <a:latin typeface="Lato Light" panose="020F0302020204030203" pitchFamily="34" charset="0"/>
              </a:defRPr>
            </a:lvl1pPr>
            <a:lvl2pPr>
              <a:defRPr/>
            </a:lvl2pPr>
            <a:lvl3pPr>
              <a:defRPr/>
            </a:lvl3pPr>
            <a:lvl4pPr>
              <a:defRPr/>
            </a:lvl4pPr>
            <a:lvl5pPr>
              <a:defRPr baseline="0"/>
            </a:lvl5pPr>
            <a:lvl6pPr>
              <a:defRPr baseline="0"/>
            </a:lvl6pPr>
            <a:lvl7pPr>
              <a:defRPr baseline="0"/>
            </a:lvl7pPr>
            <a:lvl8pPr>
              <a:defRPr/>
            </a:lvl8pPr>
            <a:lvl9pPr>
              <a:defRPr/>
            </a:lvl9pPr>
          </a:lstStyle>
          <a:p>
            <a:pPr lvl="0"/>
            <a:r>
              <a:rPr lang="en-US" dirty="0"/>
              <a:t>Table of Contents</a:t>
            </a:r>
          </a:p>
        </p:txBody>
      </p:sp>
      <p:sp>
        <p:nvSpPr>
          <p:cNvPr id="18" name="Text Placeholder 3">
            <a:extLst>
              <a:ext uri="{FF2B5EF4-FFF2-40B4-BE49-F238E27FC236}">
                <a16:creationId xmlns:a16="http://schemas.microsoft.com/office/drawing/2014/main" id="{3B87DA55-6227-457E-9BA9-84205717E82F}"/>
              </a:ext>
            </a:extLst>
          </p:cNvPr>
          <p:cNvSpPr>
            <a:spLocks noGrp="1"/>
          </p:cNvSpPr>
          <p:nvPr>
            <p:ph type="body" sz="quarter" idx="20" hasCustomPrompt="1"/>
          </p:nvPr>
        </p:nvSpPr>
        <p:spPr>
          <a:xfrm>
            <a:off x="1942277" y="1133888"/>
            <a:ext cx="2571262" cy="1254125"/>
          </a:xfrm>
        </p:spPr>
        <p:txBody>
          <a:bodyPr/>
          <a:lstStyle>
            <a:lvl1pPr marL="0" indent="0">
              <a:buNone/>
              <a:defRPr i="1">
                <a:solidFill>
                  <a:schemeClr val="bg1"/>
                </a:solidFill>
              </a:defRPr>
            </a:lvl1pPr>
          </a:lstStyle>
          <a:p>
            <a:pPr lvl="0"/>
            <a:r>
              <a:rPr lang="en-ZA" dirty="0"/>
              <a:t>To insert photo overlay, refer to instructions at end of deck</a:t>
            </a:r>
          </a:p>
        </p:txBody>
      </p:sp>
      <p:sp>
        <p:nvSpPr>
          <p:cNvPr id="22" name="Rectangle 21">
            <a:extLst>
              <a:ext uri="{FF2B5EF4-FFF2-40B4-BE49-F238E27FC236}">
                <a16:creationId xmlns:a16="http://schemas.microsoft.com/office/drawing/2014/main" id="{21153E66-E64F-451C-8EF2-E885B85DB1B7}"/>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sp>
        <p:nvSpPr>
          <p:cNvPr id="23" name="Slide Number Placeholder 5">
            <a:extLst>
              <a:ext uri="{FF2B5EF4-FFF2-40B4-BE49-F238E27FC236}">
                <a16:creationId xmlns:a16="http://schemas.microsoft.com/office/drawing/2014/main" id="{D7FF7513-3623-4F78-91E2-5BDF379B9539}"/>
              </a:ext>
            </a:extLst>
          </p:cNvPr>
          <p:cNvSpPr>
            <a:spLocks noGrp="1"/>
          </p:cNvSpPr>
          <p:nvPr>
            <p:ph type="sldNum" sz="quarter" idx="4"/>
          </p:nvPr>
        </p:nvSpPr>
        <p:spPr bwMode="gray">
          <a:xfrm>
            <a:off x="11743978" y="6529802"/>
            <a:ext cx="280034" cy="154017"/>
          </a:xfrm>
          <a:prstGeom prst="rect">
            <a:avLst/>
          </a:prstGeom>
          <a:noFill/>
        </p:spPr>
        <p:txBody>
          <a:bodyPr vert="horz" wrap="square" lIns="0" tIns="0" rIns="0" bIns="0" rtlCol="0" anchor="ctr">
            <a:spAutoFit/>
          </a:bodyPr>
          <a:lstStyle>
            <a:lvl1pPr algn="ctr">
              <a:defRPr sz="1001">
                <a:solidFill>
                  <a:schemeClr val="bg1"/>
                </a:solidFill>
                <a:latin typeface="Lato" panose="020F0502020204030203" pitchFamily="34" charset="0"/>
                <a:cs typeface="Arial" pitchFamily="34" charset="0"/>
              </a:defRPr>
            </a:lvl1pPr>
          </a:lstStyle>
          <a:p>
            <a:fld id="{A90607E6-BCED-4FC1-A345-AB2A307AB80F}" type="slidenum">
              <a:rPr lang="en-US" smtClean="0"/>
              <a:pPr/>
              <a:t>‹#›</a:t>
            </a:fld>
            <a:endParaRPr lang="en-US" dirty="0"/>
          </a:p>
        </p:txBody>
      </p:sp>
      <p:pic>
        <p:nvPicPr>
          <p:cNvPr id="15" name="Picture 14">
            <a:extLst>
              <a:ext uri="{FF2B5EF4-FFF2-40B4-BE49-F238E27FC236}">
                <a16:creationId xmlns:a16="http://schemas.microsoft.com/office/drawing/2014/main" id="{5D678E88-E1DA-454A-98F4-E3020500FF3B}"/>
              </a:ext>
            </a:extLst>
          </p:cNvPr>
          <p:cNvPicPr>
            <a:picLocks/>
          </p:cNvPicPr>
          <p:nvPr userDrawn="1"/>
        </p:nvPicPr>
        <p:blipFill>
          <a:blip r:embed="rId6" cstate="email">
            <a:extLst>
              <a:ext uri="{28A0092B-C50C-407E-A947-70E740481C1C}">
                <a14:useLocalDpi xmlns:a14="http://schemas.microsoft.com/office/drawing/2010/main"/>
              </a:ext>
            </a:extLst>
          </a:blip>
          <a:stretch>
            <a:fillRect/>
          </a:stretch>
        </p:blipFill>
        <p:spPr>
          <a:xfrm>
            <a:off x="10480621" y="6511925"/>
            <a:ext cx="704948" cy="219106"/>
          </a:xfrm>
          <a:prstGeom prst="rect">
            <a:avLst/>
          </a:prstGeom>
        </p:spPr>
      </p:pic>
    </p:spTree>
    <p:extLst>
      <p:ext uri="{BB962C8B-B14F-4D97-AF65-F5344CB8AC3E}">
        <p14:creationId xmlns:p14="http://schemas.microsoft.com/office/powerpoint/2010/main" val="27819660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able of contents 3">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03697142"/>
              </p:ext>
            </p:extLst>
          </p:nvPr>
        </p:nvGraphicFramePr>
        <p:xfrm>
          <a:off x="2121" y="2118"/>
          <a:ext cx="2116" cy="2116"/>
        </p:xfrm>
        <a:graphic>
          <a:graphicData uri="http://schemas.openxmlformats.org/presentationml/2006/ole">
            <mc:AlternateContent xmlns:mc="http://schemas.openxmlformats.org/markup-compatibility/2006">
              <mc:Choice xmlns:v="urn:schemas-microsoft-com:vml" Requires="v">
                <p:oleObj spid="_x0000_s240152" name="think-cell Slide" r:id="rId5" imgW="383" imgH="385" progId="TCLayout.ActiveDocument.1">
                  <p:embed/>
                </p:oleObj>
              </mc:Choice>
              <mc:Fallback>
                <p:oleObj name="think-cell Slide" r:id="rId5" imgW="383" imgH="385" progId="TCLayout.ActiveDocument.1">
                  <p:embed/>
                  <p:pic>
                    <p:nvPicPr>
                      <p:cNvPr id="6" name="Object 5" hidden="1"/>
                      <p:cNvPicPr/>
                      <p:nvPr/>
                    </p:nvPicPr>
                    <p:blipFill>
                      <a:blip r:embed="rId6"/>
                      <a:stretch>
                        <a:fillRect/>
                      </a:stretch>
                    </p:blipFill>
                    <p:spPr>
                      <a:xfrm>
                        <a:off x="2121" y="2118"/>
                        <a:ext cx="2116" cy="211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E13621A-6E09-420C-BC3C-F18F9A119CF8}"/>
              </a:ext>
            </a:extLst>
          </p:cNvPr>
          <p:cNvSpPr/>
          <p:nvPr userDrawn="1">
            <p:custDataLst>
              <p:tags r:id="rId3"/>
            </p:custDataLst>
          </p:nvPr>
        </p:nvSpPr>
        <p:spPr>
          <a:xfrm>
            <a:off x="0" y="0"/>
            <a:ext cx="158750" cy="158750"/>
          </a:xfrm>
          <a:prstGeom prst="rect">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23" rtl="0" eaLnBrk="1" latinLnBrk="0" hangingPunct="1">
              <a:lnSpc>
                <a:spcPct val="100000"/>
              </a:lnSpc>
              <a:spcBef>
                <a:spcPct val="0"/>
              </a:spcBef>
              <a:spcAft>
                <a:spcPct val="0"/>
              </a:spcAft>
            </a:pPr>
            <a:endParaRPr lang="en-US" sz="2601" b="0" i="0" kern="1200" baseline="0" dirty="0" err="1">
              <a:solidFill>
                <a:schemeClr val="bg1"/>
              </a:solidFill>
              <a:latin typeface="Lato" panose="020F0502020204030203" pitchFamily="34" charset="0"/>
              <a:ea typeface="+mj-ea"/>
              <a:cs typeface="Arial" pitchFamily="34" charset="0"/>
              <a:sym typeface="Lato" panose="020F0502020204030203" pitchFamily="34" charset="0"/>
            </a:endParaRPr>
          </a:p>
        </p:txBody>
      </p:sp>
      <p:sp>
        <p:nvSpPr>
          <p:cNvPr id="21" name="Title 1"/>
          <p:cNvSpPr>
            <a:spLocks noGrp="1"/>
          </p:cNvSpPr>
          <p:nvPr>
            <p:ph type="title" hasCustomPrompt="1"/>
          </p:nvPr>
        </p:nvSpPr>
        <p:spPr>
          <a:xfrm>
            <a:off x="943690" y="291952"/>
            <a:ext cx="10621127" cy="400238"/>
          </a:xfrm>
        </p:spPr>
        <p:txBody>
          <a:bodyPr wrap="square">
            <a:spAutoFit/>
          </a:bodyPr>
          <a:lstStyle>
            <a:lvl1pPr>
              <a:defRPr sz="2601" baseline="0">
                <a:solidFill>
                  <a:srgbClr val="881946"/>
                </a:solidFill>
                <a:latin typeface="+mj-lt"/>
              </a:defRPr>
            </a:lvl1pPr>
          </a:lstStyle>
          <a:p>
            <a:r>
              <a:rPr lang="en-US" dirty="0"/>
              <a:t>Table of Contents</a:t>
            </a:r>
          </a:p>
        </p:txBody>
      </p:sp>
      <p:sp>
        <p:nvSpPr>
          <p:cNvPr id="19" name="Rectangle 18"/>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sp>
        <p:nvSpPr>
          <p:cNvPr id="15" name="Text Placeholder 6"/>
          <p:cNvSpPr>
            <a:spLocks noGrp="1"/>
          </p:cNvSpPr>
          <p:nvPr>
            <p:ph type="body" sz="quarter" idx="18" hasCustomPrompt="1"/>
          </p:nvPr>
        </p:nvSpPr>
        <p:spPr>
          <a:xfrm>
            <a:off x="1515984" y="1257300"/>
            <a:ext cx="10035116" cy="4914900"/>
          </a:xfrm>
        </p:spPr>
        <p:txBody>
          <a:bodyPr wrap="square" anchor="t">
            <a:noAutofit/>
          </a:bodyPr>
          <a:lstStyle>
            <a:lvl1pPr marL="0" indent="0">
              <a:spcAft>
                <a:spcPts val="0"/>
              </a:spcAft>
              <a:buNone/>
              <a:defRPr sz="1801" baseline="0">
                <a:solidFill>
                  <a:srgbClr val="606060"/>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dirty="0"/>
              <a:t>Type your text here</a:t>
            </a:r>
          </a:p>
        </p:txBody>
      </p:sp>
      <p:sp>
        <p:nvSpPr>
          <p:cNvPr id="16" name="Text Placeholder 6"/>
          <p:cNvSpPr>
            <a:spLocks noGrp="1"/>
          </p:cNvSpPr>
          <p:nvPr>
            <p:ph type="body" sz="quarter" idx="19" hasCustomPrompt="1"/>
          </p:nvPr>
        </p:nvSpPr>
        <p:spPr>
          <a:xfrm>
            <a:off x="947616" y="1257302"/>
            <a:ext cx="331451" cy="184666"/>
          </a:xfrm>
        </p:spPr>
        <p:txBody>
          <a:bodyPr wrap="square" anchor="t">
            <a:spAutoFit/>
          </a:bodyPr>
          <a:lstStyle>
            <a:lvl1pPr marL="0" indent="0" algn="l">
              <a:spcAft>
                <a:spcPts val="1200"/>
              </a:spcAft>
              <a:buNone/>
              <a:defRPr sz="1200" b="1">
                <a:solidFill>
                  <a:srgbClr val="606060"/>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dirty="0"/>
              <a:t>#</a:t>
            </a:r>
          </a:p>
        </p:txBody>
      </p:sp>
      <p:sp>
        <p:nvSpPr>
          <p:cNvPr id="24" name="Text Placeholder 6">
            <a:extLst>
              <a:ext uri="{FF2B5EF4-FFF2-40B4-BE49-F238E27FC236}">
                <a16:creationId xmlns:a16="http://schemas.microsoft.com/office/drawing/2014/main" id="{9F072BED-A9DE-4738-8E27-BB509D597E1E}"/>
              </a:ext>
            </a:extLst>
          </p:cNvPr>
          <p:cNvSpPr>
            <a:spLocks noGrp="1"/>
          </p:cNvSpPr>
          <p:nvPr>
            <p:ph type="body" sz="quarter" idx="17" hasCustomPrompt="1"/>
          </p:nvPr>
        </p:nvSpPr>
        <p:spPr>
          <a:xfrm>
            <a:off x="80277" y="399740"/>
            <a:ext cx="468922" cy="184666"/>
          </a:xfrm>
        </p:spPr>
        <p:txBody>
          <a:bodyPr wrap="square" anchor="ctr">
            <a:spAutoFit/>
          </a:bodyPr>
          <a:lstStyle>
            <a:lvl1pPr marL="0" indent="0" algn="ctr">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dirty="0"/>
              <a:t>Text</a:t>
            </a:r>
          </a:p>
        </p:txBody>
      </p:sp>
      <p:sp>
        <p:nvSpPr>
          <p:cNvPr id="17" name="Rectangle 16">
            <a:extLst>
              <a:ext uri="{FF2B5EF4-FFF2-40B4-BE49-F238E27FC236}">
                <a16:creationId xmlns:a16="http://schemas.microsoft.com/office/drawing/2014/main" id="{5511DFB7-2BCC-4899-BCB2-BB8B5E0CC9E9}"/>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sp>
        <p:nvSpPr>
          <p:cNvPr id="18" name="Slide Number Placeholder 5">
            <a:extLst>
              <a:ext uri="{FF2B5EF4-FFF2-40B4-BE49-F238E27FC236}">
                <a16:creationId xmlns:a16="http://schemas.microsoft.com/office/drawing/2014/main" id="{F8A62DB9-3BD4-48CA-AA11-335728587B7C}"/>
              </a:ext>
            </a:extLst>
          </p:cNvPr>
          <p:cNvSpPr>
            <a:spLocks noGrp="1"/>
          </p:cNvSpPr>
          <p:nvPr>
            <p:ph type="sldNum" sz="quarter" idx="4"/>
          </p:nvPr>
        </p:nvSpPr>
        <p:spPr bwMode="gray">
          <a:xfrm>
            <a:off x="11743978" y="6529802"/>
            <a:ext cx="280034" cy="154017"/>
          </a:xfrm>
          <a:prstGeom prst="rect">
            <a:avLst/>
          </a:prstGeom>
          <a:noFill/>
        </p:spPr>
        <p:txBody>
          <a:bodyPr vert="horz" wrap="square" lIns="0" tIns="0" rIns="0" bIns="0" rtlCol="0" anchor="ctr">
            <a:spAutoFit/>
          </a:bodyPr>
          <a:lstStyle>
            <a:lvl1pPr algn="ctr">
              <a:defRPr sz="1001">
                <a:solidFill>
                  <a:schemeClr val="bg1"/>
                </a:solidFill>
                <a:latin typeface="Lato" panose="020F0502020204030203" pitchFamily="34" charset="0"/>
                <a:cs typeface="Arial" pitchFamily="34" charset="0"/>
              </a:defRPr>
            </a:lvl1pPr>
          </a:lstStyle>
          <a:p>
            <a:fld id="{A90607E6-BCED-4FC1-A345-AB2A307AB80F}" type="slidenum">
              <a:rPr lang="en-US" smtClean="0"/>
              <a:pPr/>
              <a:t>‹#›</a:t>
            </a:fld>
            <a:endParaRPr lang="en-US" dirty="0"/>
          </a:p>
        </p:txBody>
      </p:sp>
      <p:pic>
        <p:nvPicPr>
          <p:cNvPr id="12" name="Picture 11">
            <a:extLst>
              <a:ext uri="{FF2B5EF4-FFF2-40B4-BE49-F238E27FC236}">
                <a16:creationId xmlns:a16="http://schemas.microsoft.com/office/drawing/2014/main" id="{0BF6899B-DA00-48DC-82A5-9565ECA57C2F}"/>
              </a:ext>
            </a:extLst>
          </p:cNvPr>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480621" y="6511925"/>
            <a:ext cx="704948" cy="219106"/>
          </a:xfrm>
          <a:prstGeom prst="rect">
            <a:avLst/>
          </a:prstGeom>
        </p:spPr>
      </p:pic>
    </p:spTree>
    <p:extLst>
      <p:ext uri="{BB962C8B-B14F-4D97-AF65-F5344CB8AC3E}">
        <p14:creationId xmlns:p14="http://schemas.microsoft.com/office/powerpoint/2010/main" val="9931866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divider blu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129196440"/>
              </p:ext>
            </p:extLst>
          </p:nvPr>
        </p:nvGraphicFramePr>
        <p:xfrm>
          <a:off x="2121" y="2118"/>
          <a:ext cx="2116" cy="2116"/>
        </p:xfrm>
        <a:graphic>
          <a:graphicData uri="http://schemas.openxmlformats.org/presentationml/2006/ole">
            <mc:AlternateContent xmlns:mc="http://schemas.openxmlformats.org/markup-compatibility/2006">
              <mc:Choice xmlns:v="urn:schemas-microsoft-com:vml" Requires="v">
                <p:oleObj spid="_x0000_s201393" name="think-cell Slide" r:id="rId4" imgW="383" imgH="385" progId="TCLayout.ActiveDocument.1">
                  <p:embed/>
                </p:oleObj>
              </mc:Choice>
              <mc:Fallback>
                <p:oleObj name="think-cell Slide" r:id="rId4" imgW="383" imgH="385" progId="TCLayout.ActiveDocument.1">
                  <p:embed/>
                  <p:pic>
                    <p:nvPicPr>
                      <p:cNvPr id="0" name=""/>
                      <p:cNvPicPr/>
                      <p:nvPr/>
                    </p:nvPicPr>
                    <p:blipFill>
                      <a:blip r:embed="rId5"/>
                      <a:stretch>
                        <a:fillRect/>
                      </a:stretch>
                    </p:blipFill>
                    <p:spPr>
                      <a:xfrm>
                        <a:off x="2121" y="2118"/>
                        <a:ext cx="2116" cy="2116"/>
                      </a:xfrm>
                      <a:prstGeom prst="rect">
                        <a:avLst/>
                      </a:prstGeom>
                    </p:spPr>
                  </p:pic>
                </p:oleObj>
              </mc:Fallback>
            </mc:AlternateContent>
          </a:graphicData>
        </a:graphic>
      </p:graphicFrame>
      <p:sp>
        <p:nvSpPr>
          <p:cNvPr id="14" name="Rectangle 13"/>
          <p:cNvSpPr>
            <a:spLocks/>
          </p:cNvSpPr>
          <p:nvPr userDrawn="1"/>
        </p:nvSpPr>
        <p:spPr>
          <a:xfrm>
            <a:off x="0" y="4234"/>
            <a:ext cx="12192000" cy="6858000"/>
          </a:xfrm>
          <a:prstGeom prst="rect">
            <a:avLst/>
          </a:prstGeom>
          <a:solidFill>
            <a:srgbClr val="0889A8">
              <a:alpha val="89804"/>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algn="l" defTabSz="914423" rtl="0" eaLnBrk="1" latinLnBrk="0" hangingPunct="1">
              <a:lnSpc>
                <a:spcPct val="100000"/>
              </a:lnSpc>
              <a:spcBef>
                <a:spcPts val="0"/>
              </a:spcBef>
            </a:pPr>
            <a:endParaRPr lang="en-US" sz="1600" kern="1200" dirty="0">
              <a:solidFill>
                <a:schemeClr val="tx1"/>
              </a:solidFill>
              <a:ea typeface="+mn-ea"/>
              <a:cs typeface="Arial" pitchFamily="34" charset="0"/>
            </a:endParaRPr>
          </a:p>
        </p:txBody>
      </p:sp>
      <p:sp>
        <p:nvSpPr>
          <p:cNvPr id="16" name="Text Placeholder 6"/>
          <p:cNvSpPr>
            <a:spLocks noGrp="1"/>
          </p:cNvSpPr>
          <p:nvPr>
            <p:ph type="body" sz="quarter" idx="13" hasCustomPrompt="1"/>
          </p:nvPr>
        </p:nvSpPr>
        <p:spPr>
          <a:xfrm>
            <a:off x="2813541" y="4341054"/>
            <a:ext cx="6564923" cy="215572"/>
          </a:xfrm>
        </p:spPr>
        <p:txBody>
          <a:bodyPr wrap="square" anchor="t">
            <a:spAutoFit/>
          </a:bodyPr>
          <a:lstStyle>
            <a:lvl1pPr marL="0" indent="0" algn="ctr">
              <a:spcAft>
                <a:spcPts val="0"/>
              </a:spcAft>
              <a:buNone/>
              <a:defRPr sz="1401" cap="all" spc="300" baseline="0">
                <a:solidFill>
                  <a:schemeClr val="bg1"/>
                </a:solidFill>
              </a:defRPr>
            </a:lvl1pPr>
            <a:lvl2pPr>
              <a:defRPr/>
            </a:lvl2pPr>
            <a:lvl3pPr>
              <a:defRPr/>
            </a:lvl3pPr>
            <a:lvl4pPr>
              <a:defRPr/>
            </a:lvl4pPr>
            <a:lvl5pPr>
              <a:defRPr baseline="0"/>
            </a:lvl5pPr>
            <a:lvl6pPr>
              <a:defRPr baseline="0"/>
            </a:lvl6pPr>
            <a:lvl7pPr>
              <a:defRPr baseline="0"/>
            </a:lvl7pPr>
            <a:lvl8pPr>
              <a:defRPr/>
            </a:lvl8pPr>
            <a:lvl9pPr>
              <a:defRPr/>
            </a:lvl9pPr>
          </a:lstStyle>
          <a:p>
            <a:pPr lvl="0"/>
            <a:r>
              <a:rPr lang="en-US" dirty="0"/>
              <a:t>Section one</a:t>
            </a:r>
          </a:p>
        </p:txBody>
      </p:sp>
      <p:sp>
        <p:nvSpPr>
          <p:cNvPr id="17" name="Text Placeholder 6"/>
          <p:cNvSpPr>
            <a:spLocks noGrp="1"/>
          </p:cNvSpPr>
          <p:nvPr>
            <p:ph type="body" sz="quarter" idx="14" hasCustomPrompt="1"/>
          </p:nvPr>
        </p:nvSpPr>
        <p:spPr>
          <a:xfrm>
            <a:off x="1312986" y="2233495"/>
            <a:ext cx="9566031" cy="1477328"/>
          </a:xfrm>
        </p:spPr>
        <p:txBody>
          <a:bodyPr wrap="square" anchor="b">
            <a:spAutoFit/>
          </a:bodyPr>
          <a:lstStyle>
            <a:lvl1pPr marL="0" indent="0" algn="ctr">
              <a:buNone/>
              <a:defRPr sz="4800" baseline="0">
                <a:solidFill>
                  <a:schemeClr val="bg1"/>
                </a:solidFill>
                <a:latin typeface="Lato Light" panose="020F0302020204030203" pitchFamily="34" charset="0"/>
              </a:defRPr>
            </a:lvl1pPr>
            <a:lvl2pPr>
              <a:defRPr/>
            </a:lvl2pPr>
            <a:lvl3pPr>
              <a:defRPr/>
            </a:lvl3pPr>
            <a:lvl4pPr>
              <a:defRPr/>
            </a:lvl4pPr>
            <a:lvl5pPr>
              <a:defRPr baseline="0"/>
            </a:lvl5pPr>
            <a:lvl6pPr>
              <a:defRPr baseline="0"/>
            </a:lvl6pPr>
            <a:lvl7pPr>
              <a:defRPr baseline="0"/>
            </a:lvl7pPr>
            <a:lvl8pPr>
              <a:defRPr/>
            </a:lvl8pPr>
            <a:lvl9pPr>
              <a:defRPr/>
            </a:lvl9pPr>
          </a:lstStyle>
          <a:p>
            <a:pPr lvl="0"/>
            <a:r>
              <a:rPr lang="en-US" dirty="0"/>
              <a:t>Section Title in </a:t>
            </a:r>
            <a:r>
              <a:rPr lang="en-US" dirty="0" err="1"/>
              <a:t>Lato</a:t>
            </a:r>
            <a:r>
              <a:rPr lang="en-US" dirty="0"/>
              <a:t> Light</a:t>
            </a:r>
            <a:br>
              <a:rPr lang="en-US" dirty="0"/>
            </a:br>
            <a:r>
              <a:rPr lang="en-US" dirty="0"/>
              <a:t>48 points</a:t>
            </a:r>
          </a:p>
        </p:txBody>
      </p:sp>
      <p:grpSp>
        <p:nvGrpSpPr>
          <p:cNvPr id="18" name="Group 17">
            <a:extLst>
              <a:ext uri="{FF2B5EF4-FFF2-40B4-BE49-F238E27FC236}">
                <a16:creationId xmlns:a16="http://schemas.microsoft.com/office/drawing/2014/main" id="{F21426C6-421F-C843-8E75-758EBA0C6474}"/>
              </a:ext>
            </a:extLst>
          </p:cNvPr>
          <p:cNvGrpSpPr/>
          <p:nvPr userDrawn="1"/>
        </p:nvGrpSpPr>
        <p:grpSpPr>
          <a:xfrm>
            <a:off x="856263" y="907817"/>
            <a:ext cx="10479479" cy="5042373"/>
            <a:chOff x="733144" y="917932"/>
            <a:chExt cx="8514577" cy="5042373"/>
          </a:xfrm>
        </p:grpSpPr>
        <p:sp>
          <p:nvSpPr>
            <p:cNvPr id="19" name="Rectangle 2">
              <a:extLst>
                <a:ext uri="{FF2B5EF4-FFF2-40B4-BE49-F238E27FC236}">
                  <a16:creationId xmlns:a16="http://schemas.microsoft.com/office/drawing/2014/main" id="{D47781E6-69B4-2C41-BC0D-98606BC3A887}"/>
                </a:ext>
              </a:extLst>
            </p:cNvPr>
            <p:cNvSpPr>
              <a:spLocks noChangeAspect="1"/>
            </p:cNvSpPr>
            <p:nvPr userDrawn="1"/>
          </p:nvSpPr>
          <p:spPr>
            <a:xfrm>
              <a:off x="8973401" y="917932"/>
              <a:ext cx="274320" cy="126755"/>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30" indent="-174630">
                <a:buFont typeface="Arial" panose="020B0604020202020204" pitchFamily="34" charset="0"/>
                <a:buChar char="•"/>
              </a:pPr>
              <a:endParaRPr lang="en-US" sz="1600">
                <a:solidFill>
                  <a:schemeClr val="tx1"/>
                </a:solidFill>
                <a:latin typeface="+mj-lt"/>
                <a:cs typeface="Arial" pitchFamily="34" charset="0"/>
              </a:endParaRPr>
            </a:p>
          </p:txBody>
        </p:sp>
        <p:sp>
          <p:nvSpPr>
            <p:cNvPr id="22" name="Rectangle 2">
              <a:extLst>
                <a:ext uri="{FF2B5EF4-FFF2-40B4-BE49-F238E27FC236}">
                  <a16:creationId xmlns:a16="http://schemas.microsoft.com/office/drawing/2014/main" id="{BFA531CA-85C6-124A-8B0F-C1CA2A760323}"/>
                </a:ext>
              </a:extLst>
            </p:cNvPr>
            <p:cNvSpPr>
              <a:spLocks noChangeAspect="1"/>
            </p:cNvSpPr>
            <p:nvPr userDrawn="1"/>
          </p:nvSpPr>
          <p:spPr>
            <a:xfrm flipH="1" flipV="1">
              <a:off x="733144" y="5833550"/>
              <a:ext cx="274320" cy="126755"/>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30" indent="-174630">
                <a:buFont typeface="Arial" panose="020B0604020202020204" pitchFamily="34" charset="0"/>
                <a:buChar char="•"/>
              </a:pPr>
              <a:endParaRPr lang="en-US" sz="1600">
                <a:solidFill>
                  <a:schemeClr val="tx1"/>
                </a:solidFill>
                <a:latin typeface="+mj-lt"/>
                <a:cs typeface="Arial" pitchFamily="34" charset="0"/>
              </a:endParaRPr>
            </a:p>
          </p:txBody>
        </p:sp>
      </p:grpSp>
      <p:sp>
        <p:nvSpPr>
          <p:cNvPr id="15" name="Text Placeholder 3">
            <a:extLst>
              <a:ext uri="{FF2B5EF4-FFF2-40B4-BE49-F238E27FC236}">
                <a16:creationId xmlns:a16="http://schemas.microsoft.com/office/drawing/2014/main" id="{5EC768F3-3568-4B9F-8B44-C8326C163CB5}"/>
              </a:ext>
            </a:extLst>
          </p:cNvPr>
          <p:cNvSpPr>
            <a:spLocks noGrp="1"/>
          </p:cNvSpPr>
          <p:nvPr>
            <p:ph type="body" sz="quarter" idx="20" hasCustomPrompt="1"/>
          </p:nvPr>
        </p:nvSpPr>
        <p:spPr>
          <a:xfrm>
            <a:off x="7906978" y="781193"/>
            <a:ext cx="2571262" cy="1254125"/>
          </a:xfrm>
        </p:spPr>
        <p:txBody>
          <a:bodyPr/>
          <a:lstStyle>
            <a:lvl1pPr marL="0" indent="0">
              <a:buNone/>
              <a:defRPr i="1">
                <a:solidFill>
                  <a:schemeClr val="bg1"/>
                </a:solidFill>
              </a:defRPr>
            </a:lvl1pPr>
          </a:lstStyle>
          <a:p>
            <a:pPr lvl="0"/>
            <a:r>
              <a:rPr lang="en-ZA" dirty="0"/>
              <a:t>To insert photo overlay, refer to instructions at end of deck</a:t>
            </a:r>
          </a:p>
        </p:txBody>
      </p:sp>
    </p:spTree>
    <p:extLst>
      <p:ext uri="{BB962C8B-B14F-4D97-AF65-F5344CB8AC3E}">
        <p14:creationId xmlns:p14="http://schemas.microsoft.com/office/powerpoint/2010/main" val="1598354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divdier gre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458548267"/>
              </p:ext>
            </p:extLst>
          </p:nvPr>
        </p:nvGraphicFramePr>
        <p:xfrm>
          <a:off x="2121" y="2118"/>
          <a:ext cx="2116" cy="2116"/>
        </p:xfrm>
        <a:graphic>
          <a:graphicData uri="http://schemas.openxmlformats.org/presentationml/2006/ole">
            <mc:AlternateContent xmlns:mc="http://schemas.openxmlformats.org/markup-compatibility/2006">
              <mc:Choice xmlns:v="urn:schemas-microsoft-com:vml" Requires="v">
                <p:oleObj spid="_x0000_s131817" name="think-cell Slide" r:id="rId4" imgW="383" imgH="385" progId="TCLayout.ActiveDocument.1">
                  <p:embed/>
                </p:oleObj>
              </mc:Choice>
              <mc:Fallback>
                <p:oleObj name="think-cell Slide" r:id="rId4" imgW="383" imgH="385" progId="TCLayout.ActiveDocument.1">
                  <p:embed/>
                  <p:pic>
                    <p:nvPicPr>
                      <p:cNvPr id="0" name=""/>
                      <p:cNvPicPr/>
                      <p:nvPr/>
                    </p:nvPicPr>
                    <p:blipFill>
                      <a:blip r:embed="rId5"/>
                      <a:stretch>
                        <a:fillRect/>
                      </a:stretch>
                    </p:blipFill>
                    <p:spPr>
                      <a:xfrm>
                        <a:off x="2121" y="2118"/>
                        <a:ext cx="2116" cy="2116"/>
                      </a:xfrm>
                      <a:prstGeom prst="rect">
                        <a:avLst/>
                      </a:prstGeom>
                    </p:spPr>
                  </p:pic>
                </p:oleObj>
              </mc:Fallback>
            </mc:AlternateContent>
          </a:graphicData>
        </a:graphic>
      </p:graphicFrame>
      <p:sp>
        <p:nvSpPr>
          <p:cNvPr id="13" name="Rectangle 12"/>
          <p:cNvSpPr>
            <a:spLocks/>
          </p:cNvSpPr>
          <p:nvPr userDrawn="1"/>
        </p:nvSpPr>
        <p:spPr>
          <a:xfrm>
            <a:off x="4234" y="4234"/>
            <a:ext cx="12192000" cy="6858000"/>
          </a:xfrm>
          <a:prstGeom prst="rect">
            <a:avLst/>
          </a:prstGeom>
          <a:solidFill>
            <a:srgbClr val="918A87">
              <a:alpha val="94902"/>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algn="l" defTabSz="914423" rtl="0" eaLnBrk="1" latinLnBrk="0" hangingPunct="1">
              <a:lnSpc>
                <a:spcPct val="100000"/>
              </a:lnSpc>
              <a:spcBef>
                <a:spcPts val="0"/>
              </a:spcBef>
            </a:pPr>
            <a:endParaRPr lang="en-US" sz="1600" kern="1200" dirty="0">
              <a:solidFill>
                <a:schemeClr val="tx1"/>
              </a:solidFill>
              <a:ea typeface="+mn-ea"/>
              <a:cs typeface="Arial" pitchFamily="34" charset="0"/>
            </a:endParaRPr>
          </a:p>
        </p:txBody>
      </p:sp>
      <p:sp>
        <p:nvSpPr>
          <p:cNvPr id="7" name="Text Placeholder 6"/>
          <p:cNvSpPr>
            <a:spLocks noGrp="1"/>
          </p:cNvSpPr>
          <p:nvPr>
            <p:ph type="body" sz="quarter" idx="13" hasCustomPrompt="1"/>
          </p:nvPr>
        </p:nvSpPr>
        <p:spPr>
          <a:xfrm>
            <a:off x="2813541" y="4341054"/>
            <a:ext cx="6564923" cy="215572"/>
          </a:xfrm>
        </p:spPr>
        <p:txBody>
          <a:bodyPr wrap="square" anchor="t">
            <a:spAutoFit/>
          </a:bodyPr>
          <a:lstStyle>
            <a:lvl1pPr marL="0" indent="0" algn="ctr">
              <a:spcAft>
                <a:spcPts val="0"/>
              </a:spcAft>
              <a:buNone/>
              <a:defRPr sz="1401" cap="all" spc="300" baseline="0">
                <a:solidFill>
                  <a:schemeClr val="bg1"/>
                </a:solidFill>
              </a:defRPr>
            </a:lvl1pPr>
            <a:lvl2pPr>
              <a:defRPr/>
            </a:lvl2pPr>
            <a:lvl3pPr>
              <a:defRPr/>
            </a:lvl3pPr>
            <a:lvl4pPr>
              <a:defRPr/>
            </a:lvl4pPr>
            <a:lvl5pPr>
              <a:defRPr baseline="0"/>
            </a:lvl5pPr>
            <a:lvl6pPr>
              <a:defRPr baseline="0"/>
            </a:lvl6pPr>
            <a:lvl7pPr>
              <a:defRPr baseline="0"/>
            </a:lvl7pPr>
            <a:lvl8pPr>
              <a:defRPr/>
            </a:lvl8pPr>
            <a:lvl9pPr>
              <a:defRPr/>
            </a:lvl9pPr>
          </a:lstStyle>
          <a:p>
            <a:pPr lvl="0"/>
            <a:r>
              <a:rPr lang="en-US" dirty="0"/>
              <a:t>Section one</a:t>
            </a:r>
          </a:p>
        </p:txBody>
      </p:sp>
      <p:sp>
        <p:nvSpPr>
          <p:cNvPr id="15" name="Text Placeholder 6"/>
          <p:cNvSpPr>
            <a:spLocks noGrp="1"/>
          </p:cNvSpPr>
          <p:nvPr>
            <p:ph type="body" sz="quarter" idx="14" hasCustomPrompt="1"/>
          </p:nvPr>
        </p:nvSpPr>
        <p:spPr>
          <a:xfrm>
            <a:off x="1312986" y="2233495"/>
            <a:ext cx="9566031" cy="1477328"/>
          </a:xfrm>
        </p:spPr>
        <p:txBody>
          <a:bodyPr wrap="square" anchor="b">
            <a:spAutoFit/>
          </a:bodyPr>
          <a:lstStyle>
            <a:lvl1pPr marL="0" indent="0" algn="ctr">
              <a:buNone/>
              <a:defRPr sz="4800" baseline="0">
                <a:solidFill>
                  <a:schemeClr val="bg1"/>
                </a:solidFill>
                <a:latin typeface="Lato Light" panose="020F0302020204030203" pitchFamily="34" charset="0"/>
              </a:defRPr>
            </a:lvl1pPr>
            <a:lvl2pPr>
              <a:defRPr/>
            </a:lvl2pPr>
            <a:lvl3pPr>
              <a:defRPr/>
            </a:lvl3pPr>
            <a:lvl4pPr>
              <a:defRPr/>
            </a:lvl4pPr>
            <a:lvl5pPr>
              <a:defRPr baseline="0"/>
            </a:lvl5pPr>
            <a:lvl6pPr>
              <a:defRPr baseline="0"/>
            </a:lvl6pPr>
            <a:lvl7pPr>
              <a:defRPr baseline="0"/>
            </a:lvl7pPr>
            <a:lvl8pPr>
              <a:defRPr/>
            </a:lvl8pPr>
            <a:lvl9pPr>
              <a:defRPr/>
            </a:lvl9pPr>
          </a:lstStyle>
          <a:p>
            <a:pPr lvl="0"/>
            <a:r>
              <a:rPr lang="en-US" dirty="0"/>
              <a:t>Section Title in </a:t>
            </a:r>
            <a:r>
              <a:rPr lang="en-US" dirty="0" err="1"/>
              <a:t>Lato</a:t>
            </a:r>
            <a:r>
              <a:rPr lang="en-US" dirty="0"/>
              <a:t> Light</a:t>
            </a:r>
            <a:br>
              <a:rPr lang="en-US" dirty="0"/>
            </a:br>
            <a:r>
              <a:rPr lang="en-US" dirty="0"/>
              <a:t>48 points</a:t>
            </a:r>
          </a:p>
        </p:txBody>
      </p:sp>
      <p:grpSp>
        <p:nvGrpSpPr>
          <p:cNvPr id="14" name="Group 13">
            <a:extLst>
              <a:ext uri="{FF2B5EF4-FFF2-40B4-BE49-F238E27FC236}">
                <a16:creationId xmlns:a16="http://schemas.microsoft.com/office/drawing/2014/main" id="{2DA90289-75DA-D34C-A5F3-4AB2FE5B0CA2}"/>
              </a:ext>
            </a:extLst>
          </p:cNvPr>
          <p:cNvGrpSpPr/>
          <p:nvPr userDrawn="1"/>
        </p:nvGrpSpPr>
        <p:grpSpPr>
          <a:xfrm>
            <a:off x="856263" y="907817"/>
            <a:ext cx="10479479" cy="5042373"/>
            <a:chOff x="733144" y="917932"/>
            <a:chExt cx="8514577" cy="5042373"/>
          </a:xfrm>
        </p:grpSpPr>
        <p:sp>
          <p:nvSpPr>
            <p:cNvPr id="16" name="Rectangle 2">
              <a:extLst>
                <a:ext uri="{FF2B5EF4-FFF2-40B4-BE49-F238E27FC236}">
                  <a16:creationId xmlns:a16="http://schemas.microsoft.com/office/drawing/2014/main" id="{F8CC1092-8D82-EE45-9F5C-5BB2579B4F14}"/>
                </a:ext>
              </a:extLst>
            </p:cNvPr>
            <p:cNvSpPr>
              <a:spLocks noChangeAspect="1"/>
            </p:cNvSpPr>
            <p:nvPr userDrawn="1"/>
          </p:nvSpPr>
          <p:spPr>
            <a:xfrm>
              <a:off x="8973401" y="917932"/>
              <a:ext cx="274320" cy="126755"/>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30" indent="-174630">
                <a:buFont typeface="Arial" panose="020B0604020202020204" pitchFamily="34" charset="0"/>
                <a:buChar char="•"/>
              </a:pPr>
              <a:endParaRPr lang="en-US" sz="1600">
                <a:solidFill>
                  <a:schemeClr val="tx1"/>
                </a:solidFill>
                <a:latin typeface="+mj-lt"/>
                <a:cs typeface="Arial" pitchFamily="34" charset="0"/>
              </a:endParaRPr>
            </a:p>
          </p:txBody>
        </p:sp>
        <p:sp>
          <p:nvSpPr>
            <p:cNvPr id="17" name="Rectangle 2">
              <a:extLst>
                <a:ext uri="{FF2B5EF4-FFF2-40B4-BE49-F238E27FC236}">
                  <a16:creationId xmlns:a16="http://schemas.microsoft.com/office/drawing/2014/main" id="{41C96F2A-94C8-7441-BDC9-094ADEEF4D68}"/>
                </a:ext>
              </a:extLst>
            </p:cNvPr>
            <p:cNvSpPr>
              <a:spLocks noChangeAspect="1"/>
            </p:cNvSpPr>
            <p:nvPr userDrawn="1"/>
          </p:nvSpPr>
          <p:spPr>
            <a:xfrm flipH="1" flipV="1">
              <a:off x="733144" y="5833550"/>
              <a:ext cx="274320" cy="126755"/>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30" indent="-174630">
                <a:buFont typeface="Arial" panose="020B0604020202020204" pitchFamily="34" charset="0"/>
                <a:buChar char="•"/>
              </a:pPr>
              <a:endParaRPr lang="en-US" sz="1600">
                <a:solidFill>
                  <a:schemeClr val="tx1"/>
                </a:solidFill>
                <a:latin typeface="+mj-lt"/>
                <a:cs typeface="Arial" pitchFamily="34" charset="0"/>
              </a:endParaRPr>
            </a:p>
          </p:txBody>
        </p:sp>
      </p:grpSp>
      <p:sp>
        <p:nvSpPr>
          <p:cNvPr id="10" name="Text Placeholder 3">
            <a:extLst>
              <a:ext uri="{FF2B5EF4-FFF2-40B4-BE49-F238E27FC236}">
                <a16:creationId xmlns:a16="http://schemas.microsoft.com/office/drawing/2014/main" id="{8C8DE380-76CE-467C-8845-2814EEC88225}"/>
              </a:ext>
            </a:extLst>
          </p:cNvPr>
          <p:cNvSpPr>
            <a:spLocks noGrp="1"/>
          </p:cNvSpPr>
          <p:nvPr>
            <p:ph type="body" sz="quarter" idx="20" hasCustomPrompt="1"/>
          </p:nvPr>
        </p:nvSpPr>
        <p:spPr>
          <a:xfrm>
            <a:off x="7906978" y="781193"/>
            <a:ext cx="2571262" cy="1254125"/>
          </a:xfrm>
        </p:spPr>
        <p:txBody>
          <a:bodyPr/>
          <a:lstStyle>
            <a:lvl1pPr marL="0" indent="0">
              <a:buNone/>
              <a:defRPr i="1">
                <a:solidFill>
                  <a:schemeClr val="bg1"/>
                </a:solidFill>
              </a:defRPr>
            </a:lvl1pPr>
          </a:lstStyle>
          <a:p>
            <a:pPr lvl="0"/>
            <a:r>
              <a:rPr lang="en-ZA" dirty="0"/>
              <a:t>To insert photo overlay, refer to instructions at end of deck</a:t>
            </a:r>
          </a:p>
        </p:txBody>
      </p:sp>
    </p:spTree>
    <p:extLst>
      <p:ext uri="{BB962C8B-B14F-4D97-AF65-F5344CB8AC3E}">
        <p14:creationId xmlns:p14="http://schemas.microsoft.com/office/powerpoint/2010/main" val="31479233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divder yellow">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625504405"/>
              </p:ext>
            </p:extLst>
          </p:nvPr>
        </p:nvGraphicFramePr>
        <p:xfrm>
          <a:off x="2121" y="2118"/>
          <a:ext cx="2116" cy="2116"/>
        </p:xfrm>
        <a:graphic>
          <a:graphicData uri="http://schemas.openxmlformats.org/presentationml/2006/ole">
            <mc:AlternateContent xmlns:mc="http://schemas.openxmlformats.org/markup-compatibility/2006">
              <mc:Choice xmlns:v="urn:schemas-microsoft-com:vml" Requires="v">
                <p:oleObj spid="_x0000_s365010" name="think-cell Slide" r:id="rId4" imgW="383" imgH="385" progId="TCLayout.ActiveDocument.1">
                  <p:embed/>
                </p:oleObj>
              </mc:Choice>
              <mc:Fallback>
                <p:oleObj name="think-cell Slide" r:id="rId4" imgW="383" imgH="385" progId="TCLayout.ActiveDocument.1">
                  <p:embed/>
                  <p:pic>
                    <p:nvPicPr>
                      <p:cNvPr id="6" name="Object 5" hidden="1"/>
                      <p:cNvPicPr/>
                      <p:nvPr/>
                    </p:nvPicPr>
                    <p:blipFill>
                      <a:blip r:embed="rId5"/>
                      <a:stretch>
                        <a:fillRect/>
                      </a:stretch>
                    </p:blipFill>
                    <p:spPr>
                      <a:xfrm>
                        <a:off x="2121" y="2118"/>
                        <a:ext cx="2116" cy="2116"/>
                      </a:xfrm>
                      <a:prstGeom prst="rect">
                        <a:avLst/>
                      </a:prstGeom>
                    </p:spPr>
                  </p:pic>
                </p:oleObj>
              </mc:Fallback>
            </mc:AlternateContent>
          </a:graphicData>
        </a:graphic>
      </p:graphicFrame>
      <p:sp>
        <p:nvSpPr>
          <p:cNvPr id="14" name="Rectangle 13"/>
          <p:cNvSpPr>
            <a:spLocks/>
          </p:cNvSpPr>
          <p:nvPr userDrawn="1"/>
        </p:nvSpPr>
        <p:spPr>
          <a:xfrm>
            <a:off x="4234" y="4234"/>
            <a:ext cx="12192000" cy="6858000"/>
          </a:xfrm>
          <a:prstGeom prst="rect">
            <a:avLst/>
          </a:prstGeom>
          <a:solidFill>
            <a:srgbClr val="F3B11C">
              <a:alpha val="89804"/>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algn="l" defTabSz="914423" rtl="0" eaLnBrk="1" latinLnBrk="0" hangingPunct="1">
              <a:lnSpc>
                <a:spcPct val="100000"/>
              </a:lnSpc>
              <a:spcBef>
                <a:spcPts val="0"/>
              </a:spcBef>
            </a:pPr>
            <a:endParaRPr lang="en-US" sz="1600" kern="1200" dirty="0">
              <a:solidFill>
                <a:schemeClr val="tx1"/>
              </a:solidFill>
              <a:ea typeface="+mn-ea"/>
              <a:cs typeface="Arial" pitchFamily="34" charset="0"/>
            </a:endParaRPr>
          </a:p>
        </p:txBody>
      </p:sp>
      <p:sp>
        <p:nvSpPr>
          <p:cNvPr id="16" name="Text Placeholder 6"/>
          <p:cNvSpPr>
            <a:spLocks noGrp="1"/>
          </p:cNvSpPr>
          <p:nvPr>
            <p:ph type="body" sz="quarter" idx="13" hasCustomPrompt="1"/>
          </p:nvPr>
        </p:nvSpPr>
        <p:spPr>
          <a:xfrm>
            <a:off x="2813541" y="4341054"/>
            <a:ext cx="6564923" cy="215572"/>
          </a:xfrm>
        </p:spPr>
        <p:txBody>
          <a:bodyPr wrap="square" anchor="t">
            <a:spAutoFit/>
          </a:bodyPr>
          <a:lstStyle>
            <a:lvl1pPr marL="0" indent="0" algn="ctr">
              <a:spcAft>
                <a:spcPts val="0"/>
              </a:spcAft>
              <a:buNone/>
              <a:defRPr sz="1401" cap="all" spc="300" baseline="0">
                <a:solidFill>
                  <a:schemeClr val="bg1"/>
                </a:solidFill>
              </a:defRPr>
            </a:lvl1pPr>
            <a:lvl2pPr>
              <a:defRPr/>
            </a:lvl2pPr>
            <a:lvl3pPr>
              <a:defRPr/>
            </a:lvl3pPr>
            <a:lvl4pPr>
              <a:defRPr/>
            </a:lvl4pPr>
            <a:lvl5pPr>
              <a:defRPr baseline="0"/>
            </a:lvl5pPr>
            <a:lvl6pPr>
              <a:defRPr baseline="0"/>
            </a:lvl6pPr>
            <a:lvl7pPr>
              <a:defRPr baseline="0"/>
            </a:lvl7pPr>
            <a:lvl8pPr>
              <a:defRPr/>
            </a:lvl8pPr>
            <a:lvl9pPr>
              <a:defRPr/>
            </a:lvl9pPr>
          </a:lstStyle>
          <a:p>
            <a:pPr lvl="0"/>
            <a:r>
              <a:rPr lang="en-US" dirty="0"/>
              <a:t>Section one</a:t>
            </a:r>
          </a:p>
        </p:txBody>
      </p:sp>
      <p:sp>
        <p:nvSpPr>
          <p:cNvPr id="17" name="Text Placeholder 6"/>
          <p:cNvSpPr>
            <a:spLocks noGrp="1"/>
          </p:cNvSpPr>
          <p:nvPr>
            <p:ph type="body" sz="quarter" idx="14" hasCustomPrompt="1"/>
          </p:nvPr>
        </p:nvSpPr>
        <p:spPr>
          <a:xfrm>
            <a:off x="1312986" y="2233495"/>
            <a:ext cx="9566031" cy="1477328"/>
          </a:xfrm>
        </p:spPr>
        <p:txBody>
          <a:bodyPr wrap="square" anchor="b">
            <a:spAutoFit/>
          </a:bodyPr>
          <a:lstStyle>
            <a:lvl1pPr marL="0" indent="0" algn="ctr">
              <a:buNone/>
              <a:defRPr sz="4800" baseline="0">
                <a:solidFill>
                  <a:schemeClr val="bg1"/>
                </a:solidFill>
                <a:latin typeface="Lato Light" panose="020F0302020204030203" pitchFamily="34" charset="0"/>
              </a:defRPr>
            </a:lvl1pPr>
            <a:lvl2pPr>
              <a:defRPr/>
            </a:lvl2pPr>
            <a:lvl3pPr>
              <a:defRPr/>
            </a:lvl3pPr>
            <a:lvl4pPr>
              <a:defRPr/>
            </a:lvl4pPr>
            <a:lvl5pPr>
              <a:defRPr baseline="0"/>
            </a:lvl5pPr>
            <a:lvl6pPr>
              <a:defRPr baseline="0"/>
            </a:lvl6pPr>
            <a:lvl7pPr>
              <a:defRPr baseline="0"/>
            </a:lvl7pPr>
            <a:lvl8pPr>
              <a:defRPr/>
            </a:lvl8pPr>
            <a:lvl9pPr>
              <a:defRPr/>
            </a:lvl9pPr>
          </a:lstStyle>
          <a:p>
            <a:pPr lvl="0"/>
            <a:r>
              <a:rPr lang="en-US" dirty="0"/>
              <a:t>Section Title in </a:t>
            </a:r>
            <a:r>
              <a:rPr lang="en-US" dirty="0" err="1"/>
              <a:t>Lato</a:t>
            </a:r>
            <a:r>
              <a:rPr lang="en-US" dirty="0"/>
              <a:t> Light</a:t>
            </a:r>
            <a:br>
              <a:rPr lang="en-US" dirty="0"/>
            </a:br>
            <a:r>
              <a:rPr lang="en-US" dirty="0"/>
              <a:t>48 points</a:t>
            </a:r>
          </a:p>
        </p:txBody>
      </p:sp>
      <p:grpSp>
        <p:nvGrpSpPr>
          <p:cNvPr id="18" name="Group 17">
            <a:extLst>
              <a:ext uri="{FF2B5EF4-FFF2-40B4-BE49-F238E27FC236}">
                <a16:creationId xmlns:a16="http://schemas.microsoft.com/office/drawing/2014/main" id="{F21426C6-421F-C843-8E75-758EBA0C6474}"/>
              </a:ext>
            </a:extLst>
          </p:cNvPr>
          <p:cNvGrpSpPr/>
          <p:nvPr userDrawn="1"/>
        </p:nvGrpSpPr>
        <p:grpSpPr>
          <a:xfrm>
            <a:off x="856263" y="907817"/>
            <a:ext cx="10479479" cy="5042373"/>
            <a:chOff x="733144" y="917932"/>
            <a:chExt cx="8514577" cy="5042373"/>
          </a:xfrm>
        </p:grpSpPr>
        <p:sp>
          <p:nvSpPr>
            <p:cNvPr id="19" name="Rectangle 2">
              <a:extLst>
                <a:ext uri="{FF2B5EF4-FFF2-40B4-BE49-F238E27FC236}">
                  <a16:creationId xmlns:a16="http://schemas.microsoft.com/office/drawing/2014/main" id="{D47781E6-69B4-2C41-BC0D-98606BC3A887}"/>
                </a:ext>
              </a:extLst>
            </p:cNvPr>
            <p:cNvSpPr>
              <a:spLocks noChangeAspect="1"/>
            </p:cNvSpPr>
            <p:nvPr userDrawn="1"/>
          </p:nvSpPr>
          <p:spPr>
            <a:xfrm>
              <a:off x="8973401" y="917932"/>
              <a:ext cx="274320" cy="126755"/>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30" indent="-174630">
                <a:buFont typeface="Arial" panose="020B0604020202020204" pitchFamily="34" charset="0"/>
                <a:buChar char="•"/>
              </a:pPr>
              <a:endParaRPr lang="en-US" sz="1600">
                <a:solidFill>
                  <a:schemeClr val="tx1"/>
                </a:solidFill>
                <a:latin typeface="+mj-lt"/>
                <a:cs typeface="Arial" pitchFamily="34" charset="0"/>
              </a:endParaRPr>
            </a:p>
          </p:txBody>
        </p:sp>
        <p:sp>
          <p:nvSpPr>
            <p:cNvPr id="22" name="Rectangle 2">
              <a:extLst>
                <a:ext uri="{FF2B5EF4-FFF2-40B4-BE49-F238E27FC236}">
                  <a16:creationId xmlns:a16="http://schemas.microsoft.com/office/drawing/2014/main" id="{BFA531CA-85C6-124A-8B0F-C1CA2A760323}"/>
                </a:ext>
              </a:extLst>
            </p:cNvPr>
            <p:cNvSpPr>
              <a:spLocks noChangeAspect="1"/>
            </p:cNvSpPr>
            <p:nvPr userDrawn="1"/>
          </p:nvSpPr>
          <p:spPr>
            <a:xfrm flipH="1" flipV="1">
              <a:off x="733144" y="5833550"/>
              <a:ext cx="274320" cy="126755"/>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30" indent="-174630">
                <a:buFont typeface="Arial" panose="020B0604020202020204" pitchFamily="34" charset="0"/>
                <a:buChar char="•"/>
              </a:pPr>
              <a:endParaRPr lang="en-US" sz="1600">
                <a:solidFill>
                  <a:schemeClr val="tx1"/>
                </a:solidFill>
                <a:latin typeface="+mj-lt"/>
                <a:cs typeface="Arial" pitchFamily="34" charset="0"/>
              </a:endParaRPr>
            </a:p>
          </p:txBody>
        </p:sp>
      </p:grpSp>
      <p:sp>
        <p:nvSpPr>
          <p:cNvPr id="9" name="Text Placeholder 3">
            <a:extLst>
              <a:ext uri="{FF2B5EF4-FFF2-40B4-BE49-F238E27FC236}">
                <a16:creationId xmlns:a16="http://schemas.microsoft.com/office/drawing/2014/main" id="{8EA2AF1E-3375-441F-A2B3-10BBF1E1CFFE}"/>
              </a:ext>
            </a:extLst>
          </p:cNvPr>
          <p:cNvSpPr>
            <a:spLocks noGrp="1"/>
          </p:cNvSpPr>
          <p:nvPr>
            <p:ph type="body" sz="quarter" idx="20" hasCustomPrompt="1"/>
          </p:nvPr>
        </p:nvSpPr>
        <p:spPr>
          <a:xfrm>
            <a:off x="7906978" y="781193"/>
            <a:ext cx="2571262" cy="1254125"/>
          </a:xfrm>
        </p:spPr>
        <p:txBody>
          <a:bodyPr/>
          <a:lstStyle>
            <a:lvl1pPr marL="0" indent="0">
              <a:buNone/>
              <a:defRPr i="1">
                <a:solidFill>
                  <a:schemeClr val="bg1"/>
                </a:solidFill>
              </a:defRPr>
            </a:lvl1pPr>
          </a:lstStyle>
          <a:p>
            <a:pPr lvl="0"/>
            <a:r>
              <a:rPr lang="en-ZA" dirty="0"/>
              <a:t>To insert photo overlay, refer to instructions at end of deck</a:t>
            </a:r>
          </a:p>
        </p:txBody>
      </p:sp>
    </p:spTree>
    <p:extLst>
      <p:ext uri="{BB962C8B-B14F-4D97-AF65-F5344CB8AC3E}">
        <p14:creationId xmlns:p14="http://schemas.microsoft.com/office/powerpoint/2010/main" val="35279394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blue_businesses">
    <p:bg>
      <p:bgPr>
        <a:solidFill>
          <a:schemeClr val="bg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8C4A3343-C30F-1C45-9610-402B1F360A03}"/>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DEE1AA8C-E15D-A44A-9406-A5219CE72065}"/>
              </a:ext>
            </a:extLst>
          </p:cNvPr>
          <p:cNvSpPr/>
          <p:nvPr userDrawn="1"/>
        </p:nvSpPr>
        <p:spPr>
          <a:xfrm>
            <a:off x="4" y="4778"/>
            <a:ext cx="12192000" cy="6858000"/>
          </a:xfrm>
          <a:prstGeom prst="rect">
            <a:avLst/>
          </a:prstGeom>
          <a:solidFill>
            <a:srgbClr val="0889A8">
              <a:alpha val="94902"/>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algn="l" defTabSz="914423" rtl="0" eaLnBrk="1" latinLnBrk="0" hangingPunct="1">
              <a:lnSpc>
                <a:spcPct val="100000"/>
              </a:lnSpc>
              <a:spcBef>
                <a:spcPts val="0"/>
              </a:spcBef>
            </a:pPr>
            <a:endParaRPr lang="en-US" sz="1600" kern="1200" dirty="0">
              <a:solidFill>
                <a:schemeClr val="tx1"/>
              </a:solidFill>
              <a:ea typeface="+mn-ea"/>
              <a:cs typeface="Arial" pitchFamily="34" charset="0"/>
            </a:endParaRPr>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82636315"/>
              </p:ext>
            </p:extLst>
          </p:nvPr>
        </p:nvGraphicFramePr>
        <p:xfrm>
          <a:off x="5" y="6"/>
          <a:ext cx="211668" cy="158751"/>
        </p:xfrm>
        <a:graphic>
          <a:graphicData uri="http://schemas.openxmlformats.org/presentationml/2006/ole">
            <mc:AlternateContent xmlns:mc="http://schemas.openxmlformats.org/markup-compatibility/2006">
              <mc:Choice xmlns:v="urn:schemas-microsoft-com:vml" Requires="v">
                <p:oleObj spid="_x0000_s385405" name="think-cell Slide" r:id="rId5" imgW="383" imgH="385" progId="TCLayout.ActiveDocument.1">
                  <p:embed/>
                </p:oleObj>
              </mc:Choice>
              <mc:Fallback>
                <p:oleObj name="think-cell Slide" r:id="rId5" imgW="383" imgH="385" progId="TCLayout.ActiveDocument.1">
                  <p:embed/>
                  <p:pic>
                    <p:nvPicPr>
                      <p:cNvPr id="3" name="Object 2" hidden="1"/>
                      <p:cNvPicPr/>
                      <p:nvPr/>
                    </p:nvPicPr>
                    <p:blipFill>
                      <a:blip r:embed="rId6"/>
                      <a:stretch>
                        <a:fillRect/>
                      </a:stretch>
                    </p:blipFill>
                    <p:spPr>
                      <a:xfrm>
                        <a:off x="5" y="6"/>
                        <a:ext cx="211668" cy="158751"/>
                      </a:xfrm>
                      <a:prstGeom prst="rect">
                        <a:avLst/>
                      </a:prstGeom>
                    </p:spPr>
                  </p:pic>
                </p:oleObj>
              </mc:Fallback>
            </mc:AlternateContent>
          </a:graphicData>
        </a:graphic>
      </p:graphicFrame>
      <p:sp>
        <p:nvSpPr>
          <p:cNvPr id="22" name="Subtitle 2">
            <a:extLst>
              <a:ext uri="{FF2B5EF4-FFF2-40B4-BE49-F238E27FC236}">
                <a16:creationId xmlns:a16="http://schemas.microsoft.com/office/drawing/2014/main" id="{0FEF2971-18CA-A447-B977-0E8BA063D874}"/>
              </a:ext>
            </a:extLst>
          </p:cNvPr>
          <p:cNvSpPr>
            <a:spLocks noGrp="1"/>
          </p:cNvSpPr>
          <p:nvPr>
            <p:ph type="subTitle" idx="1" hasCustomPrompt="1"/>
          </p:nvPr>
        </p:nvSpPr>
        <p:spPr bwMode="gray">
          <a:xfrm>
            <a:off x="3481899" y="3993161"/>
            <a:ext cx="6564923" cy="215572"/>
          </a:xfrm>
        </p:spPr>
        <p:txBody>
          <a:bodyPr wrap="square" lIns="0" tIns="0" rIns="0" bIns="0" anchor="t">
            <a:spAutoFit/>
          </a:bodyPr>
          <a:lstStyle>
            <a:lvl1pPr marL="0" indent="0" algn="l">
              <a:spcAft>
                <a:spcPts val="0"/>
              </a:spcAft>
              <a:buNone/>
              <a:defRPr sz="1401" b="0" cap="all" spc="300" baseline="0">
                <a:solidFill>
                  <a:schemeClr val="bg1"/>
                </a:solidFill>
                <a:latin typeface="+mn-lt"/>
                <a:cs typeface="Arial" pitchFamily="34" charset="0"/>
              </a:defRPr>
            </a:lvl1pPr>
            <a:lvl2pPr marL="536447" indent="0" algn="ctr">
              <a:buNone/>
              <a:defRPr sz="2300"/>
            </a:lvl2pPr>
            <a:lvl3pPr marL="1072893" indent="0" algn="ctr">
              <a:buNone/>
              <a:defRPr sz="2100"/>
            </a:lvl3pPr>
            <a:lvl4pPr marL="1609339" indent="0" algn="ctr">
              <a:buNone/>
              <a:defRPr sz="1900"/>
            </a:lvl4pPr>
            <a:lvl5pPr marL="2145784" indent="0" algn="ctr">
              <a:buNone/>
              <a:defRPr sz="1900"/>
            </a:lvl5pPr>
            <a:lvl6pPr marL="2682231" indent="0" algn="ctr">
              <a:buNone/>
              <a:defRPr sz="1900"/>
            </a:lvl6pPr>
            <a:lvl7pPr marL="3218677" indent="0" algn="ctr">
              <a:buNone/>
              <a:defRPr sz="1900"/>
            </a:lvl7pPr>
            <a:lvl8pPr marL="3755123" indent="0" algn="ctr">
              <a:buNone/>
              <a:defRPr sz="1900"/>
            </a:lvl8pPr>
            <a:lvl9pPr marL="4291569" indent="0" algn="ctr">
              <a:buNone/>
              <a:defRPr sz="1900"/>
            </a:lvl9pPr>
          </a:lstStyle>
          <a:p>
            <a:r>
              <a:rPr lang="en-US" dirty="0"/>
              <a:t>Sub-title and date</a:t>
            </a:r>
          </a:p>
        </p:txBody>
      </p:sp>
      <p:sp>
        <p:nvSpPr>
          <p:cNvPr id="23" name="Text Placeholder 6">
            <a:extLst>
              <a:ext uri="{FF2B5EF4-FFF2-40B4-BE49-F238E27FC236}">
                <a16:creationId xmlns:a16="http://schemas.microsoft.com/office/drawing/2014/main" id="{21B53F68-7CEB-4F4B-A468-2B1D397F0E75}"/>
              </a:ext>
            </a:extLst>
          </p:cNvPr>
          <p:cNvSpPr>
            <a:spLocks noGrp="1"/>
          </p:cNvSpPr>
          <p:nvPr>
            <p:ph type="body" sz="quarter" idx="18" hasCustomPrompt="1"/>
          </p:nvPr>
        </p:nvSpPr>
        <p:spPr>
          <a:xfrm>
            <a:off x="3481902" y="2757285"/>
            <a:ext cx="8082916" cy="646459"/>
          </a:xfrm>
        </p:spPr>
        <p:txBody>
          <a:bodyPr wrap="square" lIns="0" tIns="0" rIns="0" bIns="0" anchor="b">
            <a:spAutoFit/>
          </a:bodyPr>
          <a:lstStyle>
            <a:lvl1pPr marL="0" indent="0">
              <a:buFont typeface="Arial" panose="020B0604020202020204" pitchFamily="34" charset="0"/>
              <a:buNone/>
              <a:defRPr sz="4201" b="0" baseline="0">
                <a:solidFill>
                  <a:schemeClr val="bg1"/>
                </a:solidFill>
                <a:latin typeface="Lato Light" panose="020F0302020204030203" pitchFamily="34" charset="0"/>
              </a:defRPr>
            </a:lvl1pPr>
          </a:lstStyle>
          <a:p>
            <a:pPr lvl="0"/>
            <a:r>
              <a:rPr lang="en-US" dirty="0"/>
              <a:t>Title is </a:t>
            </a:r>
            <a:r>
              <a:rPr lang="en-US" dirty="0" err="1"/>
              <a:t>Lato</a:t>
            </a:r>
            <a:r>
              <a:rPr lang="en-US" dirty="0"/>
              <a:t> Light 42 point</a:t>
            </a:r>
          </a:p>
        </p:txBody>
      </p:sp>
      <p:cxnSp>
        <p:nvCxnSpPr>
          <p:cNvPr id="24" name="Line">
            <a:extLst>
              <a:ext uri="{FF2B5EF4-FFF2-40B4-BE49-F238E27FC236}">
                <a16:creationId xmlns:a16="http://schemas.microsoft.com/office/drawing/2014/main" id="{E277333D-8D22-DE4D-BED7-4452956ECF14}"/>
              </a:ext>
            </a:extLst>
          </p:cNvPr>
          <p:cNvCxnSpPr>
            <a:cxnSpLocks/>
          </p:cNvCxnSpPr>
          <p:nvPr userDrawn="1"/>
        </p:nvCxnSpPr>
        <p:spPr>
          <a:xfrm>
            <a:off x="3481899" y="3709468"/>
            <a:ext cx="562708" cy="0"/>
          </a:xfrm>
          <a:prstGeom prst="line">
            <a:avLst/>
          </a:prstGeom>
          <a:ln w="28575">
            <a:solidFill>
              <a:srgbClr val="881846"/>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36EC3E5E-8C80-C44A-AD67-64D64758C168}"/>
              </a:ext>
            </a:extLst>
          </p:cNvPr>
          <p:cNvSpPr/>
          <p:nvPr userDrawn="1"/>
        </p:nvSpPr>
        <p:spPr>
          <a:xfrm>
            <a:off x="1" y="1695091"/>
            <a:ext cx="2250831" cy="3474237"/>
          </a:xfrm>
          <a:prstGeom prst="rect">
            <a:avLst/>
          </a:pr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30" indent="-174630" algn="l" defTabSz="914423" rtl="0" eaLnBrk="1" latinLnBrk="0" hangingPunct="1">
              <a:lnSpc>
                <a:spcPct val="100000"/>
              </a:lnSpc>
              <a:spcBef>
                <a:spcPts val="0"/>
              </a:spcBef>
              <a:buFont typeface="Arial" panose="020B0604020202020204" pitchFamily="34" charset="0"/>
              <a:buChar char="•"/>
            </a:pPr>
            <a:endParaRPr lang="en-US" sz="1600" kern="1200" dirty="0" err="1">
              <a:solidFill>
                <a:schemeClr val="tx1"/>
              </a:solidFill>
              <a:latin typeface="+mj-lt"/>
              <a:ea typeface="+mn-ea"/>
              <a:cs typeface="Arial" pitchFamily="34" charset="0"/>
            </a:endParaRPr>
          </a:p>
        </p:txBody>
      </p:sp>
      <p:sp>
        <p:nvSpPr>
          <p:cNvPr id="4" name="Text Placeholder 3">
            <a:extLst>
              <a:ext uri="{FF2B5EF4-FFF2-40B4-BE49-F238E27FC236}">
                <a16:creationId xmlns:a16="http://schemas.microsoft.com/office/drawing/2014/main" id="{8904F3BB-CA59-482F-9567-9A7D1E9079FA}"/>
              </a:ext>
            </a:extLst>
          </p:cNvPr>
          <p:cNvSpPr>
            <a:spLocks noGrp="1"/>
          </p:cNvSpPr>
          <p:nvPr>
            <p:ph type="body" sz="quarter" idx="19" hasCustomPrompt="1"/>
          </p:nvPr>
        </p:nvSpPr>
        <p:spPr>
          <a:xfrm>
            <a:off x="2624160" y="857377"/>
            <a:ext cx="5173361" cy="1414463"/>
          </a:xfrm>
        </p:spPr>
        <p:txBody>
          <a:bodyPr/>
          <a:lstStyle>
            <a:lvl1pPr marL="0" indent="0">
              <a:buNone/>
              <a:defRPr i="1">
                <a:solidFill>
                  <a:schemeClr val="bg1"/>
                </a:solidFill>
                <a:sym typeface="Wingdings" panose="05000000000000000000" pitchFamily="2" charset="2"/>
              </a:defRPr>
            </a:lvl1pPr>
          </a:lstStyle>
          <a:p>
            <a:pPr lvl="0"/>
            <a:r>
              <a:rPr lang="en-US" dirty="0"/>
              <a:t>If a business-specific template is desired, delete any businesses not needed in the Master View (View  Master View) and ensure each business is directly below the other</a:t>
            </a:r>
            <a:endParaRPr lang="en-ZA" dirty="0"/>
          </a:p>
        </p:txBody>
      </p:sp>
      <p:pic>
        <p:nvPicPr>
          <p:cNvPr id="18" name="Picture 17" descr="A picture containing clipart&#10;&#10;Description generated with very high confidence">
            <a:extLst>
              <a:ext uri="{FF2B5EF4-FFF2-40B4-BE49-F238E27FC236}">
                <a16:creationId xmlns:a16="http://schemas.microsoft.com/office/drawing/2014/main" id="{0518F7DB-8672-4883-AAC2-04BB3D1E1E6F}"/>
              </a:ext>
            </a:extLst>
          </p:cNvPr>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291235" y="3121218"/>
            <a:ext cx="1317631" cy="457201"/>
          </a:xfrm>
          <a:prstGeom prst="rect">
            <a:avLst/>
          </a:prstGeom>
        </p:spPr>
      </p:pic>
      <p:pic>
        <p:nvPicPr>
          <p:cNvPr id="16" name="Picture 15">
            <a:extLst>
              <a:ext uri="{FF2B5EF4-FFF2-40B4-BE49-F238E27FC236}">
                <a16:creationId xmlns:a16="http://schemas.microsoft.com/office/drawing/2014/main" id="{DF4DF2BC-D4A0-4502-92E3-A24C4E640F7C}"/>
              </a:ext>
            </a:extLst>
          </p:cNvPr>
          <p:cNvPicPr>
            <a:picLocks/>
          </p:cNvPicPr>
          <p:nvPr userDrawn="1"/>
        </p:nvPicPr>
        <p:blipFill>
          <a:blip r:embed="rId8" cstate="email">
            <a:extLst>
              <a:ext uri="{28A0092B-C50C-407E-A947-70E740481C1C}">
                <a14:useLocalDpi xmlns:a14="http://schemas.microsoft.com/office/drawing/2010/main"/>
              </a:ext>
            </a:extLst>
          </a:blip>
          <a:stretch>
            <a:fillRect/>
          </a:stretch>
        </p:blipFill>
        <p:spPr>
          <a:xfrm>
            <a:off x="219177" y="3368103"/>
            <a:ext cx="1371719" cy="432854"/>
          </a:xfrm>
          <a:prstGeom prst="rect">
            <a:avLst/>
          </a:prstGeom>
        </p:spPr>
      </p:pic>
      <p:pic>
        <p:nvPicPr>
          <p:cNvPr id="17" name="Picture 16">
            <a:extLst>
              <a:ext uri="{FF2B5EF4-FFF2-40B4-BE49-F238E27FC236}">
                <a16:creationId xmlns:a16="http://schemas.microsoft.com/office/drawing/2014/main" id="{C4FF968C-B580-4DAB-BC88-286381C54945}"/>
              </a:ext>
            </a:extLst>
          </p:cNvPr>
          <p:cNvPicPr>
            <a:picLocks/>
          </p:cNvPicPr>
          <p:nvPr userDrawn="1"/>
        </p:nvPicPr>
        <p:blipFill>
          <a:blip r:embed="rId9" cstate="email">
            <a:extLst>
              <a:ext uri="{28A0092B-C50C-407E-A947-70E740481C1C}">
                <a14:useLocalDpi xmlns:a14="http://schemas.microsoft.com/office/drawing/2010/main"/>
              </a:ext>
            </a:extLst>
          </a:blip>
          <a:stretch>
            <a:fillRect/>
          </a:stretch>
        </p:blipFill>
        <p:spPr>
          <a:xfrm>
            <a:off x="217487" y="3584512"/>
            <a:ext cx="877900" cy="432854"/>
          </a:xfrm>
          <a:prstGeom prst="rect">
            <a:avLst/>
          </a:prstGeom>
        </p:spPr>
      </p:pic>
      <p:pic>
        <p:nvPicPr>
          <p:cNvPr id="27" name="Picture 26">
            <a:extLst>
              <a:ext uri="{FF2B5EF4-FFF2-40B4-BE49-F238E27FC236}">
                <a16:creationId xmlns:a16="http://schemas.microsoft.com/office/drawing/2014/main" id="{E533233D-FF65-4158-B09F-80FAB624736F}"/>
              </a:ext>
            </a:extLst>
          </p:cNvPr>
          <p:cNvPicPr>
            <a:picLocks/>
          </p:cNvPicPr>
          <p:nvPr userDrawn="1"/>
        </p:nvPicPr>
        <p:blipFill>
          <a:blip r:embed="rId10" cstate="email">
            <a:extLst>
              <a:ext uri="{28A0092B-C50C-407E-A947-70E740481C1C}">
                <a14:useLocalDpi xmlns:a14="http://schemas.microsoft.com/office/drawing/2010/main"/>
              </a:ext>
            </a:extLst>
          </a:blip>
          <a:stretch>
            <a:fillRect/>
          </a:stretch>
        </p:blipFill>
        <p:spPr>
          <a:xfrm>
            <a:off x="211674" y="3796035"/>
            <a:ext cx="1396105" cy="432854"/>
          </a:xfrm>
          <a:prstGeom prst="rect">
            <a:avLst/>
          </a:prstGeom>
        </p:spPr>
      </p:pic>
      <p:pic>
        <p:nvPicPr>
          <p:cNvPr id="28" name="Picture 27">
            <a:extLst>
              <a:ext uri="{FF2B5EF4-FFF2-40B4-BE49-F238E27FC236}">
                <a16:creationId xmlns:a16="http://schemas.microsoft.com/office/drawing/2014/main" id="{19F8A69F-F0D8-4431-B020-CEC70DFDC9B3}"/>
              </a:ext>
            </a:extLst>
          </p:cNvPr>
          <p:cNvPicPr>
            <a:picLocks/>
          </p:cNvPicPr>
          <p:nvPr userDrawn="1"/>
        </p:nvPicPr>
        <p:blipFill>
          <a:blip r:embed="rId11" cstate="email">
            <a:extLst>
              <a:ext uri="{28A0092B-C50C-407E-A947-70E740481C1C}">
                <a14:useLocalDpi xmlns:a14="http://schemas.microsoft.com/office/drawing/2010/main"/>
              </a:ext>
            </a:extLst>
          </a:blip>
          <a:stretch>
            <a:fillRect/>
          </a:stretch>
        </p:blipFill>
        <p:spPr>
          <a:xfrm>
            <a:off x="202527" y="4014119"/>
            <a:ext cx="920576" cy="426757"/>
          </a:xfrm>
          <a:prstGeom prst="rect">
            <a:avLst/>
          </a:prstGeom>
        </p:spPr>
      </p:pic>
      <p:pic>
        <p:nvPicPr>
          <p:cNvPr id="29" name="Picture 28">
            <a:extLst>
              <a:ext uri="{FF2B5EF4-FFF2-40B4-BE49-F238E27FC236}">
                <a16:creationId xmlns:a16="http://schemas.microsoft.com/office/drawing/2014/main" id="{4F51E614-D128-43BB-B85B-E8E6874AB62C}"/>
              </a:ext>
            </a:extLst>
          </p:cNvPr>
          <p:cNvPicPr>
            <a:picLocks/>
          </p:cNvPicPr>
          <p:nvPr userDrawn="1"/>
        </p:nvPicPr>
        <p:blipFill>
          <a:blip r:embed="rId12" cstate="email">
            <a:extLst>
              <a:ext uri="{28A0092B-C50C-407E-A947-70E740481C1C}">
                <a14:useLocalDpi xmlns:a14="http://schemas.microsoft.com/office/drawing/2010/main"/>
              </a:ext>
            </a:extLst>
          </a:blip>
          <a:stretch>
            <a:fillRect/>
          </a:stretch>
        </p:blipFill>
        <p:spPr>
          <a:xfrm>
            <a:off x="209796" y="4233666"/>
            <a:ext cx="1518036" cy="432854"/>
          </a:xfrm>
          <a:prstGeom prst="rect">
            <a:avLst/>
          </a:prstGeom>
        </p:spPr>
      </p:pic>
    </p:spTree>
    <p:extLst>
      <p:ext uri="{BB962C8B-B14F-4D97-AF65-F5344CB8AC3E}">
        <p14:creationId xmlns:p14="http://schemas.microsoft.com/office/powerpoint/2010/main" val="3273598599"/>
      </p:ext>
    </p:extLst>
  </p:cSld>
  <p:clrMapOvr>
    <a:masterClrMapping/>
  </p:clrMapOvr>
  <p:extLst>
    <p:ext uri="{DCECCB84-F9BA-43D5-87BE-67443E8EF086}">
      <p15:sldGuideLst xmlns:p15="http://schemas.microsoft.com/office/powerpoint/2012/main">
        <p15:guide id="1" pos="236" userDrawn="1">
          <p15:clr>
            <a:srgbClr val="FBAE40"/>
          </p15:clr>
        </p15:guide>
        <p15:guide id="2" orient="horz" pos="2160" userDrawn="1">
          <p15:clr>
            <a:srgbClr val="FBAE40"/>
          </p15:clr>
        </p15:guide>
        <p15:guide id="3" orient="horz" pos="2298" userDrawn="1">
          <p15:clr>
            <a:srgbClr val="FBAE40"/>
          </p15:clr>
        </p15:guide>
        <p15:guide id="4" orient="horz" pos="2432" userDrawn="1">
          <p15:clr>
            <a:srgbClr val="FBAE40"/>
          </p15:clr>
        </p15:guide>
        <p15:guide id="5" orient="horz" pos="2568" userDrawn="1">
          <p15:clr>
            <a:srgbClr val="FBAE40"/>
          </p15:clr>
        </p15:guide>
        <p15:guide id="6" orient="horz" pos="2702" userDrawn="1">
          <p15:clr>
            <a:srgbClr val="FBAE40"/>
          </p15:clr>
        </p15:guide>
        <p15:guide id="7" orient="horz" pos="2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blue_client lo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084651690"/>
              </p:ext>
            </p:extLst>
          </p:nvPr>
        </p:nvGraphicFramePr>
        <p:xfrm>
          <a:off x="2121" y="2118"/>
          <a:ext cx="2116" cy="2116"/>
        </p:xfrm>
        <a:graphic>
          <a:graphicData uri="http://schemas.openxmlformats.org/presentationml/2006/ole">
            <mc:AlternateContent xmlns:mc="http://schemas.openxmlformats.org/markup-compatibility/2006">
              <mc:Choice xmlns:v="urn:schemas-microsoft-com:vml" Requires="v">
                <p:oleObj spid="_x0000_s267777" name="think-cell Slide" r:id="rId4" imgW="383" imgH="385" progId="TCLayout.ActiveDocument.1">
                  <p:embed/>
                </p:oleObj>
              </mc:Choice>
              <mc:Fallback>
                <p:oleObj name="think-cell Slide" r:id="rId4" imgW="383" imgH="385" progId="TCLayout.ActiveDocument.1">
                  <p:embed/>
                  <p:pic>
                    <p:nvPicPr>
                      <p:cNvPr id="6" name="Object 5" hidden="1"/>
                      <p:cNvPicPr/>
                      <p:nvPr/>
                    </p:nvPicPr>
                    <p:blipFill>
                      <a:blip r:embed="rId5"/>
                      <a:stretch>
                        <a:fillRect/>
                      </a:stretch>
                    </p:blipFill>
                    <p:spPr>
                      <a:xfrm>
                        <a:off x="2121" y="2118"/>
                        <a:ext cx="2116" cy="2116"/>
                      </a:xfrm>
                      <a:prstGeom prst="rect">
                        <a:avLst/>
                      </a:prstGeom>
                    </p:spPr>
                  </p:pic>
                </p:oleObj>
              </mc:Fallback>
            </mc:AlternateContent>
          </a:graphicData>
        </a:graphic>
      </p:graphicFrame>
      <p:sp>
        <p:nvSpPr>
          <p:cNvPr id="14" name="Rectangle 13"/>
          <p:cNvSpPr>
            <a:spLocks/>
          </p:cNvSpPr>
          <p:nvPr userDrawn="1"/>
        </p:nvSpPr>
        <p:spPr>
          <a:xfrm>
            <a:off x="4234" y="0"/>
            <a:ext cx="12192000" cy="6858000"/>
          </a:xfrm>
          <a:prstGeom prst="rect">
            <a:avLst/>
          </a:prstGeom>
          <a:solidFill>
            <a:srgbClr val="0889A8">
              <a:alpha val="89804"/>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algn="l" defTabSz="914423" rtl="0" eaLnBrk="1" latinLnBrk="0" hangingPunct="1">
              <a:lnSpc>
                <a:spcPct val="100000"/>
              </a:lnSpc>
              <a:spcBef>
                <a:spcPts val="0"/>
              </a:spcBef>
            </a:pPr>
            <a:endParaRPr lang="en-US" sz="1600" kern="1200" dirty="0">
              <a:solidFill>
                <a:schemeClr val="tx1"/>
              </a:solidFill>
              <a:ea typeface="+mn-ea"/>
              <a:cs typeface="Arial" pitchFamily="34" charset="0"/>
            </a:endParaRPr>
          </a:p>
        </p:txBody>
      </p:sp>
      <p:sp>
        <p:nvSpPr>
          <p:cNvPr id="16" name="Text Placeholder 6"/>
          <p:cNvSpPr>
            <a:spLocks noGrp="1"/>
          </p:cNvSpPr>
          <p:nvPr>
            <p:ph type="body" sz="quarter" idx="13" hasCustomPrompt="1"/>
          </p:nvPr>
        </p:nvSpPr>
        <p:spPr>
          <a:xfrm>
            <a:off x="2813541" y="4130040"/>
            <a:ext cx="6564923" cy="215572"/>
          </a:xfrm>
        </p:spPr>
        <p:txBody>
          <a:bodyPr wrap="square" anchor="t">
            <a:spAutoFit/>
          </a:bodyPr>
          <a:lstStyle>
            <a:lvl1pPr marL="0" indent="0" algn="ctr">
              <a:spcAft>
                <a:spcPts val="0"/>
              </a:spcAft>
              <a:buNone/>
              <a:defRPr sz="1401" cap="all" spc="300" baseline="0">
                <a:solidFill>
                  <a:schemeClr val="bg1"/>
                </a:solidFill>
              </a:defRPr>
            </a:lvl1pPr>
            <a:lvl2pPr>
              <a:defRPr/>
            </a:lvl2pPr>
            <a:lvl3pPr>
              <a:defRPr/>
            </a:lvl3pPr>
            <a:lvl4pPr>
              <a:defRPr/>
            </a:lvl4pPr>
            <a:lvl5pPr>
              <a:defRPr baseline="0"/>
            </a:lvl5pPr>
            <a:lvl6pPr>
              <a:defRPr baseline="0"/>
            </a:lvl6pPr>
            <a:lvl7pPr>
              <a:defRPr baseline="0"/>
            </a:lvl7pPr>
            <a:lvl8pPr>
              <a:defRPr/>
            </a:lvl8pPr>
            <a:lvl9pPr>
              <a:defRPr/>
            </a:lvl9pPr>
          </a:lstStyle>
          <a:p>
            <a:pPr lvl="0"/>
            <a:r>
              <a:rPr lang="en-US" dirty="0"/>
              <a:t>Section one</a:t>
            </a:r>
          </a:p>
        </p:txBody>
      </p:sp>
      <p:sp>
        <p:nvSpPr>
          <p:cNvPr id="17" name="Text Placeholder 6"/>
          <p:cNvSpPr>
            <a:spLocks noGrp="1"/>
          </p:cNvSpPr>
          <p:nvPr>
            <p:ph type="body" sz="quarter" idx="14" hasCustomPrompt="1"/>
          </p:nvPr>
        </p:nvSpPr>
        <p:spPr>
          <a:xfrm>
            <a:off x="1312986" y="2022481"/>
            <a:ext cx="9566031" cy="1477328"/>
          </a:xfrm>
        </p:spPr>
        <p:txBody>
          <a:bodyPr wrap="square" anchor="b">
            <a:spAutoFit/>
          </a:bodyPr>
          <a:lstStyle>
            <a:lvl1pPr marL="0" indent="0" algn="ctr">
              <a:buNone/>
              <a:defRPr sz="4800" baseline="0">
                <a:solidFill>
                  <a:schemeClr val="bg1"/>
                </a:solidFill>
                <a:latin typeface="Lato Light" panose="020F0302020204030203" pitchFamily="34" charset="0"/>
              </a:defRPr>
            </a:lvl1pPr>
            <a:lvl2pPr>
              <a:defRPr/>
            </a:lvl2pPr>
            <a:lvl3pPr>
              <a:defRPr/>
            </a:lvl3pPr>
            <a:lvl4pPr>
              <a:defRPr/>
            </a:lvl4pPr>
            <a:lvl5pPr>
              <a:defRPr baseline="0"/>
            </a:lvl5pPr>
            <a:lvl6pPr>
              <a:defRPr baseline="0"/>
            </a:lvl6pPr>
            <a:lvl7pPr>
              <a:defRPr baseline="0"/>
            </a:lvl7pPr>
            <a:lvl8pPr>
              <a:defRPr/>
            </a:lvl8pPr>
            <a:lvl9pPr>
              <a:defRPr/>
            </a:lvl9pPr>
          </a:lstStyle>
          <a:p>
            <a:pPr lvl="0"/>
            <a:r>
              <a:rPr lang="en-US" dirty="0"/>
              <a:t>Section Title in </a:t>
            </a:r>
            <a:r>
              <a:rPr lang="en-US" dirty="0" err="1"/>
              <a:t>Lato</a:t>
            </a:r>
            <a:r>
              <a:rPr lang="en-US" dirty="0"/>
              <a:t> Light</a:t>
            </a:r>
            <a:br>
              <a:rPr lang="en-US" dirty="0"/>
            </a:br>
            <a:r>
              <a:rPr lang="en-US" dirty="0"/>
              <a:t>48 points</a:t>
            </a:r>
          </a:p>
        </p:txBody>
      </p:sp>
      <p:grpSp>
        <p:nvGrpSpPr>
          <p:cNvPr id="18" name="Group 17">
            <a:extLst>
              <a:ext uri="{FF2B5EF4-FFF2-40B4-BE49-F238E27FC236}">
                <a16:creationId xmlns:a16="http://schemas.microsoft.com/office/drawing/2014/main" id="{F21426C6-421F-C843-8E75-758EBA0C6474}"/>
              </a:ext>
            </a:extLst>
          </p:cNvPr>
          <p:cNvGrpSpPr/>
          <p:nvPr userDrawn="1"/>
        </p:nvGrpSpPr>
        <p:grpSpPr>
          <a:xfrm>
            <a:off x="856263" y="907813"/>
            <a:ext cx="10479479" cy="4421054"/>
            <a:chOff x="733144" y="917932"/>
            <a:chExt cx="8514577" cy="4421054"/>
          </a:xfrm>
        </p:grpSpPr>
        <p:sp>
          <p:nvSpPr>
            <p:cNvPr id="19" name="Rectangle 2">
              <a:extLst>
                <a:ext uri="{FF2B5EF4-FFF2-40B4-BE49-F238E27FC236}">
                  <a16:creationId xmlns:a16="http://schemas.microsoft.com/office/drawing/2014/main" id="{D47781E6-69B4-2C41-BC0D-98606BC3A887}"/>
                </a:ext>
              </a:extLst>
            </p:cNvPr>
            <p:cNvSpPr>
              <a:spLocks noChangeAspect="1"/>
            </p:cNvSpPr>
            <p:nvPr userDrawn="1"/>
          </p:nvSpPr>
          <p:spPr>
            <a:xfrm>
              <a:off x="8973401" y="917932"/>
              <a:ext cx="274320" cy="126755"/>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30" indent="-174630">
                <a:buFont typeface="Arial" panose="020B0604020202020204" pitchFamily="34" charset="0"/>
                <a:buChar char="•"/>
              </a:pPr>
              <a:endParaRPr lang="en-US" sz="1600">
                <a:solidFill>
                  <a:schemeClr val="tx1"/>
                </a:solidFill>
                <a:latin typeface="+mj-lt"/>
                <a:cs typeface="Arial" pitchFamily="34" charset="0"/>
              </a:endParaRPr>
            </a:p>
          </p:txBody>
        </p:sp>
        <p:sp>
          <p:nvSpPr>
            <p:cNvPr id="22" name="Rectangle 2">
              <a:extLst>
                <a:ext uri="{FF2B5EF4-FFF2-40B4-BE49-F238E27FC236}">
                  <a16:creationId xmlns:a16="http://schemas.microsoft.com/office/drawing/2014/main" id="{BFA531CA-85C6-124A-8B0F-C1CA2A760323}"/>
                </a:ext>
              </a:extLst>
            </p:cNvPr>
            <p:cNvSpPr>
              <a:spLocks noChangeAspect="1"/>
            </p:cNvSpPr>
            <p:nvPr userDrawn="1"/>
          </p:nvSpPr>
          <p:spPr>
            <a:xfrm flipH="1" flipV="1">
              <a:off x="733144" y="5212231"/>
              <a:ext cx="274320" cy="126755"/>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30" indent="-174630">
                <a:buFont typeface="Arial" panose="020B0604020202020204" pitchFamily="34" charset="0"/>
                <a:buChar char="•"/>
              </a:pPr>
              <a:endParaRPr lang="en-US" sz="1600">
                <a:solidFill>
                  <a:schemeClr val="tx1"/>
                </a:solidFill>
                <a:latin typeface="+mj-lt"/>
                <a:cs typeface="Arial" pitchFamily="34" charset="0"/>
              </a:endParaRPr>
            </a:p>
          </p:txBody>
        </p:sp>
      </p:grpSp>
      <p:sp>
        <p:nvSpPr>
          <p:cNvPr id="20" name="Rectangle 19">
            <a:extLst>
              <a:ext uri="{FF2B5EF4-FFF2-40B4-BE49-F238E27FC236}">
                <a16:creationId xmlns:a16="http://schemas.microsoft.com/office/drawing/2014/main" id="{D330D06E-9FD4-4B42-9546-12CDC51263D4}"/>
              </a:ext>
            </a:extLst>
          </p:cNvPr>
          <p:cNvSpPr/>
          <p:nvPr userDrawn="1"/>
        </p:nvSpPr>
        <p:spPr>
          <a:xfrm>
            <a:off x="16078" y="6165851"/>
            <a:ext cx="12192000" cy="69215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algn="l" defTabSz="914423" rtl="0" eaLnBrk="1" latinLnBrk="0" hangingPunct="1">
              <a:lnSpc>
                <a:spcPct val="100000"/>
              </a:lnSpc>
              <a:spcBef>
                <a:spcPts val="0"/>
              </a:spcBef>
            </a:pPr>
            <a:endParaRPr lang="en-US" sz="1600" kern="1200" dirty="0">
              <a:solidFill>
                <a:schemeClr val="tx1"/>
              </a:solidFill>
              <a:ea typeface="+mn-ea"/>
              <a:cs typeface="Arial" pitchFamily="34" charset="0"/>
            </a:endParaRPr>
          </a:p>
        </p:txBody>
      </p:sp>
      <p:sp>
        <p:nvSpPr>
          <p:cNvPr id="21" name="Picture Placeholder 4">
            <a:extLst>
              <a:ext uri="{FF2B5EF4-FFF2-40B4-BE49-F238E27FC236}">
                <a16:creationId xmlns:a16="http://schemas.microsoft.com/office/drawing/2014/main" id="{3F177AED-8C27-CF40-865F-9C24EE2859D7}"/>
              </a:ext>
            </a:extLst>
          </p:cNvPr>
          <p:cNvSpPr>
            <a:spLocks noGrp="1"/>
          </p:cNvSpPr>
          <p:nvPr>
            <p:ph type="pic" sz="quarter" idx="19" hasCustomPrompt="1"/>
          </p:nvPr>
        </p:nvSpPr>
        <p:spPr>
          <a:xfrm>
            <a:off x="4269588" y="6321805"/>
            <a:ext cx="3652828" cy="399402"/>
          </a:xfrm>
        </p:spPr>
        <p:txBody>
          <a:bodyPr anchor="ctr">
            <a:noAutofit/>
          </a:bodyPr>
          <a:lstStyle>
            <a:lvl1pPr marL="0" indent="0" algn="ctr">
              <a:buNone/>
              <a:defRPr>
                <a:solidFill>
                  <a:srgbClr val="606060"/>
                </a:solidFill>
              </a:defRPr>
            </a:lvl1pPr>
          </a:lstStyle>
          <a:p>
            <a:r>
              <a:rPr lang="en-US" dirty="0"/>
              <a:t>Click icon to add client logo</a:t>
            </a:r>
          </a:p>
        </p:txBody>
      </p:sp>
      <p:sp>
        <p:nvSpPr>
          <p:cNvPr id="13" name="Text Placeholder 3">
            <a:extLst>
              <a:ext uri="{FF2B5EF4-FFF2-40B4-BE49-F238E27FC236}">
                <a16:creationId xmlns:a16="http://schemas.microsoft.com/office/drawing/2014/main" id="{576E40FD-5C80-4E1A-B62F-6D1BC34F378C}"/>
              </a:ext>
            </a:extLst>
          </p:cNvPr>
          <p:cNvSpPr>
            <a:spLocks noGrp="1"/>
          </p:cNvSpPr>
          <p:nvPr>
            <p:ph type="body" sz="quarter" idx="20" hasCustomPrompt="1"/>
          </p:nvPr>
        </p:nvSpPr>
        <p:spPr>
          <a:xfrm>
            <a:off x="7906978" y="519933"/>
            <a:ext cx="2571262" cy="1254125"/>
          </a:xfrm>
        </p:spPr>
        <p:txBody>
          <a:bodyPr/>
          <a:lstStyle>
            <a:lvl1pPr marL="0" indent="0">
              <a:buNone/>
              <a:defRPr i="1">
                <a:solidFill>
                  <a:schemeClr val="bg1"/>
                </a:solidFill>
              </a:defRPr>
            </a:lvl1pPr>
          </a:lstStyle>
          <a:p>
            <a:pPr lvl="0"/>
            <a:r>
              <a:rPr lang="en-ZA" dirty="0"/>
              <a:t>To insert photo overlay, refer to instructions at end of deck</a:t>
            </a:r>
          </a:p>
        </p:txBody>
      </p:sp>
    </p:spTree>
    <p:extLst>
      <p:ext uri="{BB962C8B-B14F-4D97-AF65-F5344CB8AC3E}">
        <p14:creationId xmlns:p14="http://schemas.microsoft.com/office/powerpoint/2010/main" val="163784527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divider_yellow_client lo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977217614"/>
              </p:ext>
            </p:extLst>
          </p:nvPr>
        </p:nvGraphicFramePr>
        <p:xfrm>
          <a:off x="2121" y="2118"/>
          <a:ext cx="2116" cy="2116"/>
        </p:xfrm>
        <a:graphic>
          <a:graphicData uri="http://schemas.openxmlformats.org/presentationml/2006/ole">
            <mc:AlternateContent xmlns:mc="http://schemas.openxmlformats.org/markup-compatibility/2006">
              <mc:Choice xmlns:v="urn:schemas-microsoft-com:vml" Requires="v">
                <p:oleObj spid="_x0000_s366034" name="think-cell Slide" r:id="rId4" imgW="383" imgH="385" progId="TCLayout.ActiveDocument.1">
                  <p:embed/>
                </p:oleObj>
              </mc:Choice>
              <mc:Fallback>
                <p:oleObj name="think-cell Slide" r:id="rId4" imgW="383" imgH="385" progId="TCLayout.ActiveDocument.1">
                  <p:embed/>
                  <p:pic>
                    <p:nvPicPr>
                      <p:cNvPr id="6" name="Object 5" hidden="1"/>
                      <p:cNvPicPr/>
                      <p:nvPr/>
                    </p:nvPicPr>
                    <p:blipFill>
                      <a:blip r:embed="rId5"/>
                      <a:stretch>
                        <a:fillRect/>
                      </a:stretch>
                    </p:blipFill>
                    <p:spPr>
                      <a:xfrm>
                        <a:off x="2121" y="2118"/>
                        <a:ext cx="2116" cy="2116"/>
                      </a:xfrm>
                      <a:prstGeom prst="rect">
                        <a:avLst/>
                      </a:prstGeom>
                    </p:spPr>
                  </p:pic>
                </p:oleObj>
              </mc:Fallback>
            </mc:AlternateContent>
          </a:graphicData>
        </a:graphic>
      </p:graphicFrame>
      <p:sp>
        <p:nvSpPr>
          <p:cNvPr id="14" name="Rectangle 13"/>
          <p:cNvSpPr>
            <a:spLocks/>
          </p:cNvSpPr>
          <p:nvPr userDrawn="1"/>
        </p:nvSpPr>
        <p:spPr>
          <a:xfrm>
            <a:off x="4235" y="0"/>
            <a:ext cx="12175922" cy="6858000"/>
          </a:xfrm>
          <a:prstGeom prst="rect">
            <a:avLst/>
          </a:prstGeom>
          <a:solidFill>
            <a:srgbClr val="F3B11C">
              <a:alpha val="89804"/>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algn="l" defTabSz="914423" rtl="0" eaLnBrk="1" latinLnBrk="0" hangingPunct="1">
              <a:lnSpc>
                <a:spcPct val="100000"/>
              </a:lnSpc>
              <a:spcBef>
                <a:spcPts val="0"/>
              </a:spcBef>
            </a:pPr>
            <a:endParaRPr lang="en-US" sz="1600" kern="1200" dirty="0">
              <a:solidFill>
                <a:schemeClr val="tx1"/>
              </a:solidFill>
              <a:ea typeface="+mn-ea"/>
              <a:cs typeface="Arial" pitchFamily="34" charset="0"/>
            </a:endParaRPr>
          </a:p>
        </p:txBody>
      </p:sp>
      <p:sp>
        <p:nvSpPr>
          <p:cNvPr id="16" name="Text Placeholder 6"/>
          <p:cNvSpPr>
            <a:spLocks noGrp="1"/>
          </p:cNvSpPr>
          <p:nvPr>
            <p:ph type="body" sz="quarter" idx="13" hasCustomPrompt="1"/>
          </p:nvPr>
        </p:nvSpPr>
        <p:spPr>
          <a:xfrm>
            <a:off x="2813541" y="4130040"/>
            <a:ext cx="6564923" cy="215572"/>
          </a:xfrm>
        </p:spPr>
        <p:txBody>
          <a:bodyPr wrap="square" anchor="t">
            <a:spAutoFit/>
          </a:bodyPr>
          <a:lstStyle>
            <a:lvl1pPr marL="0" indent="0" algn="ctr">
              <a:spcAft>
                <a:spcPts val="0"/>
              </a:spcAft>
              <a:buNone/>
              <a:defRPr sz="1401" cap="all" spc="300" baseline="0">
                <a:solidFill>
                  <a:schemeClr val="bg1"/>
                </a:solidFill>
              </a:defRPr>
            </a:lvl1pPr>
            <a:lvl2pPr>
              <a:defRPr/>
            </a:lvl2pPr>
            <a:lvl3pPr>
              <a:defRPr/>
            </a:lvl3pPr>
            <a:lvl4pPr>
              <a:defRPr/>
            </a:lvl4pPr>
            <a:lvl5pPr>
              <a:defRPr baseline="0"/>
            </a:lvl5pPr>
            <a:lvl6pPr>
              <a:defRPr baseline="0"/>
            </a:lvl6pPr>
            <a:lvl7pPr>
              <a:defRPr baseline="0"/>
            </a:lvl7pPr>
            <a:lvl8pPr>
              <a:defRPr/>
            </a:lvl8pPr>
            <a:lvl9pPr>
              <a:defRPr/>
            </a:lvl9pPr>
          </a:lstStyle>
          <a:p>
            <a:pPr lvl="0"/>
            <a:r>
              <a:rPr lang="en-US" dirty="0"/>
              <a:t>Section one</a:t>
            </a:r>
          </a:p>
        </p:txBody>
      </p:sp>
      <p:sp>
        <p:nvSpPr>
          <p:cNvPr id="17" name="Text Placeholder 6"/>
          <p:cNvSpPr>
            <a:spLocks noGrp="1"/>
          </p:cNvSpPr>
          <p:nvPr>
            <p:ph type="body" sz="quarter" idx="14" hasCustomPrompt="1"/>
          </p:nvPr>
        </p:nvSpPr>
        <p:spPr>
          <a:xfrm>
            <a:off x="1312986" y="2022481"/>
            <a:ext cx="9566031" cy="1477328"/>
          </a:xfrm>
        </p:spPr>
        <p:txBody>
          <a:bodyPr wrap="square" anchor="b">
            <a:spAutoFit/>
          </a:bodyPr>
          <a:lstStyle>
            <a:lvl1pPr marL="0" indent="0" algn="ctr">
              <a:buNone/>
              <a:defRPr sz="4800" baseline="0">
                <a:solidFill>
                  <a:schemeClr val="bg1"/>
                </a:solidFill>
                <a:latin typeface="Lato Light" panose="020F0302020204030203" pitchFamily="34" charset="0"/>
              </a:defRPr>
            </a:lvl1pPr>
            <a:lvl2pPr>
              <a:defRPr/>
            </a:lvl2pPr>
            <a:lvl3pPr>
              <a:defRPr/>
            </a:lvl3pPr>
            <a:lvl4pPr>
              <a:defRPr/>
            </a:lvl4pPr>
            <a:lvl5pPr>
              <a:defRPr baseline="0"/>
            </a:lvl5pPr>
            <a:lvl6pPr>
              <a:defRPr baseline="0"/>
            </a:lvl6pPr>
            <a:lvl7pPr>
              <a:defRPr baseline="0"/>
            </a:lvl7pPr>
            <a:lvl8pPr>
              <a:defRPr/>
            </a:lvl8pPr>
            <a:lvl9pPr>
              <a:defRPr/>
            </a:lvl9pPr>
          </a:lstStyle>
          <a:p>
            <a:pPr lvl="0"/>
            <a:r>
              <a:rPr lang="en-US" dirty="0"/>
              <a:t>Section Title in </a:t>
            </a:r>
            <a:r>
              <a:rPr lang="en-US" dirty="0" err="1"/>
              <a:t>Lato</a:t>
            </a:r>
            <a:r>
              <a:rPr lang="en-US" dirty="0"/>
              <a:t> Light</a:t>
            </a:r>
            <a:br>
              <a:rPr lang="en-US" dirty="0"/>
            </a:br>
            <a:r>
              <a:rPr lang="en-US" dirty="0"/>
              <a:t>48 points</a:t>
            </a:r>
          </a:p>
        </p:txBody>
      </p:sp>
      <p:grpSp>
        <p:nvGrpSpPr>
          <p:cNvPr id="18" name="Group 17">
            <a:extLst>
              <a:ext uri="{FF2B5EF4-FFF2-40B4-BE49-F238E27FC236}">
                <a16:creationId xmlns:a16="http://schemas.microsoft.com/office/drawing/2014/main" id="{F21426C6-421F-C843-8E75-758EBA0C6474}"/>
              </a:ext>
            </a:extLst>
          </p:cNvPr>
          <p:cNvGrpSpPr/>
          <p:nvPr userDrawn="1"/>
        </p:nvGrpSpPr>
        <p:grpSpPr>
          <a:xfrm>
            <a:off x="856263" y="907813"/>
            <a:ext cx="10479479" cy="4421054"/>
            <a:chOff x="733144" y="917932"/>
            <a:chExt cx="8514577" cy="4421054"/>
          </a:xfrm>
        </p:grpSpPr>
        <p:sp>
          <p:nvSpPr>
            <p:cNvPr id="19" name="Rectangle 2">
              <a:extLst>
                <a:ext uri="{FF2B5EF4-FFF2-40B4-BE49-F238E27FC236}">
                  <a16:creationId xmlns:a16="http://schemas.microsoft.com/office/drawing/2014/main" id="{D47781E6-69B4-2C41-BC0D-98606BC3A887}"/>
                </a:ext>
              </a:extLst>
            </p:cNvPr>
            <p:cNvSpPr>
              <a:spLocks noChangeAspect="1"/>
            </p:cNvSpPr>
            <p:nvPr userDrawn="1"/>
          </p:nvSpPr>
          <p:spPr>
            <a:xfrm>
              <a:off x="8973401" y="917932"/>
              <a:ext cx="274320" cy="126755"/>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30" indent="-174630">
                <a:buFont typeface="Arial" panose="020B0604020202020204" pitchFamily="34" charset="0"/>
                <a:buChar char="•"/>
              </a:pPr>
              <a:endParaRPr lang="en-US" sz="1600">
                <a:solidFill>
                  <a:schemeClr val="tx1"/>
                </a:solidFill>
                <a:latin typeface="+mj-lt"/>
                <a:cs typeface="Arial" pitchFamily="34" charset="0"/>
              </a:endParaRPr>
            </a:p>
          </p:txBody>
        </p:sp>
        <p:sp>
          <p:nvSpPr>
            <p:cNvPr id="22" name="Rectangle 2">
              <a:extLst>
                <a:ext uri="{FF2B5EF4-FFF2-40B4-BE49-F238E27FC236}">
                  <a16:creationId xmlns:a16="http://schemas.microsoft.com/office/drawing/2014/main" id="{BFA531CA-85C6-124A-8B0F-C1CA2A760323}"/>
                </a:ext>
              </a:extLst>
            </p:cNvPr>
            <p:cNvSpPr>
              <a:spLocks noChangeAspect="1"/>
            </p:cNvSpPr>
            <p:nvPr userDrawn="1"/>
          </p:nvSpPr>
          <p:spPr>
            <a:xfrm flipH="1" flipV="1">
              <a:off x="733144" y="5212231"/>
              <a:ext cx="274320" cy="126755"/>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30" indent="-174630">
                <a:buFont typeface="Arial" panose="020B0604020202020204" pitchFamily="34" charset="0"/>
                <a:buChar char="•"/>
              </a:pPr>
              <a:endParaRPr lang="en-US" sz="1600">
                <a:solidFill>
                  <a:schemeClr val="tx1"/>
                </a:solidFill>
                <a:latin typeface="+mj-lt"/>
                <a:cs typeface="Arial" pitchFamily="34" charset="0"/>
              </a:endParaRPr>
            </a:p>
          </p:txBody>
        </p:sp>
      </p:grpSp>
      <p:sp>
        <p:nvSpPr>
          <p:cNvPr id="20" name="Rectangle 19">
            <a:extLst>
              <a:ext uri="{FF2B5EF4-FFF2-40B4-BE49-F238E27FC236}">
                <a16:creationId xmlns:a16="http://schemas.microsoft.com/office/drawing/2014/main" id="{D330D06E-9FD4-4B42-9546-12CDC51263D4}"/>
              </a:ext>
            </a:extLst>
          </p:cNvPr>
          <p:cNvSpPr/>
          <p:nvPr userDrawn="1"/>
        </p:nvSpPr>
        <p:spPr>
          <a:xfrm>
            <a:off x="0" y="6165851"/>
            <a:ext cx="12192000" cy="69215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algn="l" defTabSz="914423" rtl="0" eaLnBrk="1" latinLnBrk="0" hangingPunct="1">
              <a:lnSpc>
                <a:spcPct val="100000"/>
              </a:lnSpc>
              <a:spcBef>
                <a:spcPts val="0"/>
              </a:spcBef>
            </a:pPr>
            <a:endParaRPr lang="en-US" sz="1600" kern="1200" dirty="0">
              <a:solidFill>
                <a:schemeClr val="tx1"/>
              </a:solidFill>
              <a:ea typeface="+mn-ea"/>
              <a:cs typeface="Arial" pitchFamily="34" charset="0"/>
            </a:endParaRPr>
          </a:p>
        </p:txBody>
      </p:sp>
      <p:sp>
        <p:nvSpPr>
          <p:cNvPr id="21" name="Picture Placeholder 4">
            <a:extLst>
              <a:ext uri="{FF2B5EF4-FFF2-40B4-BE49-F238E27FC236}">
                <a16:creationId xmlns:a16="http://schemas.microsoft.com/office/drawing/2014/main" id="{3F177AED-8C27-CF40-865F-9C24EE2859D7}"/>
              </a:ext>
            </a:extLst>
          </p:cNvPr>
          <p:cNvSpPr>
            <a:spLocks noGrp="1"/>
          </p:cNvSpPr>
          <p:nvPr>
            <p:ph type="pic" sz="quarter" idx="19" hasCustomPrompt="1"/>
          </p:nvPr>
        </p:nvSpPr>
        <p:spPr>
          <a:xfrm>
            <a:off x="4269588" y="6321805"/>
            <a:ext cx="3652828" cy="399402"/>
          </a:xfrm>
        </p:spPr>
        <p:txBody>
          <a:bodyPr anchor="ctr">
            <a:noAutofit/>
          </a:bodyPr>
          <a:lstStyle>
            <a:lvl1pPr marL="0" indent="0" algn="ctr">
              <a:buNone/>
              <a:defRPr>
                <a:solidFill>
                  <a:srgbClr val="606060"/>
                </a:solidFill>
              </a:defRPr>
            </a:lvl1pPr>
          </a:lstStyle>
          <a:p>
            <a:r>
              <a:rPr lang="en-US" dirty="0"/>
              <a:t>Click icon to add client logo</a:t>
            </a:r>
          </a:p>
        </p:txBody>
      </p:sp>
      <p:sp>
        <p:nvSpPr>
          <p:cNvPr id="12" name="Text Placeholder 3">
            <a:extLst>
              <a:ext uri="{FF2B5EF4-FFF2-40B4-BE49-F238E27FC236}">
                <a16:creationId xmlns:a16="http://schemas.microsoft.com/office/drawing/2014/main" id="{8DF6073C-B13B-4941-9CFE-2D8460CB48E2}"/>
              </a:ext>
            </a:extLst>
          </p:cNvPr>
          <p:cNvSpPr>
            <a:spLocks noGrp="1"/>
          </p:cNvSpPr>
          <p:nvPr>
            <p:ph type="body" sz="quarter" idx="20" hasCustomPrompt="1"/>
          </p:nvPr>
        </p:nvSpPr>
        <p:spPr>
          <a:xfrm>
            <a:off x="7906978" y="519933"/>
            <a:ext cx="2571262" cy="1254125"/>
          </a:xfrm>
        </p:spPr>
        <p:txBody>
          <a:bodyPr/>
          <a:lstStyle>
            <a:lvl1pPr marL="0" indent="0">
              <a:buNone/>
              <a:defRPr i="1">
                <a:solidFill>
                  <a:schemeClr val="bg1"/>
                </a:solidFill>
              </a:defRPr>
            </a:lvl1pPr>
          </a:lstStyle>
          <a:p>
            <a:pPr lvl="0"/>
            <a:r>
              <a:rPr lang="en-ZA" dirty="0"/>
              <a:t>To insert photo overlay, refer to instructions at end of deck</a:t>
            </a:r>
          </a:p>
        </p:txBody>
      </p:sp>
    </p:spTree>
    <p:extLst>
      <p:ext uri="{BB962C8B-B14F-4D97-AF65-F5344CB8AC3E}">
        <p14:creationId xmlns:p14="http://schemas.microsoft.com/office/powerpoint/2010/main" val="40456261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divider_grey_client logo">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688519745"/>
              </p:ext>
            </p:extLst>
          </p:nvPr>
        </p:nvGraphicFramePr>
        <p:xfrm>
          <a:off x="2121" y="2118"/>
          <a:ext cx="2116" cy="2116"/>
        </p:xfrm>
        <a:graphic>
          <a:graphicData uri="http://schemas.openxmlformats.org/presentationml/2006/ole">
            <mc:AlternateContent xmlns:mc="http://schemas.openxmlformats.org/markup-compatibility/2006">
              <mc:Choice xmlns:v="urn:schemas-microsoft-com:vml" Requires="v">
                <p:oleObj spid="_x0000_s367058" name="think-cell Slide" r:id="rId4" imgW="383" imgH="385" progId="TCLayout.ActiveDocument.1">
                  <p:embed/>
                </p:oleObj>
              </mc:Choice>
              <mc:Fallback>
                <p:oleObj name="think-cell Slide" r:id="rId4" imgW="383" imgH="385" progId="TCLayout.ActiveDocument.1">
                  <p:embed/>
                  <p:pic>
                    <p:nvPicPr>
                      <p:cNvPr id="6" name="Object 5" hidden="1"/>
                      <p:cNvPicPr/>
                      <p:nvPr/>
                    </p:nvPicPr>
                    <p:blipFill>
                      <a:blip r:embed="rId5"/>
                      <a:stretch>
                        <a:fillRect/>
                      </a:stretch>
                    </p:blipFill>
                    <p:spPr>
                      <a:xfrm>
                        <a:off x="2121" y="2118"/>
                        <a:ext cx="2116" cy="2116"/>
                      </a:xfrm>
                      <a:prstGeom prst="rect">
                        <a:avLst/>
                      </a:prstGeom>
                    </p:spPr>
                  </p:pic>
                </p:oleObj>
              </mc:Fallback>
            </mc:AlternateContent>
          </a:graphicData>
        </a:graphic>
      </p:graphicFrame>
      <p:sp>
        <p:nvSpPr>
          <p:cNvPr id="14" name="Rectangle 13"/>
          <p:cNvSpPr>
            <a:spLocks/>
          </p:cNvSpPr>
          <p:nvPr userDrawn="1"/>
        </p:nvSpPr>
        <p:spPr>
          <a:xfrm>
            <a:off x="0" y="0"/>
            <a:ext cx="12192000" cy="6858000"/>
          </a:xfrm>
          <a:prstGeom prst="rect">
            <a:avLst/>
          </a:prstGeom>
          <a:solidFill>
            <a:srgbClr val="918A87">
              <a:alpha val="89804"/>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algn="l" defTabSz="914423" rtl="0" eaLnBrk="1" latinLnBrk="0" hangingPunct="1">
              <a:lnSpc>
                <a:spcPct val="100000"/>
              </a:lnSpc>
              <a:spcBef>
                <a:spcPts val="0"/>
              </a:spcBef>
            </a:pPr>
            <a:endParaRPr lang="en-US" sz="1600" kern="1200" dirty="0">
              <a:solidFill>
                <a:schemeClr val="tx1"/>
              </a:solidFill>
              <a:ea typeface="+mn-ea"/>
              <a:cs typeface="Arial" pitchFamily="34" charset="0"/>
            </a:endParaRPr>
          </a:p>
        </p:txBody>
      </p:sp>
      <p:sp>
        <p:nvSpPr>
          <p:cNvPr id="16" name="Text Placeholder 6"/>
          <p:cNvSpPr>
            <a:spLocks noGrp="1"/>
          </p:cNvSpPr>
          <p:nvPr>
            <p:ph type="body" sz="quarter" idx="13" hasCustomPrompt="1"/>
          </p:nvPr>
        </p:nvSpPr>
        <p:spPr>
          <a:xfrm>
            <a:off x="2813541" y="4130040"/>
            <a:ext cx="6564923" cy="215572"/>
          </a:xfrm>
        </p:spPr>
        <p:txBody>
          <a:bodyPr wrap="square" anchor="t">
            <a:spAutoFit/>
          </a:bodyPr>
          <a:lstStyle>
            <a:lvl1pPr marL="0" indent="0" algn="ctr">
              <a:spcAft>
                <a:spcPts val="0"/>
              </a:spcAft>
              <a:buNone/>
              <a:defRPr sz="1401" cap="all" spc="300" baseline="0">
                <a:solidFill>
                  <a:schemeClr val="bg1"/>
                </a:solidFill>
              </a:defRPr>
            </a:lvl1pPr>
            <a:lvl2pPr>
              <a:defRPr/>
            </a:lvl2pPr>
            <a:lvl3pPr>
              <a:defRPr/>
            </a:lvl3pPr>
            <a:lvl4pPr>
              <a:defRPr/>
            </a:lvl4pPr>
            <a:lvl5pPr>
              <a:defRPr baseline="0"/>
            </a:lvl5pPr>
            <a:lvl6pPr>
              <a:defRPr baseline="0"/>
            </a:lvl6pPr>
            <a:lvl7pPr>
              <a:defRPr baseline="0"/>
            </a:lvl7pPr>
            <a:lvl8pPr>
              <a:defRPr/>
            </a:lvl8pPr>
            <a:lvl9pPr>
              <a:defRPr/>
            </a:lvl9pPr>
          </a:lstStyle>
          <a:p>
            <a:pPr lvl="0"/>
            <a:r>
              <a:rPr lang="en-US" dirty="0"/>
              <a:t>Section one</a:t>
            </a:r>
          </a:p>
        </p:txBody>
      </p:sp>
      <p:sp>
        <p:nvSpPr>
          <p:cNvPr id="17" name="Text Placeholder 6"/>
          <p:cNvSpPr>
            <a:spLocks noGrp="1"/>
          </p:cNvSpPr>
          <p:nvPr>
            <p:ph type="body" sz="quarter" idx="14" hasCustomPrompt="1"/>
          </p:nvPr>
        </p:nvSpPr>
        <p:spPr>
          <a:xfrm>
            <a:off x="1312986" y="2022481"/>
            <a:ext cx="9566031" cy="1477328"/>
          </a:xfrm>
        </p:spPr>
        <p:txBody>
          <a:bodyPr wrap="square" anchor="b">
            <a:spAutoFit/>
          </a:bodyPr>
          <a:lstStyle>
            <a:lvl1pPr marL="0" indent="0" algn="ctr">
              <a:buNone/>
              <a:defRPr sz="4800" baseline="0">
                <a:solidFill>
                  <a:schemeClr val="bg1"/>
                </a:solidFill>
                <a:latin typeface="Lato Light" panose="020F0302020204030203" pitchFamily="34" charset="0"/>
              </a:defRPr>
            </a:lvl1pPr>
            <a:lvl2pPr>
              <a:defRPr/>
            </a:lvl2pPr>
            <a:lvl3pPr>
              <a:defRPr/>
            </a:lvl3pPr>
            <a:lvl4pPr>
              <a:defRPr/>
            </a:lvl4pPr>
            <a:lvl5pPr>
              <a:defRPr baseline="0"/>
            </a:lvl5pPr>
            <a:lvl6pPr>
              <a:defRPr baseline="0"/>
            </a:lvl6pPr>
            <a:lvl7pPr>
              <a:defRPr baseline="0"/>
            </a:lvl7pPr>
            <a:lvl8pPr>
              <a:defRPr/>
            </a:lvl8pPr>
            <a:lvl9pPr>
              <a:defRPr/>
            </a:lvl9pPr>
          </a:lstStyle>
          <a:p>
            <a:pPr lvl="0"/>
            <a:r>
              <a:rPr lang="en-US" dirty="0"/>
              <a:t>Section Title in </a:t>
            </a:r>
            <a:r>
              <a:rPr lang="en-US" dirty="0" err="1"/>
              <a:t>Lato</a:t>
            </a:r>
            <a:r>
              <a:rPr lang="en-US" dirty="0"/>
              <a:t> Light</a:t>
            </a:r>
            <a:br>
              <a:rPr lang="en-US" dirty="0"/>
            </a:br>
            <a:r>
              <a:rPr lang="en-US" dirty="0"/>
              <a:t>48 points</a:t>
            </a:r>
          </a:p>
        </p:txBody>
      </p:sp>
      <p:grpSp>
        <p:nvGrpSpPr>
          <p:cNvPr id="18" name="Group 17">
            <a:extLst>
              <a:ext uri="{FF2B5EF4-FFF2-40B4-BE49-F238E27FC236}">
                <a16:creationId xmlns:a16="http://schemas.microsoft.com/office/drawing/2014/main" id="{F21426C6-421F-C843-8E75-758EBA0C6474}"/>
              </a:ext>
            </a:extLst>
          </p:cNvPr>
          <p:cNvGrpSpPr/>
          <p:nvPr userDrawn="1"/>
        </p:nvGrpSpPr>
        <p:grpSpPr>
          <a:xfrm>
            <a:off x="856263" y="907813"/>
            <a:ext cx="10479479" cy="4421054"/>
            <a:chOff x="733144" y="917932"/>
            <a:chExt cx="8514577" cy="4421054"/>
          </a:xfrm>
        </p:grpSpPr>
        <p:sp>
          <p:nvSpPr>
            <p:cNvPr id="19" name="Rectangle 2">
              <a:extLst>
                <a:ext uri="{FF2B5EF4-FFF2-40B4-BE49-F238E27FC236}">
                  <a16:creationId xmlns:a16="http://schemas.microsoft.com/office/drawing/2014/main" id="{D47781E6-69B4-2C41-BC0D-98606BC3A887}"/>
                </a:ext>
              </a:extLst>
            </p:cNvPr>
            <p:cNvSpPr>
              <a:spLocks noChangeAspect="1"/>
            </p:cNvSpPr>
            <p:nvPr userDrawn="1"/>
          </p:nvSpPr>
          <p:spPr>
            <a:xfrm>
              <a:off x="8973401" y="917932"/>
              <a:ext cx="274320" cy="126755"/>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30" indent="-174630">
                <a:buFont typeface="Arial" panose="020B0604020202020204" pitchFamily="34" charset="0"/>
                <a:buChar char="•"/>
              </a:pPr>
              <a:endParaRPr lang="en-US" sz="1600">
                <a:solidFill>
                  <a:schemeClr val="tx1"/>
                </a:solidFill>
                <a:latin typeface="+mj-lt"/>
                <a:cs typeface="Arial" pitchFamily="34" charset="0"/>
              </a:endParaRPr>
            </a:p>
          </p:txBody>
        </p:sp>
        <p:sp>
          <p:nvSpPr>
            <p:cNvPr id="22" name="Rectangle 2">
              <a:extLst>
                <a:ext uri="{FF2B5EF4-FFF2-40B4-BE49-F238E27FC236}">
                  <a16:creationId xmlns:a16="http://schemas.microsoft.com/office/drawing/2014/main" id="{BFA531CA-85C6-124A-8B0F-C1CA2A760323}"/>
                </a:ext>
              </a:extLst>
            </p:cNvPr>
            <p:cNvSpPr>
              <a:spLocks noChangeAspect="1"/>
            </p:cNvSpPr>
            <p:nvPr userDrawn="1"/>
          </p:nvSpPr>
          <p:spPr>
            <a:xfrm flipH="1" flipV="1">
              <a:off x="733144" y="5212231"/>
              <a:ext cx="274320" cy="126755"/>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30" indent="-174630">
                <a:buFont typeface="Arial" panose="020B0604020202020204" pitchFamily="34" charset="0"/>
                <a:buChar char="•"/>
              </a:pPr>
              <a:endParaRPr lang="en-US" sz="1600">
                <a:solidFill>
                  <a:schemeClr val="tx1"/>
                </a:solidFill>
                <a:latin typeface="+mj-lt"/>
                <a:cs typeface="Arial" pitchFamily="34" charset="0"/>
              </a:endParaRPr>
            </a:p>
          </p:txBody>
        </p:sp>
      </p:grpSp>
      <p:sp>
        <p:nvSpPr>
          <p:cNvPr id="20" name="Rectangle 19">
            <a:extLst>
              <a:ext uri="{FF2B5EF4-FFF2-40B4-BE49-F238E27FC236}">
                <a16:creationId xmlns:a16="http://schemas.microsoft.com/office/drawing/2014/main" id="{D330D06E-9FD4-4B42-9546-12CDC51263D4}"/>
              </a:ext>
            </a:extLst>
          </p:cNvPr>
          <p:cNvSpPr/>
          <p:nvPr userDrawn="1"/>
        </p:nvSpPr>
        <p:spPr>
          <a:xfrm>
            <a:off x="0" y="6165851"/>
            <a:ext cx="12192000" cy="69215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algn="l" defTabSz="914423" rtl="0" eaLnBrk="1" latinLnBrk="0" hangingPunct="1">
              <a:lnSpc>
                <a:spcPct val="100000"/>
              </a:lnSpc>
              <a:spcBef>
                <a:spcPts val="0"/>
              </a:spcBef>
            </a:pPr>
            <a:endParaRPr lang="en-US" sz="1600" kern="1200" dirty="0">
              <a:solidFill>
                <a:schemeClr val="tx1"/>
              </a:solidFill>
              <a:ea typeface="+mn-ea"/>
              <a:cs typeface="Arial" pitchFamily="34" charset="0"/>
            </a:endParaRPr>
          </a:p>
        </p:txBody>
      </p:sp>
      <p:sp>
        <p:nvSpPr>
          <p:cNvPr id="21" name="Picture Placeholder 4">
            <a:extLst>
              <a:ext uri="{FF2B5EF4-FFF2-40B4-BE49-F238E27FC236}">
                <a16:creationId xmlns:a16="http://schemas.microsoft.com/office/drawing/2014/main" id="{3F177AED-8C27-CF40-865F-9C24EE2859D7}"/>
              </a:ext>
            </a:extLst>
          </p:cNvPr>
          <p:cNvSpPr>
            <a:spLocks noGrp="1"/>
          </p:cNvSpPr>
          <p:nvPr>
            <p:ph type="pic" sz="quarter" idx="19" hasCustomPrompt="1"/>
          </p:nvPr>
        </p:nvSpPr>
        <p:spPr>
          <a:xfrm>
            <a:off x="4269588" y="6321805"/>
            <a:ext cx="3652828" cy="399402"/>
          </a:xfrm>
        </p:spPr>
        <p:txBody>
          <a:bodyPr anchor="ctr">
            <a:noAutofit/>
          </a:bodyPr>
          <a:lstStyle>
            <a:lvl1pPr marL="0" indent="0" algn="ctr">
              <a:buNone/>
              <a:defRPr>
                <a:solidFill>
                  <a:srgbClr val="606060"/>
                </a:solidFill>
              </a:defRPr>
            </a:lvl1pPr>
          </a:lstStyle>
          <a:p>
            <a:r>
              <a:rPr lang="en-US" dirty="0"/>
              <a:t>Click icon to add client logo</a:t>
            </a:r>
          </a:p>
        </p:txBody>
      </p:sp>
      <p:sp>
        <p:nvSpPr>
          <p:cNvPr id="12" name="Text Placeholder 3">
            <a:extLst>
              <a:ext uri="{FF2B5EF4-FFF2-40B4-BE49-F238E27FC236}">
                <a16:creationId xmlns:a16="http://schemas.microsoft.com/office/drawing/2014/main" id="{C0F5E71D-FE01-4DBA-9BC5-503D9818A299}"/>
              </a:ext>
            </a:extLst>
          </p:cNvPr>
          <p:cNvSpPr>
            <a:spLocks noGrp="1"/>
          </p:cNvSpPr>
          <p:nvPr>
            <p:ph type="body" sz="quarter" idx="20" hasCustomPrompt="1"/>
          </p:nvPr>
        </p:nvSpPr>
        <p:spPr>
          <a:xfrm>
            <a:off x="7906978" y="519933"/>
            <a:ext cx="2571262" cy="1254125"/>
          </a:xfrm>
        </p:spPr>
        <p:txBody>
          <a:bodyPr/>
          <a:lstStyle>
            <a:lvl1pPr marL="0" indent="0">
              <a:buNone/>
              <a:defRPr i="1">
                <a:solidFill>
                  <a:schemeClr val="bg1"/>
                </a:solidFill>
              </a:defRPr>
            </a:lvl1pPr>
          </a:lstStyle>
          <a:p>
            <a:pPr lvl="0"/>
            <a:r>
              <a:rPr lang="en-ZA" dirty="0"/>
              <a:t>To insert photo overlay, refer to instructions at end of deck</a:t>
            </a:r>
          </a:p>
        </p:txBody>
      </p:sp>
    </p:spTree>
    <p:extLst>
      <p:ext uri="{BB962C8B-B14F-4D97-AF65-F5344CB8AC3E}">
        <p14:creationId xmlns:p14="http://schemas.microsoft.com/office/powerpoint/2010/main" val="10519743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1">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531319092"/>
              </p:ext>
            </p:extLst>
          </p:nvPr>
        </p:nvGraphicFramePr>
        <p:xfrm>
          <a:off x="2121" y="2118"/>
          <a:ext cx="2116" cy="2116"/>
        </p:xfrm>
        <a:graphic>
          <a:graphicData uri="http://schemas.openxmlformats.org/presentationml/2006/ole">
            <mc:AlternateContent xmlns:mc="http://schemas.openxmlformats.org/markup-compatibility/2006">
              <mc:Choice xmlns:v="urn:schemas-microsoft-com:vml" Requires="v">
                <p:oleObj spid="_x0000_s152261" name="think-cell Slide" r:id="rId4" imgW="383" imgH="385" progId="TCLayout.ActiveDocument.1">
                  <p:embed/>
                </p:oleObj>
              </mc:Choice>
              <mc:Fallback>
                <p:oleObj name="think-cell Slide" r:id="rId4" imgW="383" imgH="385" progId="TCLayout.ActiveDocument.1">
                  <p:embed/>
                  <p:pic>
                    <p:nvPicPr>
                      <p:cNvPr id="0" name=""/>
                      <p:cNvPicPr/>
                      <p:nvPr/>
                    </p:nvPicPr>
                    <p:blipFill>
                      <a:blip r:embed="rId5"/>
                      <a:stretch>
                        <a:fillRect/>
                      </a:stretch>
                    </p:blipFill>
                    <p:spPr>
                      <a:xfrm>
                        <a:off x="2121" y="2118"/>
                        <a:ext cx="2116" cy="2116"/>
                      </a:xfrm>
                      <a:prstGeom prst="rect">
                        <a:avLst/>
                      </a:prstGeom>
                    </p:spPr>
                  </p:pic>
                </p:oleObj>
              </mc:Fallback>
            </mc:AlternateContent>
          </a:graphicData>
        </a:graphic>
      </p:graphicFrame>
      <p:sp>
        <p:nvSpPr>
          <p:cNvPr id="23" name="Rectangle 3"/>
          <p:cNvSpPr>
            <a:spLocks noChangeArrowheads="1"/>
          </p:cNvSpPr>
          <p:nvPr userDrawn="1"/>
        </p:nvSpPr>
        <p:spPr bwMode="gray">
          <a:xfrm>
            <a:off x="1" y="0"/>
            <a:ext cx="6425758" cy="6858000"/>
          </a:xfrm>
          <a:prstGeom prst="rect">
            <a:avLst/>
          </a:prstGeom>
          <a:solidFill>
            <a:schemeClr val="accent3">
              <a:alpha val="71000"/>
            </a:scheme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lvl="0" defTabSz="914423">
              <a:lnSpc>
                <a:spcPct val="100000"/>
              </a:lnSpc>
              <a:spcBef>
                <a:spcPts val="0"/>
              </a:spcBef>
            </a:pPr>
            <a:endParaRPr lang="en-US" sz="1600">
              <a:cs typeface="Arial" pitchFamily="34" charset="0"/>
            </a:endParaRPr>
          </a:p>
        </p:txBody>
      </p:sp>
      <p:grpSp>
        <p:nvGrpSpPr>
          <p:cNvPr id="20" name="Group 19">
            <a:extLst>
              <a:ext uri="{FF2B5EF4-FFF2-40B4-BE49-F238E27FC236}">
                <a16:creationId xmlns:a16="http://schemas.microsoft.com/office/drawing/2014/main" id="{15B1D498-EFEC-FF4D-B3C0-AB0DC1191F9D}"/>
              </a:ext>
            </a:extLst>
          </p:cNvPr>
          <p:cNvGrpSpPr/>
          <p:nvPr userDrawn="1"/>
        </p:nvGrpSpPr>
        <p:grpSpPr>
          <a:xfrm>
            <a:off x="680660" y="548350"/>
            <a:ext cx="4601989" cy="5741781"/>
            <a:chOff x="1002364" y="142913"/>
            <a:chExt cx="3739116" cy="5741781"/>
          </a:xfrm>
        </p:grpSpPr>
        <p:sp>
          <p:nvSpPr>
            <p:cNvPr id="21" name="Rectangle 2">
              <a:extLst>
                <a:ext uri="{FF2B5EF4-FFF2-40B4-BE49-F238E27FC236}">
                  <a16:creationId xmlns:a16="http://schemas.microsoft.com/office/drawing/2014/main" id="{4CFFFD26-1CDE-1743-B69E-B3B891424AF2}"/>
                </a:ext>
              </a:extLst>
            </p:cNvPr>
            <p:cNvSpPr/>
            <p:nvPr/>
          </p:nvSpPr>
          <p:spPr>
            <a:xfrm>
              <a:off x="4459747" y="142913"/>
              <a:ext cx="281733" cy="122379"/>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30" indent="-174630">
                <a:buFont typeface="Arial" panose="020B0604020202020204" pitchFamily="34" charset="0"/>
                <a:buChar char="•"/>
              </a:pPr>
              <a:endParaRPr lang="en-US" sz="1600">
                <a:solidFill>
                  <a:schemeClr val="tx1"/>
                </a:solidFill>
                <a:latin typeface="+mj-lt"/>
                <a:cs typeface="Arial" pitchFamily="34" charset="0"/>
              </a:endParaRPr>
            </a:p>
          </p:txBody>
        </p:sp>
        <p:sp>
          <p:nvSpPr>
            <p:cNvPr id="22" name="Rectangle 2">
              <a:extLst>
                <a:ext uri="{FF2B5EF4-FFF2-40B4-BE49-F238E27FC236}">
                  <a16:creationId xmlns:a16="http://schemas.microsoft.com/office/drawing/2014/main" id="{823C5126-B40E-2E48-95DC-B0A5A28C4D37}"/>
                </a:ext>
              </a:extLst>
            </p:cNvPr>
            <p:cNvSpPr/>
            <p:nvPr/>
          </p:nvSpPr>
          <p:spPr>
            <a:xfrm rot="10800000">
              <a:off x="1002364" y="5762315"/>
              <a:ext cx="281733" cy="122379"/>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30" indent="-174630">
                <a:buFont typeface="Arial" panose="020B0604020202020204" pitchFamily="34" charset="0"/>
                <a:buChar char="•"/>
              </a:pPr>
              <a:endParaRPr lang="en-US" sz="1600">
                <a:solidFill>
                  <a:schemeClr val="tx1"/>
                </a:solidFill>
                <a:latin typeface="+mj-lt"/>
                <a:cs typeface="Arial" pitchFamily="34" charset="0"/>
              </a:endParaRPr>
            </a:p>
          </p:txBody>
        </p:sp>
      </p:grpSp>
      <p:sp>
        <p:nvSpPr>
          <p:cNvPr id="24" name="Text Placeholder 6">
            <a:extLst>
              <a:ext uri="{FF2B5EF4-FFF2-40B4-BE49-F238E27FC236}">
                <a16:creationId xmlns:a16="http://schemas.microsoft.com/office/drawing/2014/main" id="{EC1B98EC-EB4B-1F47-B880-6ED819135600}"/>
              </a:ext>
            </a:extLst>
          </p:cNvPr>
          <p:cNvSpPr>
            <a:spLocks noGrp="1"/>
          </p:cNvSpPr>
          <p:nvPr>
            <p:ph type="body" sz="quarter" idx="17" hasCustomPrompt="1"/>
          </p:nvPr>
        </p:nvSpPr>
        <p:spPr>
          <a:xfrm>
            <a:off x="1209127" y="5014800"/>
            <a:ext cx="3545054" cy="190856"/>
          </a:xfrm>
        </p:spPr>
        <p:txBody>
          <a:bodyPr wrap="square" anchor="t">
            <a:noAutofit/>
          </a:bodyPr>
          <a:lstStyle>
            <a:lvl1pPr marL="0" indent="0" algn="ctr">
              <a:buNone/>
              <a:defRPr sz="1600" i="0" cap="none" baseline="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baseline="0">
                <a:solidFill>
                  <a:schemeClr val="bg1"/>
                </a:solidFill>
              </a:defRPr>
            </a:lvl5pPr>
            <a:lvl6pPr>
              <a:defRPr sz="1600" baseline="0">
                <a:solidFill>
                  <a:schemeClr val="bg1"/>
                </a:solidFill>
              </a:defRPr>
            </a:lvl6pPr>
            <a:lvl7pPr>
              <a:defRPr sz="1600" baseline="0">
                <a:solidFill>
                  <a:schemeClr val="bg1"/>
                </a:solidFill>
              </a:defRPr>
            </a:lvl7pPr>
            <a:lvl8pPr>
              <a:defRPr sz="1600">
                <a:solidFill>
                  <a:schemeClr val="bg1"/>
                </a:solidFill>
              </a:defRPr>
            </a:lvl8pPr>
            <a:lvl9pPr>
              <a:defRPr sz="1600">
                <a:solidFill>
                  <a:schemeClr val="bg1"/>
                </a:solidFill>
              </a:defRPr>
            </a:lvl9pPr>
          </a:lstStyle>
          <a:p>
            <a:pPr lvl="0"/>
            <a:r>
              <a:rPr lang="en-US" dirty="0"/>
              <a:t>EILEEN MILES</a:t>
            </a:r>
          </a:p>
        </p:txBody>
      </p:sp>
      <p:sp>
        <p:nvSpPr>
          <p:cNvPr id="32" name="Text Placeholder 6">
            <a:extLst>
              <a:ext uri="{FF2B5EF4-FFF2-40B4-BE49-F238E27FC236}">
                <a16:creationId xmlns:a16="http://schemas.microsoft.com/office/drawing/2014/main" id="{3C4B1124-CD42-3F4A-9C72-A764B83056C4}"/>
              </a:ext>
            </a:extLst>
          </p:cNvPr>
          <p:cNvSpPr>
            <a:spLocks noGrp="1"/>
          </p:cNvSpPr>
          <p:nvPr>
            <p:ph type="body" sz="quarter" idx="13" hasCustomPrompt="1"/>
          </p:nvPr>
        </p:nvSpPr>
        <p:spPr>
          <a:xfrm>
            <a:off x="1209127" y="1717690"/>
            <a:ext cx="3545054" cy="2771271"/>
          </a:xfrm>
        </p:spPr>
        <p:txBody>
          <a:bodyPr wrap="square" anchor="ctr">
            <a:spAutoFit/>
          </a:bodyPr>
          <a:lstStyle>
            <a:lvl1pPr marL="0" indent="0" algn="ctr">
              <a:buNone/>
              <a:defRPr sz="1801" i="1">
                <a:solidFill>
                  <a:schemeClr val="bg1"/>
                </a:solidFill>
                <a:latin typeface="Lato Light" panose="020F0302020204030203" pitchFamily="34" charset="0"/>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baseline="0">
                <a:solidFill>
                  <a:schemeClr val="bg1"/>
                </a:solidFill>
              </a:defRPr>
            </a:lvl5pPr>
            <a:lvl6pPr>
              <a:defRPr sz="1600" baseline="0">
                <a:solidFill>
                  <a:schemeClr val="bg1"/>
                </a:solidFill>
              </a:defRPr>
            </a:lvl6pPr>
            <a:lvl7pPr>
              <a:defRPr sz="1600" baseline="0">
                <a:solidFill>
                  <a:schemeClr val="bg1"/>
                </a:solidFill>
              </a:defRPr>
            </a:lvl7pPr>
            <a:lvl8pPr>
              <a:defRPr sz="1600">
                <a:solidFill>
                  <a:schemeClr val="bg1"/>
                </a:solidFill>
              </a:defRPr>
            </a:lvl8pPr>
            <a:lvl9pPr>
              <a:defRPr sz="1600">
                <a:solidFill>
                  <a:schemeClr val="bg1"/>
                </a:solidFill>
              </a:defRPr>
            </a:lvl9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a:t>
            </a:r>
            <a:r>
              <a:rPr lang="en-US" dirty="0" err="1"/>
              <a:t>Aenean</a:t>
            </a:r>
            <a:r>
              <a:rPr lang="en-US" dirty="0"/>
              <a:t> </a:t>
            </a:r>
            <a:r>
              <a:rPr lang="en-US" dirty="0" err="1"/>
              <a:t>commodo</a:t>
            </a:r>
            <a:r>
              <a:rPr lang="en-US" dirty="0"/>
              <a:t> ligula </a:t>
            </a:r>
            <a:r>
              <a:rPr lang="en-US" dirty="0" err="1"/>
              <a:t>eget</a:t>
            </a:r>
            <a:r>
              <a:rPr lang="en-US" dirty="0"/>
              <a:t> dolor. </a:t>
            </a:r>
            <a:r>
              <a:rPr lang="en-US" dirty="0" err="1"/>
              <a:t>Aenean</a:t>
            </a:r>
            <a:r>
              <a:rPr lang="en-US" dirty="0"/>
              <a:t> </a:t>
            </a:r>
            <a:r>
              <a:rPr lang="en-US" dirty="0" err="1"/>
              <a:t>massa</a:t>
            </a:r>
            <a:r>
              <a:rPr lang="en-US" dirty="0"/>
              <a:t>. Cum </a:t>
            </a:r>
            <a:r>
              <a:rPr lang="en-US" dirty="0" err="1"/>
              <a:t>sociis</a:t>
            </a:r>
            <a:r>
              <a:rPr lang="en-US" dirty="0"/>
              <a:t> </a:t>
            </a:r>
            <a:r>
              <a:rPr lang="en-US" dirty="0" err="1"/>
              <a:t>natoque</a:t>
            </a:r>
            <a:r>
              <a:rPr lang="en-US" dirty="0"/>
              <a:t> </a:t>
            </a:r>
            <a:r>
              <a:rPr lang="en-US" dirty="0" err="1"/>
              <a:t>penatibus</a:t>
            </a:r>
            <a:r>
              <a:rPr lang="en-US" dirty="0"/>
              <a:t> e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 </a:t>
            </a:r>
            <a:r>
              <a:rPr lang="en-US" dirty="0" err="1"/>
              <a:t>Donec</a:t>
            </a:r>
            <a:r>
              <a:rPr lang="en-US" dirty="0"/>
              <a:t> quam </a:t>
            </a:r>
            <a:r>
              <a:rPr lang="en-US" dirty="0" err="1"/>
              <a:t>felis</a:t>
            </a:r>
            <a:r>
              <a:rPr lang="en-US" dirty="0"/>
              <a:t>, </a:t>
            </a:r>
            <a:r>
              <a:rPr lang="en-US" dirty="0" err="1"/>
              <a:t>ultricies</a:t>
            </a:r>
            <a:r>
              <a:rPr lang="en-US" dirty="0"/>
              <a:t> </a:t>
            </a:r>
            <a:r>
              <a:rPr lang="en-US" dirty="0" err="1"/>
              <a:t>nec</a:t>
            </a:r>
            <a:r>
              <a:rPr lang="en-US" dirty="0"/>
              <a:t>, </a:t>
            </a:r>
            <a:r>
              <a:rPr lang="en-US" dirty="0" err="1"/>
              <a:t>pellentesque</a:t>
            </a:r>
            <a:r>
              <a:rPr lang="en-US" dirty="0"/>
              <a:t> </a:t>
            </a:r>
            <a:r>
              <a:rPr lang="en-US" dirty="0" err="1"/>
              <a:t>eu</a:t>
            </a:r>
            <a:r>
              <a:rPr lang="en-US" dirty="0"/>
              <a:t>, </a:t>
            </a:r>
            <a:r>
              <a:rPr lang="en-US" dirty="0" err="1"/>
              <a:t>pretium</a:t>
            </a:r>
            <a:r>
              <a:rPr lang="en-US" dirty="0"/>
              <a:t> </a:t>
            </a:r>
            <a:r>
              <a:rPr lang="en-US" dirty="0" err="1"/>
              <a:t>quis</a:t>
            </a:r>
            <a:r>
              <a:rPr lang="en-US" dirty="0"/>
              <a:t>, sem. </a:t>
            </a:r>
            <a:r>
              <a:rPr lang="en-US" dirty="0" err="1"/>
              <a:t>Nulla</a:t>
            </a:r>
            <a:r>
              <a:rPr lang="en-US" dirty="0"/>
              <a:t> </a:t>
            </a:r>
            <a:r>
              <a:rPr lang="en-US" dirty="0" err="1"/>
              <a:t>consequat</a:t>
            </a:r>
            <a:r>
              <a:rPr lang="en-US" dirty="0"/>
              <a:t> </a:t>
            </a:r>
            <a:r>
              <a:rPr lang="en-US" dirty="0" err="1"/>
              <a:t>massa</a:t>
            </a:r>
            <a:r>
              <a:rPr lang="en-US" dirty="0"/>
              <a:t> </a:t>
            </a:r>
            <a:r>
              <a:rPr lang="en-US" dirty="0" err="1"/>
              <a:t>quis</a:t>
            </a:r>
            <a:r>
              <a:rPr lang="en-US" dirty="0"/>
              <a:t> </a:t>
            </a:r>
            <a:r>
              <a:rPr lang="en-US" dirty="0" err="1"/>
              <a:t>enim</a:t>
            </a:r>
            <a:r>
              <a:rPr lang="en-US" dirty="0"/>
              <a:t>. </a:t>
            </a:r>
            <a:r>
              <a:rPr lang="en-US" dirty="0" err="1"/>
              <a:t>Donec</a:t>
            </a:r>
            <a:endParaRPr lang="en-US" dirty="0"/>
          </a:p>
        </p:txBody>
      </p:sp>
      <p:sp>
        <p:nvSpPr>
          <p:cNvPr id="33" name="Text Placeholder 6">
            <a:extLst>
              <a:ext uri="{FF2B5EF4-FFF2-40B4-BE49-F238E27FC236}">
                <a16:creationId xmlns:a16="http://schemas.microsoft.com/office/drawing/2014/main" id="{5BBFB052-0B22-454A-ABB2-339A5481C7B8}"/>
              </a:ext>
            </a:extLst>
          </p:cNvPr>
          <p:cNvSpPr>
            <a:spLocks noGrp="1"/>
          </p:cNvSpPr>
          <p:nvPr>
            <p:ph type="body" sz="quarter" idx="18" hasCustomPrompt="1"/>
          </p:nvPr>
        </p:nvSpPr>
        <p:spPr>
          <a:xfrm>
            <a:off x="1209127" y="5243755"/>
            <a:ext cx="3545054" cy="190856"/>
          </a:xfrm>
        </p:spPr>
        <p:txBody>
          <a:bodyPr wrap="square" anchor="t">
            <a:noAutofit/>
          </a:bodyPr>
          <a:lstStyle>
            <a:lvl1pPr marL="0" indent="0" algn="ctr">
              <a:buNone/>
              <a:defRPr sz="1200" i="1" cap="none" baseline="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baseline="0">
                <a:solidFill>
                  <a:schemeClr val="bg1"/>
                </a:solidFill>
              </a:defRPr>
            </a:lvl5pPr>
            <a:lvl6pPr>
              <a:defRPr sz="1600" baseline="0">
                <a:solidFill>
                  <a:schemeClr val="bg1"/>
                </a:solidFill>
              </a:defRPr>
            </a:lvl6pPr>
            <a:lvl7pPr>
              <a:defRPr sz="1600" baseline="0">
                <a:solidFill>
                  <a:schemeClr val="bg1"/>
                </a:solidFill>
              </a:defRPr>
            </a:lvl7pPr>
            <a:lvl8pPr>
              <a:defRPr sz="1600">
                <a:solidFill>
                  <a:schemeClr val="bg1"/>
                </a:solidFill>
              </a:defRPr>
            </a:lvl8pPr>
            <a:lvl9pPr>
              <a:defRPr sz="1600">
                <a:solidFill>
                  <a:schemeClr val="bg1"/>
                </a:solidFill>
              </a:defRPr>
            </a:lvl9pPr>
          </a:lstStyle>
          <a:p>
            <a:pPr lvl="0"/>
            <a:r>
              <a:rPr lang="en-US" dirty="0"/>
              <a:t>Research Lead</a:t>
            </a:r>
          </a:p>
        </p:txBody>
      </p:sp>
      <p:sp>
        <p:nvSpPr>
          <p:cNvPr id="29" name="Text Placeholder 3">
            <a:extLst>
              <a:ext uri="{FF2B5EF4-FFF2-40B4-BE49-F238E27FC236}">
                <a16:creationId xmlns:a16="http://schemas.microsoft.com/office/drawing/2014/main" id="{0FC381F7-367C-405E-AF5B-C4952BFC44E6}"/>
              </a:ext>
            </a:extLst>
          </p:cNvPr>
          <p:cNvSpPr>
            <a:spLocks noGrp="1"/>
          </p:cNvSpPr>
          <p:nvPr>
            <p:ph type="body" sz="quarter" idx="20" hasCustomPrompt="1"/>
          </p:nvPr>
        </p:nvSpPr>
        <p:spPr>
          <a:xfrm>
            <a:off x="8092830" y="1684422"/>
            <a:ext cx="3102092" cy="1451164"/>
          </a:xfrm>
        </p:spPr>
        <p:txBody>
          <a:bodyPr/>
          <a:lstStyle>
            <a:lvl1pPr marL="0" indent="0">
              <a:buNone/>
              <a:defRPr i="1">
                <a:solidFill>
                  <a:srgbClr val="606060"/>
                </a:solidFill>
              </a:defRPr>
            </a:lvl1pPr>
          </a:lstStyle>
          <a:p>
            <a:pPr lvl="0"/>
            <a:r>
              <a:rPr lang="en-ZA" dirty="0"/>
              <a:t>This slide requires a photo background. To insert a photo, refer to instructions at end of deck. This photo should be the size of the entire slide and sent to back.</a:t>
            </a:r>
          </a:p>
        </p:txBody>
      </p:sp>
      <p:sp>
        <p:nvSpPr>
          <p:cNvPr id="25" name="Rectangle 24">
            <a:extLst>
              <a:ext uri="{FF2B5EF4-FFF2-40B4-BE49-F238E27FC236}">
                <a16:creationId xmlns:a16="http://schemas.microsoft.com/office/drawing/2014/main" id="{3EBAC4BF-8EAB-434D-80FA-2666F2ED73AE}"/>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sp>
        <p:nvSpPr>
          <p:cNvPr id="26" name="Slide Number Placeholder 5">
            <a:extLst>
              <a:ext uri="{FF2B5EF4-FFF2-40B4-BE49-F238E27FC236}">
                <a16:creationId xmlns:a16="http://schemas.microsoft.com/office/drawing/2014/main" id="{CEDDC91D-2949-4686-B546-7A6016B97E7B}"/>
              </a:ext>
            </a:extLst>
          </p:cNvPr>
          <p:cNvSpPr>
            <a:spLocks noGrp="1"/>
          </p:cNvSpPr>
          <p:nvPr>
            <p:ph type="sldNum" sz="quarter" idx="4"/>
          </p:nvPr>
        </p:nvSpPr>
        <p:spPr bwMode="gray">
          <a:xfrm>
            <a:off x="11743978" y="6529802"/>
            <a:ext cx="280034" cy="154017"/>
          </a:xfrm>
          <a:prstGeom prst="rect">
            <a:avLst/>
          </a:prstGeom>
          <a:noFill/>
        </p:spPr>
        <p:txBody>
          <a:bodyPr vert="horz" wrap="square" lIns="0" tIns="0" rIns="0" bIns="0" rtlCol="0" anchor="ctr">
            <a:spAutoFit/>
          </a:bodyPr>
          <a:lstStyle>
            <a:lvl1pPr algn="ctr">
              <a:defRPr sz="1001">
                <a:solidFill>
                  <a:schemeClr val="bg1"/>
                </a:solidFill>
                <a:latin typeface="Lato" panose="020F0502020204030203" pitchFamily="34" charset="0"/>
                <a:cs typeface="Arial" pitchFamily="34" charset="0"/>
              </a:defRPr>
            </a:lvl1pPr>
          </a:lstStyle>
          <a:p>
            <a:fld id="{A90607E6-BCED-4FC1-A345-AB2A307AB80F}" type="slidenum">
              <a:rPr lang="en-US" smtClean="0"/>
              <a:pPr/>
              <a:t>‹#›</a:t>
            </a:fld>
            <a:endParaRPr lang="en-US" dirty="0"/>
          </a:p>
        </p:txBody>
      </p:sp>
      <p:pic>
        <p:nvPicPr>
          <p:cNvPr id="15" name="Picture 14">
            <a:extLst>
              <a:ext uri="{FF2B5EF4-FFF2-40B4-BE49-F238E27FC236}">
                <a16:creationId xmlns:a16="http://schemas.microsoft.com/office/drawing/2014/main" id="{6FFDA6B7-202F-46EC-B3D3-81DAF79A3ADD}"/>
              </a:ext>
            </a:extLst>
          </p:cNvPr>
          <p:cNvPicPr>
            <a:picLocks/>
          </p:cNvPicPr>
          <p:nvPr userDrawn="1"/>
        </p:nvPicPr>
        <p:blipFill>
          <a:blip r:embed="rId6" cstate="email">
            <a:extLst>
              <a:ext uri="{28A0092B-C50C-407E-A947-70E740481C1C}">
                <a14:useLocalDpi xmlns:a14="http://schemas.microsoft.com/office/drawing/2010/main"/>
              </a:ext>
            </a:extLst>
          </a:blip>
          <a:stretch>
            <a:fillRect/>
          </a:stretch>
        </p:blipFill>
        <p:spPr>
          <a:xfrm>
            <a:off x="10480621" y="6511925"/>
            <a:ext cx="704948" cy="219106"/>
          </a:xfrm>
          <a:prstGeom prst="rect">
            <a:avLst/>
          </a:prstGeom>
        </p:spPr>
      </p:pic>
    </p:spTree>
    <p:extLst>
      <p:ext uri="{BB962C8B-B14F-4D97-AF65-F5344CB8AC3E}">
        <p14:creationId xmlns:p14="http://schemas.microsoft.com/office/powerpoint/2010/main" val="16477394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93931185"/>
              </p:ext>
            </p:extLst>
          </p:nvPr>
        </p:nvGraphicFramePr>
        <p:xfrm>
          <a:off x="2121" y="2118"/>
          <a:ext cx="2116" cy="2116"/>
        </p:xfrm>
        <a:graphic>
          <a:graphicData uri="http://schemas.openxmlformats.org/presentationml/2006/ole">
            <mc:AlternateContent xmlns:mc="http://schemas.openxmlformats.org/markup-compatibility/2006">
              <mc:Choice xmlns:v="urn:schemas-microsoft-com:vml" Requires="v">
                <p:oleObj spid="_x0000_s212651" name="think-cell Slide" r:id="rId4" imgW="383" imgH="385" progId="TCLayout.ActiveDocument.1">
                  <p:embed/>
                </p:oleObj>
              </mc:Choice>
              <mc:Fallback>
                <p:oleObj name="think-cell Slide" r:id="rId4" imgW="383" imgH="385" progId="TCLayout.ActiveDocument.1">
                  <p:embed/>
                  <p:pic>
                    <p:nvPicPr>
                      <p:cNvPr id="0" name=""/>
                      <p:cNvPicPr/>
                      <p:nvPr/>
                    </p:nvPicPr>
                    <p:blipFill>
                      <a:blip r:embed="rId5"/>
                      <a:stretch>
                        <a:fillRect/>
                      </a:stretch>
                    </p:blipFill>
                    <p:spPr>
                      <a:xfrm>
                        <a:off x="2121" y="2118"/>
                        <a:ext cx="2116" cy="2116"/>
                      </a:xfrm>
                      <a:prstGeom prst="rect">
                        <a:avLst/>
                      </a:prstGeom>
                    </p:spPr>
                  </p:pic>
                </p:oleObj>
              </mc:Fallback>
            </mc:AlternateContent>
          </a:graphicData>
        </a:graphic>
      </p:graphicFrame>
      <p:sp>
        <p:nvSpPr>
          <p:cNvPr id="23" name="Rectangle 3"/>
          <p:cNvSpPr>
            <a:spLocks noChangeArrowheads="1"/>
          </p:cNvSpPr>
          <p:nvPr userDrawn="1"/>
        </p:nvSpPr>
        <p:spPr bwMode="gray">
          <a:xfrm>
            <a:off x="5" y="1857829"/>
            <a:ext cx="6645307" cy="3142340"/>
          </a:xfrm>
          <a:prstGeom prst="rect">
            <a:avLst/>
          </a:prstGeom>
          <a:solidFill>
            <a:srgbClr val="0889A8">
              <a:alpha val="89804"/>
            </a:srgbClr>
          </a:solidFill>
          <a:ln>
            <a:noFill/>
          </a:ln>
          <a:effectLst/>
        </p:spPr>
        <p:txBody>
          <a:bodyPr wrap="none" lIns="107287" tIns="53643" rIns="107287" bIns="53643" anchor="ctr"/>
          <a:lstStyle/>
          <a:p>
            <a:pPr algn="ctr"/>
            <a:endParaRPr lang="en-US" sz="2100"/>
          </a:p>
        </p:txBody>
      </p:sp>
      <p:sp>
        <p:nvSpPr>
          <p:cNvPr id="27" name="Text Placeholder 6"/>
          <p:cNvSpPr>
            <a:spLocks noGrp="1"/>
          </p:cNvSpPr>
          <p:nvPr>
            <p:ph type="body" sz="quarter" idx="17" hasCustomPrompt="1"/>
          </p:nvPr>
        </p:nvSpPr>
        <p:spPr>
          <a:xfrm>
            <a:off x="661635" y="3677556"/>
            <a:ext cx="5345722" cy="246221"/>
          </a:xfrm>
        </p:spPr>
        <p:txBody>
          <a:bodyPr wrap="square" anchor="t">
            <a:spAutoFit/>
          </a:bodyPr>
          <a:lstStyle>
            <a:lvl1pPr marL="0" indent="0" algn="ctr">
              <a:buNone/>
              <a:defRPr sz="1600" cap="all" baseline="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baseline="0">
                <a:solidFill>
                  <a:schemeClr val="bg1"/>
                </a:solidFill>
              </a:defRPr>
            </a:lvl5pPr>
            <a:lvl6pPr>
              <a:defRPr sz="1600" baseline="0">
                <a:solidFill>
                  <a:schemeClr val="bg1"/>
                </a:solidFill>
              </a:defRPr>
            </a:lvl6pPr>
            <a:lvl7pPr>
              <a:defRPr sz="1600" baseline="0">
                <a:solidFill>
                  <a:schemeClr val="bg1"/>
                </a:solidFill>
              </a:defRPr>
            </a:lvl7pPr>
            <a:lvl8pPr>
              <a:defRPr sz="1600">
                <a:solidFill>
                  <a:schemeClr val="bg1"/>
                </a:solidFill>
              </a:defRPr>
            </a:lvl8pPr>
            <a:lvl9pPr>
              <a:defRPr sz="1600">
                <a:solidFill>
                  <a:schemeClr val="bg1"/>
                </a:solidFill>
              </a:defRPr>
            </a:lvl9pPr>
          </a:lstStyle>
          <a:p>
            <a:pPr lvl="0"/>
            <a:r>
              <a:rPr lang="en-US" dirty="0" err="1"/>
              <a:t>Elineen</a:t>
            </a:r>
            <a:r>
              <a:rPr lang="en-US" dirty="0"/>
              <a:t> miles</a:t>
            </a:r>
          </a:p>
        </p:txBody>
      </p:sp>
      <p:sp>
        <p:nvSpPr>
          <p:cNvPr id="28" name="Text Placeholder 6"/>
          <p:cNvSpPr>
            <a:spLocks noGrp="1"/>
          </p:cNvSpPr>
          <p:nvPr>
            <p:ph type="body" sz="quarter" idx="13" hasCustomPrompt="1"/>
          </p:nvPr>
        </p:nvSpPr>
        <p:spPr>
          <a:xfrm>
            <a:off x="1306571" y="2676637"/>
            <a:ext cx="4055847" cy="831381"/>
          </a:xfrm>
        </p:spPr>
        <p:txBody>
          <a:bodyPr wrap="square" anchor="ctr">
            <a:spAutoFit/>
          </a:bodyPr>
          <a:lstStyle>
            <a:lvl1pPr marL="0" indent="0" algn="ctr">
              <a:buNone/>
              <a:defRPr sz="1801" i="1">
                <a:solidFill>
                  <a:schemeClr val="bg1"/>
                </a:solidFill>
                <a:latin typeface="Lato Light" panose="020F0302020204030203" pitchFamily="34" charset="0"/>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baseline="0">
                <a:solidFill>
                  <a:schemeClr val="bg1"/>
                </a:solidFill>
              </a:defRPr>
            </a:lvl5pPr>
            <a:lvl6pPr>
              <a:defRPr sz="1600" baseline="0">
                <a:solidFill>
                  <a:schemeClr val="bg1"/>
                </a:solidFill>
              </a:defRPr>
            </a:lvl6pPr>
            <a:lvl7pPr>
              <a:defRPr sz="1600" baseline="0">
                <a:solidFill>
                  <a:schemeClr val="bg1"/>
                </a:solidFill>
              </a:defRPr>
            </a:lvl7pPr>
            <a:lvl8pPr>
              <a:defRPr sz="1600">
                <a:solidFill>
                  <a:schemeClr val="bg1"/>
                </a:solidFill>
              </a:defRPr>
            </a:lvl8pPr>
            <a:lvl9pPr>
              <a:defRPr sz="1600">
                <a:solidFill>
                  <a:schemeClr val="bg1"/>
                </a:solidFill>
              </a:defRPr>
            </a:lvl9pPr>
          </a:lstStyle>
          <a:p>
            <a:pPr lvl="0"/>
            <a:r>
              <a:rPr lang="en-US" dirty="0"/>
              <a:t>The most surprising user research result we received was data activate effective global an effective social .</a:t>
            </a:r>
          </a:p>
        </p:txBody>
      </p:sp>
      <p:sp>
        <p:nvSpPr>
          <p:cNvPr id="16" name="Text Placeholder 6">
            <a:extLst>
              <a:ext uri="{FF2B5EF4-FFF2-40B4-BE49-F238E27FC236}">
                <a16:creationId xmlns:a16="http://schemas.microsoft.com/office/drawing/2014/main" id="{E3C5E7F5-6E3D-4F4C-821C-55CB79D15E66}"/>
              </a:ext>
            </a:extLst>
          </p:cNvPr>
          <p:cNvSpPr>
            <a:spLocks noGrp="1"/>
          </p:cNvSpPr>
          <p:nvPr>
            <p:ph type="body" sz="quarter" idx="18" hasCustomPrompt="1"/>
          </p:nvPr>
        </p:nvSpPr>
        <p:spPr>
          <a:xfrm>
            <a:off x="661635" y="3971119"/>
            <a:ext cx="5345722" cy="184666"/>
          </a:xfrm>
        </p:spPr>
        <p:txBody>
          <a:bodyPr wrap="square" anchor="t">
            <a:spAutoFit/>
          </a:bodyPr>
          <a:lstStyle>
            <a:lvl1pPr marL="0" indent="0" algn="ctr">
              <a:buNone/>
              <a:defRPr sz="1200" i="1" cap="none" baseline="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baseline="0">
                <a:solidFill>
                  <a:schemeClr val="bg1"/>
                </a:solidFill>
              </a:defRPr>
            </a:lvl5pPr>
            <a:lvl6pPr>
              <a:defRPr sz="1600" baseline="0">
                <a:solidFill>
                  <a:schemeClr val="bg1"/>
                </a:solidFill>
              </a:defRPr>
            </a:lvl6pPr>
            <a:lvl7pPr>
              <a:defRPr sz="1600" baseline="0">
                <a:solidFill>
                  <a:schemeClr val="bg1"/>
                </a:solidFill>
              </a:defRPr>
            </a:lvl7pPr>
            <a:lvl8pPr>
              <a:defRPr sz="1600">
                <a:solidFill>
                  <a:schemeClr val="bg1"/>
                </a:solidFill>
              </a:defRPr>
            </a:lvl8pPr>
            <a:lvl9pPr>
              <a:defRPr sz="1600">
                <a:solidFill>
                  <a:schemeClr val="bg1"/>
                </a:solidFill>
              </a:defRPr>
            </a:lvl9pPr>
          </a:lstStyle>
          <a:p>
            <a:pPr lvl="0"/>
            <a:r>
              <a:rPr lang="en-US" dirty="0"/>
              <a:t>Research Lead</a:t>
            </a:r>
          </a:p>
        </p:txBody>
      </p:sp>
      <p:grpSp>
        <p:nvGrpSpPr>
          <p:cNvPr id="21" name="Group 20">
            <a:extLst>
              <a:ext uri="{FF2B5EF4-FFF2-40B4-BE49-F238E27FC236}">
                <a16:creationId xmlns:a16="http://schemas.microsoft.com/office/drawing/2014/main" id="{F6ED5C05-07B8-AF42-9461-71375C78A8D5}"/>
              </a:ext>
            </a:extLst>
          </p:cNvPr>
          <p:cNvGrpSpPr/>
          <p:nvPr userDrawn="1"/>
        </p:nvGrpSpPr>
        <p:grpSpPr>
          <a:xfrm>
            <a:off x="488260" y="2284220"/>
            <a:ext cx="5607743" cy="2295023"/>
            <a:chOff x="-264140" y="968376"/>
            <a:chExt cx="4556291" cy="2295023"/>
          </a:xfrm>
        </p:grpSpPr>
        <p:sp>
          <p:nvSpPr>
            <p:cNvPr id="29" name="Rectangle 2">
              <a:extLst>
                <a:ext uri="{FF2B5EF4-FFF2-40B4-BE49-F238E27FC236}">
                  <a16:creationId xmlns:a16="http://schemas.microsoft.com/office/drawing/2014/main" id="{4A10F512-8530-0242-A648-ACEE9763CFC1}"/>
                </a:ext>
              </a:extLst>
            </p:cNvPr>
            <p:cNvSpPr/>
            <p:nvPr userDrawn="1"/>
          </p:nvSpPr>
          <p:spPr>
            <a:xfrm>
              <a:off x="4010418" y="968376"/>
              <a:ext cx="281733" cy="122379"/>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30" indent="-174630">
                <a:buFont typeface="Arial" panose="020B0604020202020204" pitchFamily="34" charset="0"/>
                <a:buChar char="•"/>
              </a:pPr>
              <a:endParaRPr lang="en-US" sz="1600">
                <a:solidFill>
                  <a:schemeClr val="tx1"/>
                </a:solidFill>
                <a:latin typeface="+mj-lt"/>
                <a:cs typeface="Arial" pitchFamily="34" charset="0"/>
              </a:endParaRPr>
            </a:p>
          </p:txBody>
        </p:sp>
        <p:sp>
          <p:nvSpPr>
            <p:cNvPr id="30" name="Rectangle 2">
              <a:extLst>
                <a:ext uri="{FF2B5EF4-FFF2-40B4-BE49-F238E27FC236}">
                  <a16:creationId xmlns:a16="http://schemas.microsoft.com/office/drawing/2014/main" id="{C2642A8A-C6AD-2B46-8AE9-A5210E876310}"/>
                </a:ext>
              </a:extLst>
            </p:cNvPr>
            <p:cNvSpPr/>
            <p:nvPr userDrawn="1"/>
          </p:nvSpPr>
          <p:spPr>
            <a:xfrm flipH="1" flipV="1">
              <a:off x="-264140" y="3141020"/>
              <a:ext cx="281733" cy="122379"/>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30" indent="-174630">
                <a:buFont typeface="Arial" panose="020B0604020202020204" pitchFamily="34" charset="0"/>
                <a:buChar char="•"/>
              </a:pPr>
              <a:endParaRPr lang="en-US" sz="1600">
                <a:solidFill>
                  <a:schemeClr val="tx1"/>
                </a:solidFill>
                <a:latin typeface="+mj-lt"/>
                <a:cs typeface="Arial" pitchFamily="34" charset="0"/>
              </a:endParaRPr>
            </a:p>
          </p:txBody>
        </p:sp>
      </p:grpSp>
      <p:sp>
        <p:nvSpPr>
          <p:cNvPr id="35" name="Text Placeholder 3">
            <a:extLst>
              <a:ext uri="{FF2B5EF4-FFF2-40B4-BE49-F238E27FC236}">
                <a16:creationId xmlns:a16="http://schemas.microsoft.com/office/drawing/2014/main" id="{5B43F7AA-49CD-454F-B114-8D3802E1331D}"/>
              </a:ext>
            </a:extLst>
          </p:cNvPr>
          <p:cNvSpPr>
            <a:spLocks noGrp="1"/>
          </p:cNvSpPr>
          <p:nvPr>
            <p:ph type="body" sz="quarter" idx="20" hasCustomPrompt="1"/>
          </p:nvPr>
        </p:nvSpPr>
        <p:spPr>
          <a:xfrm>
            <a:off x="8092830" y="1684422"/>
            <a:ext cx="3102092" cy="1451164"/>
          </a:xfrm>
        </p:spPr>
        <p:txBody>
          <a:bodyPr/>
          <a:lstStyle>
            <a:lvl1pPr marL="0" indent="0">
              <a:buNone/>
              <a:defRPr i="1">
                <a:solidFill>
                  <a:srgbClr val="606060"/>
                </a:solidFill>
              </a:defRPr>
            </a:lvl1pPr>
          </a:lstStyle>
          <a:p>
            <a:pPr lvl="0"/>
            <a:r>
              <a:rPr lang="en-ZA" dirty="0"/>
              <a:t>This slide requires a photo background. To insert a photo, refer to instructions at end of deck. This photo should be the size of the entire slide and sent to back.</a:t>
            </a:r>
          </a:p>
        </p:txBody>
      </p:sp>
      <p:sp>
        <p:nvSpPr>
          <p:cNvPr id="26" name="Rectangle 25">
            <a:extLst>
              <a:ext uri="{FF2B5EF4-FFF2-40B4-BE49-F238E27FC236}">
                <a16:creationId xmlns:a16="http://schemas.microsoft.com/office/drawing/2014/main" id="{D0D637D1-CB35-4962-9357-C3E1334E7EB7}"/>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sp>
        <p:nvSpPr>
          <p:cNvPr id="31" name="Slide Number Placeholder 5">
            <a:extLst>
              <a:ext uri="{FF2B5EF4-FFF2-40B4-BE49-F238E27FC236}">
                <a16:creationId xmlns:a16="http://schemas.microsoft.com/office/drawing/2014/main" id="{36181EE5-2BCD-419A-98C4-F02366AC204D}"/>
              </a:ext>
            </a:extLst>
          </p:cNvPr>
          <p:cNvSpPr>
            <a:spLocks noGrp="1"/>
          </p:cNvSpPr>
          <p:nvPr>
            <p:ph type="sldNum" sz="quarter" idx="4"/>
          </p:nvPr>
        </p:nvSpPr>
        <p:spPr bwMode="gray">
          <a:xfrm>
            <a:off x="11743978" y="6529802"/>
            <a:ext cx="280034" cy="154017"/>
          </a:xfrm>
          <a:prstGeom prst="rect">
            <a:avLst/>
          </a:prstGeom>
          <a:noFill/>
        </p:spPr>
        <p:txBody>
          <a:bodyPr vert="horz" wrap="square" lIns="0" tIns="0" rIns="0" bIns="0" rtlCol="0" anchor="ctr">
            <a:spAutoFit/>
          </a:bodyPr>
          <a:lstStyle>
            <a:lvl1pPr algn="ctr">
              <a:defRPr sz="1001">
                <a:solidFill>
                  <a:schemeClr val="bg1"/>
                </a:solidFill>
                <a:latin typeface="Lato" panose="020F0502020204030203" pitchFamily="34" charset="0"/>
                <a:cs typeface="Arial" pitchFamily="34" charset="0"/>
              </a:defRPr>
            </a:lvl1pPr>
          </a:lstStyle>
          <a:p>
            <a:fld id="{A90607E6-BCED-4FC1-A345-AB2A307AB80F}" type="slidenum">
              <a:rPr lang="en-US" smtClean="0"/>
              <a:pPr/>
              <a:t>‹#›</a:t>
            </a:fld>
            <a:endParaRPr lang="en-US" dirty="0"/>
          </a:p>
        </p:txBody>
      </p:sp>
      <p:pic>
        <p:nvPicPr>
          <p:cNvPr id="14" name="Picture 13">
            <a:extLst>
              <a:ext uri="{FF2B5EF4-FFF2-40B4-BE49-F238E27FC236}">
                <a16:creationId xmlns:a16="http://schemas.microsoft.com/office/drawing/2014/main" id="{807CA94C-2283-4EC8-8E37-5F9F9DD0F82B}"/>
              </a:ext>
            </a:extLst>
          </p:cNvPr>
          <p:cNvPicPr>
            <a:picLocks/>
          </p:cNvPicPr>
          <p:nvPr userDrawn="1"/>
        </p:nvPicPr>
        <p:blipFill>
          <a:blip r:embed="rId6" cstate="email">
            <a:extLst>
              <a:ext uri="{28A0092B-C50C-407E-A947-70E740481C1C}">
                <a14:useLocalDpi xmlns:a14="http://schemas.microsoft.com/office/drawing/2010/main"/>
              </a:ext>
            </a:extLst>
          </a:blip>
          <a:stretch>
            <a:fillRect/>
          </a:stretch>
        </p:blipFill>
        <p:spPr>
          <a:xfrm>
            <a:off x="10480621" y="6511925"/>
            <a:ext cx="704948" cy="219106"/>
          </a:xfrm>
          <a:prstGeom prst="rect">
            <a:avLst/>
          </a:prstGeom>
        </p:spPr>
      </p:pic>
    </p:spTree>
    <p:extLst>
      <p:ext uri="{BB962C8B-B14F-4D97-AF65-F5344CB8AC3E}">
        <p14:creationId xmlns:p14="http://schemas.microsoft.com/office/powerpoint/2010/main" val="4917254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ote 3">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33447934"/>
              </p:ext>
            </p:extLst>
          </p:nvPr>
        </p:nvGraphicFramePr>
        <p:xfrm>
          <a:off x="2121" y="2118"/>
          <a:ext cx="2116" cy="2116"/>
        </p:xfrm>
        <a:graphic>
          <a:graphicData uri="http://schemas.openxmlformats.org/presentationml/2006/ole">
            <mc:AlternateContent xmlns:mc="http://schemas.openxmlformats.org/markup-compatibility/2006">
              <mc:Choice xmlns:v="urn:schemas-microsoft-com:vml" Requires="v">
                <p:oleObj spid="_x0000_s234024" name="think-cell Slide" r:id="rId4" imgW="383" imgH="385" progId="TCLayout.ActiveDocument.1">
                  <p:embed/>
                </p:oleObj>
              </mc:Choice>
              <mc:Fallback>
                <p:oleObj name="think-cell Slide" r:id="rId4" imgW="383" imgH="385" progId="TCLayout.ActiveDocument.1">
                  <p:embed/>
                  <p:pic>
                    <p:nvPicPr>
                      <p:cNvPr id="0" name=""/>
                      <p:cNvPicPr/>
                      <p:nvPr/>
                    </p:nvPicPr>
                    <p:blipFill>
                      <a:blip r:embed="rId5"/>
                      <a:stretch>
                        <a:fillRect/>
                      </a:stretch>
                    </p:blipFill>
                    <p:spPr>
                      <a:xfrm>
                        <a:off x="2121" y="2118"/>
                        <a:ext cx="2116" cy="2116"/>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D392FDA5-109A-4203-B56F-B7729509A115}"/>
              </a:ext>
            </a:extLst>
          </p:cNvPr>
          <p:cNvSpPr>
            <a:spLocks noGrp="1"/>
          </p:cNvSpPr>
          <p:nvPr>
            <p:ph type="pic" sz="quarter" idx="19"/>
          </p:nvPr>
        </p:nvSpPr>
        <p:spPr>
          <a:xfrm>
            <a:off x="1" y="-13062"/>
            <a:ext cx="5634892" cy="6858000"/>
          </a:xfrm>
        </p:spPr>
        <p:txBody>
          <a:bodyPr/>
          <a:lstStyle>
            <a:lvl1pPr marL="0" indent="0">
              <a:buNone/>
              <a:defRPr/>
            </a:lvl1pPr>
          </a:lstStyle>
          <a:p>
            <a:r>
              <a:rPr lang="en-US"/>
              <a:t>Click icon to add picture</a:t>
            </a:r>
            <a:endParaRPr lang="en-ZA" dirty="0"/>
          </a:p>
        </p:txBody>
      </p:sp>
      <p:sp>
        <p:nvSpPr>
          <p:cNvPr id="29" name="Rectangle 28">
            <a:extLst>
              <a:ext uri="{FF2B5EF4-FFF2-40B4-BE49-F238E27FC236}">
                <a16:creationId xmlns:a16="http://schemas.microsoft.com/office/drawing/2014/main" id="{3C91303B-B052-0B4F-9581-4618A74EC84D}"/>
              </a:ext>
            </a:extLst>
          </p:cNvPr>
          <p:cNvSpPr/>
          <p:nvPr userDrawn="1"/>
        </p:nvSpPr>
        <p:spPr>
          <a:xfrm>
            <a:off x="5627077" y="3"/>
            <a:ext cx="6564923"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algn="l" defTabSz="914423" rtl="0" eaLnBrk="1" latinLnBrk="0" hangingPunct="1">
              <a:lnSpc>
                <a:spcPct val="100000"/>
              </a:lnSpc>
              <a:spcBef>
                <a:spcPts val="0"/>
              </a:spcBef>
            </a:pPr>
            <a:endParaRPr lang="en-US" sz="1600" kern="1200" dirty="0">
              <a:solidFill>
                <a:schemeClr val="tx1"/>
              </a:solidFill>
              <a:ea typeface="+mn-ea"/>
              <a:cs typeface="Arial" pitchFamily="34" charset="0"/>
            </a:endParaRPr>
          </a:p>
        </p:txBody>
      </p:sp>
      <p:sp>
        <p:nvSpPr>
          <p:cNvPr id="28" name="Text Placeholder 6"/>
          <p:cNvSpPr>
            <a:spLocks noGrp="1"/>
          </p:cNvSpPr>
          <p:nvPr>
            <p:ph type="body" sz="quarter" idx="13" hasCustomPrompt="1"/>
          </p:nvPr>
        </p:nvSpPr>
        <p:spPr>
          <a:xfrm>
            <a:off x="7117558" y="1758560"/>
            <a:ext cx="3545054" cy="2494144"/>
          </a:xfrm>
        </p:spPr>
        <p:txBody>
          <a:bodyPr wrap="square" anchor="ctr">
            <a:spAutoFit/>
          </a:bodyPr>
          <a:lstStyle>
            <a:lvl1pPr marL="0" indent="0" algn="ctr">
              <a:buNone/>
              <a:defRPr sz="1801" i="1">
                <a:solidFill>
                  <a:schemeClr val="tx1"/>
                </a:solidFill>
                <a:latin typeface="Lato Light" panose="020F0302020204030203" pitchFamily="34" charset="0"/>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baseline="0">
                <a:solidFill>
                  <a:schemeClr val="bg1"/>
                </a:solidFill>
              </a:defRPr>
            </a:lvl5pPr>
            <a:lvl6pPr>
              <a:defRPr sz="1600" baseline="0">
                <a:solidFill>
                  <a:schemeClr val="bg1"/>
                </a:solidFill>
              </a:defRPr>
            </a:lvl6pPr>
            <a:lvl7pPr>
              <a:defRPr sz="1600" baseline="0">
                <a:solidFill>
                  <a:schemeClr val="bg1"/>
                </a:solidFill>
              </a:defRPr>
            </a:lvl7pPr>
            <a:lvl8pPr>
              <a:defRPr sz="1600">
                <a:solidFill>
                  <a:schemeClr val="bg1"/>
                </a:solidFill>
              </a:defRPr>
            </a:lvl8pPr>
            <a:lvl9pPr>
              <a:defRPr sz="1600">
                <a:solidFill>
                  <a:schemeClr val="bg1"/>
                </a:solidFill>
              </a:defRPr>
            </a:lvl9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a:t>
            </a:r>
            <a:r>
              <a:rPr lang="en-US" dirty="0" err="1"/>
              <a:t>Aenean</a:t>
            </a:r>
            <a:r>
              <a:rPr lang="en-US" dirty="0"/>
              <a:t> </a:t>
            </a:r>
            <a:r>
              <a:rPr lang="en-US" dirty="0" err="1"/>
              <a:t>commodo</a:t>
            </a:r>
            <a:r>
              <a:rPr lang="en-US" dirty="0"/>
              <a:t> ligula </a:t>
            </a:r>
            <a:r>
              <a:rPr lang="en-US" dirty="0" err="1"/>
              <a:t>eget</a:t>
            </a:r>
            <a:r>
              <a:rPr lang="en-US" dirty="0"/>
              <a:t> dolor. </a:t>
            </a:r>
            <a:r>
              <a:rPr lang="en-US" dirty="0" err="1"/>
              <a:t>Aenean</a:t>
            </a:r>
            <a:r>
              <a:rPr lang="en-US" dirty="0"/>
              <a:t> </a:t>
            </a:r>
            <a:r>
              <a:rPr lang="en-US" dirty="0" err="1"/>
              <a:t>massa</a:t>
            </a:r>
            <a:r>
              <a:rPr lang="en-US" dirty="0"/>
              <a:t>. Cum </a:t>
            </a:r>
            <a:r>
              <a:rPr lang="en-US" dirty="0" err="1"/>
              <a:t>sociis</a:t>
            </a:r>
            <a:r>
              <a:rPr lang="en-US" dirty="0"/>
              <a:t> </a:t>
            </a:r>
            <a:r>
              <a:rPr lang="en-US" dirty="0" err="1"/>
              <a:t>natoque</a:t>
            </a:r>
            <a:r>
              <a:rPr lang="en-US" dirty="0"/>
              <a:t> </a:t>
            </a:r>
            <a:r>
              <a:rPr lang="en-US" dirty="0" err="1"/>
              <a:t>penatibus</a:t>
            </a:r>
            <a:r>
              <a:rPr lang="en-US" dirty="0"/>
              <a:t> e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 </a:t>
            </a:r>
            <a:r>
              <a:rPr lang="en-US" dirty="0" err="1"/>
              <a:t>Donec</a:t>
            </a:r>
            <a:r>
              <a:rPr lang="en-US" dirty="0"/>
              <a:t> quam </a:t>
            </a:r>
            <a:r>
              <a:rPr lang="en-US" dirty="0" err="1"/>
              <a:t>felis</a:t>
            </a:r>
            <a:r>
              <a:rPr lang="en-US" dirty="0"/>
              <a:t>, </a:t>
            </a:r>
            <a:r>
              <a:rPr lang="en-US" dirty="0" err="1"/>
              <a:t>ultricies</a:t>
            </a:r>
            <a:r>
              <a:rPr lang="en-US" dirty="0"/>
              <a:t> </a:t>
            </a:r>
            <a:r>
              <a:rPr lang="en-US" dirty="0" err="1"/>
              <a:t>nec</a:t>
            </a:r>
            <a:r>
              <a:rPr lang="en-US" dirty="0"/>
              <a:t>, </a:t>
            </a:r>
            <a:r>
              <a:rPr lang="en-US" dirty="0" err="1"/>
              <a:t>pellentesque</a:t>
            </a:r>
            <a:r>
              <a:rPr lang="en-US" dirty="0"/>
              <a:t> </a:t>
            </a:r>
            <a:r>
              <a:rPr lang="en-US" dirty="0" err="1"/>
              <a:t>eu</a:t>
            </a:r>
            <a:r>
              <a:rPr lang="en-US" dirty="0"/>
              <a:t>, </a:t>
            </a:r>
            <a:r>
              <a:rPr lang="en-US" dirty="0" err="1"/>
              <a:t>pretium</a:t>
            </a:r>
            <a:r>
              <a:rPr lang="en-US" dirty="0"/>
              <a:t> </a:t>
            </a:r>
            <a:r>
              <a:rPr lang="en-US" dirty="0" err="1"/>
              <a:t>quis</a:t>
            </a:r>
            <a:r>
              <a:rPr lang="en-US" dirty="0"/>
              <a:t>, sem. </a:t>
            </a:r>
            <a:r>
              <a:rPr lang="en-US" dirty="0" err="1"/>
              <a:t>Nulla</a:t>
            </a:r>
            <a:r>
              <a:rPr lang="en-US" dirty="0"/>
              <a:t> </a:t>
            </a:r>
            <a:r>
              <a:rPr lang="en-US" dirty="0" err="1"/>
              <a:t>consequat</a:t>
            </a:r>
            <a:r>
              <a:rPr lang="en-US" dirty="0"/>
              <a:t> </a:t>
            </a:r>
          </a:p>
        </p:txBody>
      </p:sp>
      <p:grpSp>
        <p:nvGrpSpPr>
          <p:cNvPr id="18" name="Group 17"/>
          <p:cNvGrpSpPr/>
          <p:nvPr userDrawn="1"/>
        </p:nvGrpSpPr>
        <p:grpSpPr>
          <a:xfrm>
            <a:off x="6612535" y="968375"/>
            <a:ext cx="4601989" cy="4921250"/>
            <a:chOff x="553035" y="968376"/>
            <a:chExt cx="3739116" cy="4921250"/>
          </a:xfrm>
        </p:grpSpPr>
        <p:sp>
          <p:nvSpPr>
            <p:cNvPr id="19" name="Rectangle 2"/>
            <p:cNvSpPr/>
            <p:nvPr userDrawn="1"/>
          </p:nvSpPr>
          <p:spPr>
            <a:xfrm>
              <a:off x="4010418" y="968376"/>
              <a:ext cx="281733" cy="122379"/>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30" indent="-174630">
                <a:buFont typeface="Arial" panose="020B0604020202020204" pitchFamily="34" charset="0"/>
                <a:buChar char="•"/>
              </a:pPr>
              <a:endParaRPr lang="en-US" sz="1600">
                <a:solidFill>
                  <a:schemeClr val="tx1"/>
                </a:solidFill>
                <a:latin typeface="+mj-lt"/>
                <a:cs typeface="Arial" pitchFamily="34" charset="0"/>
              </a:endParaRPr>
            </a:p>
          </p:txBody>
        </p:sp>
        <p:sp>
          <p:nvSpPr>
            <p:cNvPr id="20" name="Rectangle 2"/>
            <p:cNvSpPr/>
            <p:nvPr userDrawn="1"/>
          </p:nvSpPr>
          <p:spPr>
            <a:xfrm flipH="1" flipV="1">
              <a:off x="553035" y="5767247"/>
              <a:ext cx="281733" cy="122379"/>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30" indent="-174630">
                <a:buFont typeface="Arial" panose="020B0604020202020204" pitchFamily="34" charset="0"/>
                <a:buChar char="•"/>
              </a:pPr>
              <a:endParaRPr lang="en-US" sz="1600">
                <a:solidFill>
                  <a:schemeClr val="tx1"/>
                </a:solidFill>
                <a:latin typeface="+mj-lt"/>
                <a:cs typeface="Arial" pitchFamily="34" charset="0"/>
              </a:endParaRPr>
            </a:p>
          </p:txBody>
        </p:sp>
      </p:grpSp>
      <p:sp>
        <p:nvSpPr>
          <p:cNvPr id="14" name="Text Placeholder 6">
            <a:extLst>
              <a:ext uri="{FF2B5EF4-FFF2-40B4-BE49-F238E27FC236}">
                <a16:creationId xmlns:a16="http://schemas.microsoft.com/office/drawing/2014/main" id="{6C6013CF-FC78-40DA-8ADB-9ABF40333565}"/>
              </a:ext>
            </a:extLst>
          </p:cNvPr>
          <p:cNvSpPr>
            <a:spLocks noGrp="1"/>
          </p:cNvSpPr>
          <p:nvPr>
            <p:ph type="body" sz="quarter" idx="17" hasCustomPrompt="1"/>
          </p:nvPr>
        </p:nvSpPr>
        <p:spPr>
          <a:xfrm>
            <a:off x="7117558" y="4917107"/>
            <a:ext cx="3545054" cy="190856"/>
          </a:xfrm>
        </p:spPr>
        <p:txBody>
          <a:bodyPr wrap="square" anchor="t">
            <a:noAutofit/>
          </a:bodyPr>
          <a:lstStyle>
            <a:lvl1pPr marL="0" indent="0" algn="ctr">
              <a:buNone/>
              <a:defRPr sz="1600" i="0" cap="none" baseline="0">
                <a:solidFill>
                  <a:schemeClr val="tx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baseline="0">
                <a:solidFill>
                  <a:schemeClr val="bg1"/>
                </a:solidFill>
              </a:defRPr>
            </a:lvl5pPr>
            <a:lvl6pPr>
              <a:defRPr sz="1600" baseline="0">
                <a:solidFill>
                  <a:schemeClr val="bg1"/>
                </a:solidFill>
              </a:defRPr>
            </a:lvl6pPr>
            <a:lvl7pPr>
              <a:defRPr sz="1600" baseline="0">
                <a:solidFill>
                  <a:schemeClr val="bg1"/>
                </a:solidFill>
              </a:defRPr>
            </a:lvl7pPr>
            <a:lvl8pPr>
              <a:defRPr sz="1600">
                <a:solidFill>
                  <a:schemeClr val="bg1"/>
                </a:solidFill>
              </a:defRPr>
            </a:lvl8pPr>
            <a:lvl9pPr>
              <a:defRPr sz="1600">
                <a:solidFill>
                  <a:schemeClr val="bg1"/>
                </a:solidFill>
              </a:defRPr>
            </a:lvl9pPr>
          </a:lstStyle>
          <a:p>
            <a:pPr lvl="0"/>
            <a:r>
              <a:rPr lang="en-US" dirty="0"/>
              <a:t>EILEEN MILES</a:t>
            </a:r>
          </a:p>
        </p:txBody>
      </p:sp>
      <p:sp>
        <p:nvSpPr>
          <p:cNvPr id="17" name="Text Placeholder 6">
            <a:extLst>
              <a:ext uri="{FF2B5EF4-FFF2-40B4-BE49-F238E27FC236}">
                <a16:creationId xmlns:a16="http://schemas.microsoft.com/office/drawing/2014/main" id="{990FFE4D-0585-41B6-888F-F398547AA3E7}"/>
              </a:ext>
            </a:extLst>
          </p:cNvPr>
          <p:cNvSpPr>
            <a:spLocks noGrp="1"/>
          </p:cNvSpPr>
          <p:nvPr>
            <p:ph type="body" sz="quarter" idx="18" hasCustomPrompt="1"/>
          </p:nvPr>
        </p:nvSpPr>
        <p:spPr>
          <a:xfrm>
            <a:off x="7117558" y="5146062"/>
            <a:ext cx="3545054" cy="190856"/>
          </a:xfrm>
        </p:spPr>
        <p:txBody>
          <a:bodyPr wrap="square" anchor="t">
            <a:noAutofit/>
          </a:bodyPr>
          <a:lstStyle>
            <a:lvl1pPr marL="0" indent="0" algn="ctr">
              <a:buNone/>
              <a:defRPr sz="1200" i="1" cap="none" baseline="0">
                <a:solidFill>
                  <a:schemeClr val="tx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baseline="0">
                <a:solidFill>
                  <a:schemeClr val="bg1"/>
                </a:solidFill>
              </a:defRPr>
            </a:lvl5pPr>
            <a:lvl6pPr>
              <a:defRPr sz="1600" baseline="0">
                <a:solidFill>
                  <a:schemeClr val="bg1"/>
                </a:solidFill>
              </a:defRPr>
            </a:lvl6pPr>
            <a:lvl7pPr>
              <a:defRPr sz="1600" baseline="0">
                <a:solidFill>
                  <a:schemeClr val="bg1"/>
                </a:solidFill>
              </a:defRPr>
            </a:lvl7pPr>
            <a:lvl8pPr>
              <a:defRPr sz="1600">
                <a:solidFill>
                  <a:schemeClr val="bg1"/>
                </a:solidFill>
              </a:defRPr>
            </a:lvl8pPr>
            <a:lvl9pPr>
              <a:defRPr sz="1600">
                <a:solidFill>
                  <a:schemeClr val="bg1"/>
                </a:solidFill>
              </a:defRPr>
            </a:lvl9pPr>
          </a:lstStyle>
          <a:p>
            <a:pPr lvl="0"/>
            <a:r>
              <a:rPr lang="en-US" dirty="0"/>
              <a:t>Research Lead</a:t>
            </a:r>
          </a:p>
        </p:txBody>
      </p:sp>
      <p:sp>
        <p:nvSpPr>
          <p:cNvPr id="25" name="Text Placeholder 3">
            <a:extLst>
              <a:ext uri="{FF2B5EF4-FFF2-40B4-BE49-F238E27FC236}">
                <a16:creationId xmlns:a16="http://schemas.microsoft.com/office/drawing/2014/main" id="{CC3099CF-9242-480A-AF52-6C5D71F162EA}"/>
              </a:ext>
            </a:extLst>
          </p:cNvPr>
          <p:cNvSpPr>
            <a:spLocks noGrp="1"/>
          </p:cNvSpPr>
          <p:nvPr>
            <p:ph type="body" sz="quarter" idx="20" hasCustomPrompt="1"/>
          </p:nvPr>
        </p:nvSpPr>
        <p:spPr>
          <a:xfrm>
            <a:off x="1710099" y="1482141"/>
            <a:ext cx="2571262" cy="1254125"/>
          </a:xfrm>
        </p:spPr>
        <p:txBody>
          <a:bodyPr/>
          <a:lstStyle>
            <a:lvl1pPr marL="0" indent="0">
              <a:buNone/>
              <a:defRPr i="1">
                <a:solidFill>
                  <a:srgbClr val="606060"/>
                </a:solidFill>
              </a:defRPr>
            </a:lvl1pPr>
          </a:lstStyle>
          <a:p>
            <a:pPr lvl="0"/>
            <a:r>
              <a:rPr lang="en-ZA" dirty="0"/>
              <a:t>To insert photo overlay in the left hand side of the slide, refer to instructions at end of deck</a:t>
            </a:r>
          </a:p>
        </p:txBody>
      </p:sp>
      <p:sp>
        <p:nvSpPr>
          <p:cNvPr id="30" name="Rectangle 29">
            <a:extLst>
              <a:ext uri="{FF2B5EF4-FFF2-40B4-BE49-F238E27FC236}">
                <a16:creationId xmlns:a16="http://schemas.microsoft.com/office/drawing/2014/main" id="{1CA5E2EC-169B-41D8-AB4A-989D2A6ED05C}"/>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sp>
        <p:nvSpPr>
          <p:cNvPr id="31" name="Slide Number Placeholder 5">
            <a:extLst>
              <a:ext uri="{FF2B5EF4-FFF2-40B4-BE49-F238E27FC236}">
                <a16:creationId xmlns:a16="http://schemas.microsoft.com/office/drawing/2014/main" id="{9FE60C44-24BA-4E7D-BCF5-0722A2C83C61}"/>
              </a:ext>
            </a:extLst>
          </p:cNvPr>
          <p:cNvSpPr>
            <a:spLocks noGrp="1"/>
          </p:cNvSpPr>
          <p:nvPr>
            <p:ph type="sldNum" sz="quarter" idx="4"/>
          </p:nvPr>
        </p:nvSpPr>
        <p:spPr bwMode="gray">
          <a:xfrm>
            <a:off x="11743978" y="6529802"/>
            <a:ext cx="280034" cy="154017"/>
          </a:xfrm>
          <a:prstGeom prst="rect">
            <a:avLst/>
          </a:prstGeom>
          <a:noFill/>
        </p:spPr>
        <p:txBody>
          <a:bodyPr vert="horz" wrap="square" lIns="0" tIns="0" rIns="0" bIns="0" rtlCol="0" anchor="ctr">
            <a:spAutoFit/>
          </a:bodyPr>
          <a:lstStyle>
            <a:lvl1pPr algn="ctr">
              <a:defRPr sz="1001">
                <a:solidFill>
                  <a:schemeClr val="bg1"/>
                </a:solidFill>
                <a:latin typeface="Lato" panose="020F0502020204030203" pitchFamily="34" charset="0"/>
                <a:cs typeface="Arial" pitchFamily="34" charset="0"/>
              </a:defRPr>
            </a:lvl1pPr>
          </a:lstStyle>
          <a:p>
            <a:fld id="{A90607E6-BCED-4FC1-A345-AB2A307AB80F}" type="slidenum">
              <a:rPr lang="en-US" smtClean="0"/>
              <a:pPr/>
              <a:t>‹#›</a:t>
            </a:fld>
            <a:endParaRPr lang="en-US" dirty="0"/>
          </a:p>
        </p:txBody>
      </p:sp>
      <p:pic>
        <p:nvPicPr>
          <p:cNvPr id="15" name="Picture 14">
            <a:extLst>
              <a:ext uri="{FF2B5EF4-FFF2-40B4-BE49-F238E27FC236}">
                <a16:creationId xmlns:a16="http://schemas.microsoft.com/office/drawing/2014/main" id="{70E64DFA-24F7-456C-9965-EEC797C85A38}"/>
              </a:ext>
            </a:extLst>
          </p:cNvPr>
          <p:cNvPicPr>
            <a:picLocks/>
          </p:cNvPicPr>
          <p:nvPr userDrawn="1"/>
        </p:nvPicPr>
        <p:blipFill>
          <a:blip r:embed="rId6" cstate="email">
            <a:extLst>
              <a:ext uri="{28A0092B-C50C-407E-A947-70E740481C1C}">
                <a14:useLocalDpi xmlns:a14="http://schemas.microsoft.com/office/drawing/2010/main"/>
              </a:ext>
            </a:extLst>
          </a:blip>
          <a:stretch>
            <a:fillRect/>
          </a:stretch>
        </p:blipFill>
        <p:spPr>
          <a:xfrm>
            <a:off x="10480621" y="6511925"/>
            <a:ext cx="704948" cy="219106"/>
          </a:xfrm>
          <a:prstGeom prst="rect">
            <a:avLst/>
          </a:prstGeom>
        </p:spPr>
      </p:pic>
    </p:spTree>
    <p:extLst>
      <p:ext uri="{BB962C8B-B14F-4D97-AF65-F5344CB8AC3E}">
        <p14:creationId xmlns:p14="http://schemas.microsoft.com/office/powerpoint/2010/main" val="338032271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4">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755937729"/>
              </p:ext>
            </p:extLst>
          </p:nvPr>
        </p:nvGraphicFramePr>
        <p:xfrm>
          <a:off x="2121" y="2118"/>
          <a:ext cx="2116" cy="2116"/>
        </p:xfrm>
        <a:graphic>
          <a:graphicData uri="http://schemas.openxmlformats.org/presentationml/2006/ole">
            <mc:AlternateContent xmlns:mc="http://schemas.openxmlformats.org/markup-compatibility/2006">
              <mc:Choice xmlns:v="urn:schemas-microsoft-com:vml" Requires="v">
                <p:oleObj spid="_x0000_s268800" name="think-cell Slide" r:id="rId4" imgW="383" imgH="385" progId="TCLayout.ActiveDocument.1">
                  <p:embed/>
                </p:oleObj>
              </mc:Choice>
              <mc:Fallback>
                <p:oleObj name="think-cell Slide" r:id="rId4" imgW="383" imgH="385" progId="TCLayout.ActiveDocument.1">
                  <p:embed/>
                  <p:pic>
                    <p:nvPicPr>
                      <p:cNvPr id="6" name="Object 5" hidden="1"/>
                      <p:cNvPicPr/>
                      <p:nvPr/>
                    </p:nvPicPr>
                    <p:blipFill>
                      <a:blip r:embed="rId5"/>
                      <a:stretch>
                        <a:fillRect/>
                      </a:stretch>
                    </p:blipFill>
                    <p:spPr>
                      <a:xfrm>
                        <a:off x="2121" y="2118"/>
                        <a:ext cx="2116" cy="2116"/>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F7C31C83-38F3-E74C-B744-1DC01F909DF4}"/>
              </a:ext>
            </a:extLst>
          </p:cNvPr>
          <p:cNvSpPr/>
          <p:nvPr userDrawn="1"/>
        </p:nvSpPr>
        <p:spPr>
          <a:xfrm>
            <a:off x="-32015" y="4234"/>
            <a:ext cx="6027338" cy="6858000"/>
          </a:xfrm>
          <a:prstGeom prst="rect">
            <a:avLst/>
          </a:prstGeom>
          <a:solidFill>
            <a:srgbClr val="0889A8">
              <a:alpha val="89804"/>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algn="l" defTabSz="914423" rtl="0" eaLnBrk="1" latinLnBrk="0" hangingPunct="1">
              <a:lnSpc>
                <a:spcPct val="100000"/>
              </a:lnSpc>
              <a:spcBef>
                <a:spcPts val="0"/>
              </a:spcBef>
            </a:pPr>
            <a:endParaRPr lang="en-US" sz="1600" kern="1200" dirty="0">
              <a:solidFill>
                <a:schemeClr val="tx1"/>
              </a:solidFill>
              <a:ea typeface="+mn-ea"/>
              <a:cs typeface="Arial" pitchFamily="34" charset="0"/>
            </a:endParaRPr>
          </a:p>
        </p:txBody>
      </p:sp>
      <p:sp>
        <p:nvSpPr>
          <p:cNvPr id="2" name="Rectangle 1">
            <a:extLst>
              <a:ext uri="{FF2B5EF4-FFF2-40B4-BE49-F238E27FC236}">
                <a16:creationId xmlns:a16="http://schemas.microsoft.com/office/drawing/2014/main" id="{16EA8F19-CE53-4F4B-B808-718A3862F72C}"/>
              </a:ext>
            </a:extLst>
          </p:cNvPr>
          <p:cNvSpPr/>
          <p:nvPr userDrawn="1"/>
        </p:nvSpPr>
        <p:spPr>
          <a:xfrm>
            <a:off x="5963306" y="3"/>
            <a:ext cx="6228694"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algn="l" defTabSz="914423" rtl="0" eaLnBrk="1" latinLnBrk="0" hangingPunct="1">
              <a:lnSpc>
                <a:spcPct val="100000"/>
              </a:lnSpc>
              <a:spcBef>
                <a:spcPts val="0"/>
              </a:spcBef>
            </a:pPr>
            <a:endParaRPr lang="en-US" sz="1600" kern="1200" dirty="0">
              <a:solidFill>
                <a:schemeClr val="tx1"/>
              </a:solidFill>
              <a:ea typeface="+mn-ea"/>
              <a:cs typeface="Arial" pitchFamily="34" charset="0"/>
            </a:endParaRPr>
          </a:p>
        </p:txBody>
      </p:sp>
      <p:grpSp>
        <p:nvGrpSpPr>
          <p:cNvPr id="30" name="Group 29">
            <a:extLst>
              <a:ext uri="{FF2B5EF4-FFF2-40B4-BE49-F238E27FC236}">
                <a16:creationId xmlns:a16="http://schemas.microsoft.com/office/drawing/2014/main" id="{B83B7BDD-34F6-6648-9F4C-E52667F15B16}"/>
              </a:ext>
            </a:extLst>
          </p:cNvPr>
          <p:cNvGrpSpPr/>
          <p:nvPr userDrawn="1"/>
        </p:nvGrpSpPr>
        <p:grpSpPr>
          <a:xfrm>
            <a:off x="680660" y="548350"/>
            <a:ext cx="4601989" cy="5741781"/>
            <a:chOff x="1002364" y="142913"/>
            <a:chExt cx="3739116" cy="5741781"/>
          </a:xfrm>
        </p:grpSpPr>
        <p:sp>
          <p:nvSpPr>
            <p:cNvPr id="31" name="Rectangle 2">
              <a:extLst>
                <a:ext uri="{FF2B5EF4-FFF2-40B4-BE49-F238E27FC236}">
                  <a16:creationId xmlns:a16="http://schemas.microsoft.com/office/drawing/2014/main" id="{EEDA74E6-F752-B545-944D-93FF7675575F}"/>
                </a:ext>
              </a:extLst>
            </p:cNvPr>
            <p:cNvSpPr/>
            <p:nvPr/>
          </p:nvSpPr>
          <p:spPr>
            <a:xfrm>
              <a:off x="4459747" y="142913"/>
              <a:ext cx="281733" cy="122379"/>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30" indent="-174630">
                <a:buFont typeface="Arial" panose="020B0604020202020204" pitchFamily="34" charset="0"/>
                <a:buChar char="•"/>
              </a:pPr>
              <a:endParaRPr lang="en-US" sz="1600">
                <a:solidFill>
                  <a:schemeClr val="tx1"/>
                </a:solidFill>
                <a:latin typeface="+mj-lt"/>
                <a:cs typeface="Arial" pitchFamily="34" charset="0"/>
              </a:endParaRPr>
            </a:p>
          </p:txBody>
        </p:sp>
        <p:sp>
          <p:nvSpPr>
            <p:cNvPr id="32" name="Rectangle 2">
              <a:extLst>
                <a:ext uri="{FF2B5EF4-FFF2-40B4-BE49-F238E27FC236}">
                  <a16:creationId xmlns:a16="http://schemas.microsoft.com/office/drawing/2014/main" id="{3C57E902-7CD3-5841-AA9C-1DA8D6E8EE1D}"/>
                </a:ext>
              </a:extLst>
            </p:cNvPr>
            <p:cNvSpPr/>
            <p:nvPr/>
          </p:nvSpPr>
          <p:spPr>
            <a:xfrm rot="10800000">
              <a:off x="1002364" y="5762315"/>
              <a:ext cx="281733" cy="122379"/>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30" indent="-174630">
                <a:buFont typeface="Arial" panose="020B0604020202020204" pitchFamily="34" charset="0"/>
                <a:buChar char="•"/>
              </a:pPr>
              <a:endParaRPr lang="en-US" sz="1600">
                <a:solidFill>
                  <a:schemeClr val="tx1"/>
                </a:solidFill>
                <a:latin typeface="+mj-lt"/>
                <a:cs typeface="Arial" pitchFamily="34" charset="0"/>
              </a:endParaRPr>
            </a:p>
          </p:txBody>
        </p:sp>
      </p:grpSp>
      <p:sp>
        <p:nvSpPr>
          <p:cNvPr id="10" name="Text Placeholder 6">
            <a:extLst>
              <a:ext uri="{FF2B5EF4-FFF2-40B4-BE49-F238E27FC236}">
                <a16:creationId xmlns:a16="http://schemas.microsoft.com/office/drawing/2014/main" id="{4B4A1781-A387-4D4E-8C99-4F93C2A8744C}"/>
              </a:ext>
            </a:extLst>
          </p:cNvPr>
          <p:cNvSpPr>
            <a:spLocks noGrp="1"/>
          </p:cNvSpPr>
          <p:nvPr>
            <p:ph type="body" sz="quarter" idx="17" hasCustomPrompt="1"/>
          </p:nvPr>
        </p:nvSpPr>
        <p:spPr>
          <a:xfrm>
            <a:off x="1209127" y="5014800"/>
            <a:ext cx="3545054" cy="190856"/>
          </a:xfrm>
        </p:spPr>
        <p:txBody>
          <a:bodyPr wrap="square" anchor="t">
            <a:noAutofit/>
          </a:bodyPr>
          <a:lstStyle>
            <a:lvl1pPr marL="0" indent="0" algn="ctr">
              <a:buNone/>
              <a:defRPr sz="1600" i="0" cap="none" baseline="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baseline="0">
                <a:solidFill>
                  <a:schemeClr val="bg1"/>
                </a:solidFill>
              </a:defRPr>
            </a:lvl5pPr>
            <a:lvl6pPr>
              <a:defRPr sz="1600" baseline="0">
                <a:solidFill>
                  <a:schemeClr val="bg1"/>
                </a:solidFill>
              </a:defRPr>
            </a:lvl6pPr>
            <a:lvl7pPr>
              <a:defRPr sz="1600" baseline="0">
                <a:solidFill>
                  <a:schemeClr val="bg1"/>
                </a:solidFill>
              </a:defRPr>
            </a:lvl7pPr>
            <a:lvl8pPr>
              <a:defRPr sz="1600">
                <a:solidFill>
                  <a:schemeClr val="bg1"/>
                </a:solidFill>
              </a:defRPr>
            </a:lvl8pPr>
            <a:lvl9pPr>
              <a:defRPr sz="1600">
                <a:solidFill>
                  <a:schemeClr val="bg1"/>
                </a:solidFill>
              </a:defRPr>
            </a:lvl9pPr>
          </a:lstStyle>
          <a:p>
            <a:pPr lvl="0"/>
            <a:r>
              <a:rPr lang="en-US" dirty="0"/>
              <a:t>EILEEN MILES</a:t>
            </a:r>
          </a:p>
        </p:txBody>
      </p:sp>
      <p:sp>
        <p:nvSpPr>
          <p:cNvPr id="11" name="Text Placeholder 6">
            <a:extLst>
              <a:ext uri="{FF2B5EF4-FFF2-40B4-BE49-F238E27FC236}">
                <a16:creationId xmlns:a16="http://schemas.microsoft.com/office/drawing/2014/main" id="{BEADDFE3-86E5-144A-BE2D-414353F15921}"/>
              </a:ext>
            </a:extLst>
          </p:cNvPr>
          <p:cNvSpPr>
            <a:spLocks noGrp="1"/>
          </p:cNvSpPr>
          <p:nvPr>
            <p:ph type="body" sz="quarter" idx="13" hasCustomPrompt="1"/>
          </p:nvPr>
        </p:nvSpPr>
        <p:spPr>
          <a:xfrm>
            <a:off x="1209127" y="1717690"/>
            <a:ext cx="3545054" cy="2771271"/>
          </a:xfrm>
        </p:spPr>
        <p:txBody>
          <a:bodyPr wrap="square" anchor="ctr">
            <a:spAutoFit/>
          </a:bodyPr>
          <a:lstStyle>
            <a:lvl1pPr marL="0" indent="0" algn="ctr">
              <a:buNone/>
              <a:defRPr sz="1801" i="1">
                <a:solidFill>
                  <a:schemeClr val="bg1"/>
                </a:solidFill>
                <a:latin typeface="Lato Light" panose="020F0302020204030203" pitchFamily="34" charset="0"/>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baseline="0">
                <a:solidFill>
                  <a:schemeClr val="bg1"/>
                </a:solidFill>
              </a:defRPr>
            </a:lvl5pPr>
            <a:lvl6pPr>
              <a:defRPr sz="1600" baseline="0">
                <a:solidFill>
                  <a:schemeClr val="bg1"/>
                </a:solidFill>
              </a:defRPr>
            </a:lvl6pPr>
            <a:lvl7pPr>
              <a:defRPr sz="1600" baseline="0">
                <a:solidFill>
                  <a:schemeClr val="bg1"/>
                </a:solidFill>
              </a:defRPr>
            </a:lvl7pPr>
            <a:lvl8pPr>
              <a:defRPr sz="1600">
                <a:solidFill>
                  <a:schemeClr val="bg1"/>
                </a:solidFill>
              </a:defRPr>
            </a:lvl8pPr>
            <a:lvl9pPr>
              <a:defRPr sz="1600">
                <a:solidFill>
                  <a:schemeClr val="bg1"/>
                </a:solidFill>
              </a:defRPr>
            </a:lvl9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a:t>
            </a:r>
            <a:r>
              <a:rPr lang="en-US" dirty="0" err="1"/>
              <a:t>Aenean</a:t>
            </a:r>
            <a:r>
              <a:rPr lang="en-US" dirty="0"/>
              <a:t> </a:t>
            </a:r>
            <a:r>
              <a:rPr lang="en-US" dirty="0" err="1"/>
              <a:t>commodo</a:t>
            </a:r>
            <a:r>
              <a:rPr lang="en-US" dirty="0"/>
              <a:t> ligula </a:t>
            </a:r>
            <a:r>
              <a:rPr lang="en-US" dirty="0" err="1"/>
              <a:t>eget</a:t>
            </a:r>
            <a:r>
              <a:rPr lang="en-US" dirty="0"/>
              <a:t> dolor. </a:t>
            </a:r>
            <a:r>
              <a:rPr lang="en-US" dirty="0" err="1"/>
              <a:t>Aenean</a:t>
            </a:r>
            <a:r>
              <a:rPr lang="en-US" dirty="0"/>
              <a:t> </a:t>
            </a:r>
            <a:r>
              <a:rPr lang="en-US" dirty="0" err="1"/>
              <a:t>massa</a:t>
            </a:r>
            <a:r>
              <a:rPr lang="en-US" dirty="0"/>
              <a:t>. Cum </a:t>
            </a:r>
            <a:r>
              <a:rPr lang="en-US" dirty="0" err="1"/>
              <a:t>sociis</a:t>
            </a:r>
            <a:r>
              <a:rPr lang="en-US" dirty="0"/>
              <a:t> </a:t>
            </a:r>
            <a:r>
              <a:rPr lang="en-US" dirty="0" err="1"/>
              <a:t>natoque</a:t>
            </a:r>
            <a:r>
              <a:rPr lang="en-US" dirty="0"/>
              <a:t> </a:t>
            </a:r>
            <a:r>
              <a:rPr lang="en-US" dirty="0" err="1"/>
              <a:t>penatibus</a:t>
            </a:r>
            <a:r>
              <a:rPr lang="en-US" dirty="0"/>
              <a:t> e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 </a:t>
            </a:r>
            <a:r>
              <a:rPr lang="en-US" dirty="0" err="1"/>
              <a:t>Donec</a:t>
            </a:r>
            <a:r>
              <a:rPr lang="en-US" dirty="0"/>
              <a:t> quam </a:t>
            </a:r>
            <a:r>
              <a:rPr lang="en-US" dirty="0" err="1"/>
              <a:t>felis</a:t>
            </a:r>
            <a:r>
              <a:rPr lang="en-US" dirty="0"/>
              <a:t>, </a:t>
            </a:r>
            <a:r>
              <a:rPr lang="en-US" dirty="0" err="1"/>
              <a:t>ultricies</a:t>
            </a:r>
            <a:r>
              <a:rPr lang="en-US" dirty="0"/>
              <a:t> </a:t>
            </a:r>
            <a:r>
              <a:rPr lang="en-US" dirty="0" err="1"/>
              <a:t>nec</a:t>
            </a:r>
            <a:r>
              <a:rPr lang="en-US" dirty="0"/>
              <a:t>, </a:t>
            </a:r>
            <a:r>
              <a:rPr lang="en-US" dirty="0" err="1"/>
              <a:t>pellentesque</a:t>
            </a:r>
            <a:r>
              <a:rPr lang="en-US" dirty="0"/>
              <a:t> </a:t>
            </a:r>
            <a:r>
              <a:rPr lang="en-US" dirty="0" err="1"/>
              <a:t>eu</a:t>
            </a:r>
            <a:r>
              <a:rPr lang="en-US" dirty="0"/>
              <a:t>, </a:t>
            </a:r>
            <a:r>
              <a:rPr lang="en-US" dirty="0" err="1"/>
              <a:t>pretium</a:t>
            </a:r>
            <a:r>
              <a:rPr lang="en-US" dirty="0"/>
              <a:t> </a:t>
            </a:r>
            <a:r>
              <a:rPr lang="en-US" dirty="0" err="1"/>
              <a:t>quis</a:t>
            </a:r>
            <a:r>
              <a:rPr lang="en-US" dirty="0"/>
              <a:t>, sem. </a:t>
            </a:r>
            <a:r>
              <a:rPr lang="en-US" dirty="0" err="1"/>
              <a:t>Nulla</a:t>
            </a:r>
            <a:r>
              <a:rPr lang="en-US" dirty="0"/>
              <a:t> </a:t>
            </a:r>
            <a:r>
              <a:rPr lang="en-US" dirty="0" err="1"/>
              <a:t>consequat</a:t>
            </a:r>
            <a:r>
              <a:rPr lang="en-US" dirty="0"/>
              <a:t> </a:t>
            </a:r>
            <a:r>
              <a:rPr lang="en-US" dirty="0" err="1"/>
              <a:t>massa</a:t>
            </a:r>
            <a:r>
              <a:rPr lang="en-US" dirty="0"/>
              <a:t> </a:t>
            </a:r>
            <a:r>
              <a:rPr lang="en-US" dirty="0" err="1"/>
              <a:t>quis</a:t>
            </a:r>
            <a:r>
              <a:rPr lang="en-US" dirty="0"/>
              <a:t> </a:t>
            </a:r>
            <a:r>
              <a:rPr lang="en-US" dirty="0" err="1"/>
              <a:t>enim</a:t>
            </a:r>
            <a:r>
              <a:rPr lang="en-US" dirty="0"/>
              <a:t>. </a:t>
            </a:r>
            <a:r>
              <a:rPr lang="en-US" dirty="0" err="1"/>
              <a:t>Donec</a:t>
            </a:r>
            <a:endParaRPr lang="en-US" dirty="0"/>
          </a:p>
        </p:txBody>
      </p:sp>
      <p:sp>
        <p:nvSpPr>
          <p:cNvPr id="12" name="Text Placeholder 6">
            <a:extLst>
              <a:ext uri="{FF2B5EF4-FFF2-40B4-BE49-F238E27FC236}">
                <a16:creationId xmlns:a16="http://schemas.microsoft.com/office/drawing/2014/main" id="{C9198001-A4EC-2A48-A1AE-4DF7C6CEA0D1}"/>
              </a:ext>
            </a:extLst>
          </p:cNvPr>
          <p:cNvSpPr>
            <a:spLocks noGrp="1"/>
          </p:cNvSpPr>
          <p:nvPr>
            <p:ph type="body" sz="quarter" idx="18" hasCustomPrompt="1"/>
          </p:nvPr>
        </p:nvSpPr>
        <p:spPr>
          <a:xfrm>
            <a:off x="1209127" y="5243755"/>
            <a:ext cx="3545054" cy="190856"/>
          </a:xfrm>
        </p:spPr>
        <p:txBody>
          <a:bodyPr wrap="square" anchor="t">
            <a:noAutofit/>
          </a:bodyPr>
          <a:lstStyle>
            <a:lvl1pPr marL="0" indent="0" algn="ctr">
              <a:buNone/>
              <a:defRPr sz="1200" i="1" cap="none" baseline="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baseline="0">
                <a:solidFill>
                  <a:schemeClr val="bg1"/>
                </a:solidFill>
              </a:defRPr>
            </a:lvl5pPr>
            <a:lvl6pPr>
              <a:defRPr sz="1600" baseline="0">
                <a:solidFill>
                  <a:schemeClr val="bg1"/>
                </a:solidFill>
              </a:defRPr>
            </a:lvl6pPr>
            <a:lvl7pPr>
              <a:defRPr sz="1600" baseline="0">
                <a:solidFill>
                  <a:schemeClr val="bg1"/>
                </a:solidFill>
              </a:defRPr>
            </a:lvl7pPr>
            <a:lvl8pPr>
              <a:defRPr sz="1600">
                <a:solidFill>
                  <a:schemeClr val="bg1"/>
                </a:solidFill>
              </a:defRPr>
            </a:lvl8pPr>
            <a:lvl9pPr>
              <a:defRPr sz="1600">
                <a:solidFill>
                  <a:schemeClr val="bg1"/>
                </a:solidFill>
              </a:defRPr>
            </a:lvl9pPr>
          </a:lstStyle>
          <a:p>
            <a:pPr lvl="0"/>
            <a:r>
              <a:rPr lang="en-US" dirty="0"/>
              <a:t>Research Lead</a:t>
            </a:r>
          </a:p>
        </p:txBody>
      </p:sp>
      <p:sp>
        <p:nvSpPr>
          <p:cNvPr id="23" name="Text Placeholder 3">
            <a:extLst>
              <a:ext uri="{FF2B5EF4-FFF2-40B4-BE49-F238E27FC236}">
                <a16:creationId xmlns:a16="http://schemas.microsoft.com/office/drawing/2014/main" id="{67CB83A3-AD5B-4BB0-932E-116EB90EC39D}"/>
              </a:ext>
            </a:extLst>
          </p:cNvPr>
          <p:cNvSpPr>
            <a:spLocks noGrp="1"/>
          </p:cNvSpPr>
          <p:nvPr>
            <p:ph type="body" sz="quarter" idx="20" hasCustomPrompt="1"/>
          </p:nvPr>
        </p:nvSpPr>
        <p:spPr>
          <a:xfrm>
            <a:off x="8092831" y="1881464"/>
            <a:ext cx="2571262" cy="1254125"/>
          </a:xfrm>
        </p:spPr>
        <p:txBody>
          <a:bodyPr/>
          <a:lstStyle>
            <a:lvl1pPr marL="0" indent="0">
              <a:buNone/>
              <a:defRPr i="1">
                <a:solidFill>
                  <a:srgbClr val="606060"/>
                </a:solidFill>
              </a:defRPr>
            </a:lvl1pPr>
          </a:lstStyle>
          <a:p>
            <a:pPr lvl="0"/>
            <a:r>
              <a:rPr lang="en-ZA" dirty="0"/>
              <a:t>This slide requires a photo background. To insert photo overlay, refer to instructions at end of deck</a:t>
            </a:r>
          </a:p>
        </p:txBody>
      </p:sp>
      <p:sp>
        <p:nvSpPr>
          <p:cNvPr id="22" name="Rectangle 21">
            <a:extLst>
              <a:ext uri="{FF2B5EF4-FFF2-40B4-BE49-F238E27FC236}">
                <a16:creationId xmlns:a16="http://schemas.microsoft.com/office/drawing/2014/main" id="{6FF79567-1EE4-4D5A-984C-6280F6567B3F}"/>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sp>
        <p:nvSpPr>
          <p:cNvPr id="25" name="Slide Number Placeholder 5">
            <a:extLst>
              <a:ext uri="{FF2B5EF4-FFF2-40B4-BE49-F238E27FC236}">
                <a16:creationId xmlns:a16="http://schemas.microsoft.com/office/drawing/2014/main" id="{E358A37F-6CFB-45E7-B798-5D6A0AB14FFB}"/>
              </a:ext>
            </a:extLst>
          </p:cNvPr>
          <p:cNvSpPr>
            <a:spLocks noGrp="1"/>
          </p:cNvSpPr>
          <p:nvPr>
            <p:ph type="sldNum" sz="quarter" idx="4"/>
          </p:nvPr>
        </p:nvSpPr>
        <p:spPr bwMode="gray">
          <a:xfrm>
            <a:off x="11743978" y="6529802"/>
            <a:ext cx="280034" cy="154017"/>
          </a:xfrm>
          <a:prstGeom prst="rect">
            <a:avLst/>
          </a:prstGeom>
          <a:noFill/>
        </p:spPr>
        <p:txBody>
          <a:bodyPr vert="horz" wrap="square" lIns="0" tIns="0" rIns="0" bIns="0" rtlCol="0" anchor="ctr">
            <a:spAutoFit/>
          </a:bodyPr>
          <a:lstStyle>
            <a:lvl1pPr algn="ctr">
              <a:defRPr sz="1001">
                <a:solidFill>
                  <a:schemeClr val="bg1"/>
                </a:solidFill>
                <a:latin typeface="Lato" panose="020F0502020204030203" pitchFamily="34" charset="0"/>
                <a:cs typeface="Arial" pitchFamily="34" charset="0"/>
              </a:defRPr>
            </a:lvl1pPr>
          </a:lstStyle>
          <a:p>
            <a:fld id="{A90607E6-BCED-4FC1-A345-AB2A307AB80F}" type="slidenum">
              <a:rPr lang="en-US" smtClean="0"/>
              <a:pPr/>
              <a:t>‹#›</a:t>
            </a:fld>
            <a:endParaRPr lang="en-US" dirty="0"/>
          </a:p>
        </p:txBody>
      </p:sp>
      <p:pic>
        <p:nvPicPr>
          <p:cNvPr id="17" name="Picture 16">
            <a:extLst>
              <a:ext uri="{FF2B5EF4-FFF2-40B4-BE49-F238E27FC236}">
                <a16:creationId xmlns:a16="http://schemas.microsoft.com/office/drawing/2014/main" id="{68EBF64F-6F3B-4D96-8937-B23A27CAA672}"/>
              </a:ext>
            </a:extLst>
          </p:cNvPr>
          <p:cNvPicPr>
            <a:picLocks/>
          </p:cNvPicPr>
          <p:nvPr userDrawn="1"/>
        </p:nvPicPr>
        <p:blipFill>
          <a:blip r:embed="rId6" cstate="email">
            <a:extLst>
              <a:ext uri="{28A0092B-C50C-407E-A947-70E740481C1C}">
                <a14:useLocalDpi xmlns:a14="http://schemas.microsoft.com/office/drawing/2010/main"/>
              </a:ext>
            </a:extLst>
          </a:blip>
          <a:stretch>
            <a:fillRect/>
          </a:stretch>
        </p:blipFill>
        <p:spPr>
          <a:xfrm>
            <a:off x="10480621" y="6511925"/>
            <a:ext cx="704948" cy="219106"/>
          </a:xfrm>
          <a:prstGeom prst="rect">
            <a:avLst/>
          </a:prstGeom>
        </p:spPr>
      </p:pic>
    </p:spTree>
    <p:extLst>
      <p:ext uri="{BB962C8B-B14F-4D97-AF65-F5344CB8AC3E}">
        <p14:creationId xmlns:p14="http://schemas.microsoft.com/office/powerpoint/2010/main" val="2139528833"/>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tandard logo Dalberg Advisor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342937165"/>
              </p:ext>
            </p:extLst>
          </p:nvPr>
        </p:nvGraphicFramePr>
        <p:xfrm>
          <a:off x="2121" y="2118"/>
          <a:ext cx="2116" cy="2116"/>
        </p:xfrm>
        <a:graphic>
          <a:graphicData uri="http://schemas.openxmlformats.org/presentationml/2006/ole">
            <mc:AlternateContent xmlns:mc="http://schemas.openxmlformats.org/markup-compatibility/2006">
              <mc:Choice xmlns:v="urn:schemas-microsoft-com:vml" Requires="v">
                <p:oleObj spid="_x0000_s382337" name="think-cell Slide" r:id="rId5" imgW="383" imgH="385" progId="TCLayout.ActiveDocument.1">
                  <p:embed/>
                </p:oleObj>
              </mc:Choice>
              <mc:Fallback>
                <p:oleObj name="think-cell Slide" r:id="rId5" imgW="383" imgH="385" progId="TCLayout.ActiveDocument.1">
                  <p:embed/>
                  <p:pic>
                    <p:nvPicPr>
                      <p:cNvPr id="6" name="Object 5" hidden="1"/>
                      <p:cNvPicPr/>
                      <p:nvPr/>
                    </p:nvPicPr>
                    <p:blipFill>
                      <a:blip r:embed="rId6"/>
                      <a:stretch>
                        <a:fillRect/>
                      </a:stretch>
                    </p:blipFill>
                    <p:spPr>
                      <a:xfrm>
                        <a:off x="2121" y="2118"/>
                        <a:ext cx="2116" cy="2116"/>
                      </a:xfrm>
                      <a:prstGeom prst="rect">
                        <a:avLst/>
                      </a:prstGeom>
                    </p:spPr>
                  </p:pic>
                </p:oleObj>
              </mc:Fallback>
            </mc:AlternateContent>
          </a:graphicData>
        </a:graphic>
      </p:graphicFrame>
      <p:sp>
        <p:nvSpPr>
          <p:cNvPr id="3" name="Rectangle 2" hidden="1"/>
          <p:cNvSpPr/>
          <p:nvPr userDrawn="1">
            <p:custDataLst>
              <p:tags r:id="rId3"/>
            </p:custDataLst>
          </p:nvPr>
        </p:nvSpPr>
        <p:spPr bwMode="auto">
          <a:xfrm>
            <a:off x="1" y="0"/>
            <a:ext cx="195385" cy="158750"/>
          </a:xfrm>
          <a:prstGeom prst="rect">
            <a:avLst/>
          </a:prstGeom>
          <a:solidFill>
            <a:srgbClr val="FFFFFF"/>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23" rtl="0" eaLnBrk="1" latinLnBrk="0" hangingPunct="1">
              <a:lnSpc>
                <a:spcPct val="100000"/>
              </a:lnSpc>
              <a:spcBef>
                <a:spcPct val="0"/>
              </a:spcBef>
              <a:spcAft>
                <a:spcPct val="0"/>
              </a:spcAft>
              <a:buNone/>
            </a:pPr>
            <a:endParaRPr lang="en-US" sz="2601" b="0" i="0" kern="1200" baseline="0" dirty="0">
              <a:solidFill>
                <a:schemeClr val="tx1"/>
              </a:solidFill>
              <a:latin typeface="Lato" panose="020F0502020204030203" pitchFamily="34" charset="0"/>
              <a:ea typeface="+mj-ea"/>
              <a:cs typeface="Arial" panose="020B0604020202020204" pitchFamily="34" charset="0"/>
              <a:sym typeface="Lato" panose="020F0502020204030203" pitchFamily="34" charset="0"/>
            </a:endParaRPr>
          </a:p>
        </p:txBody>
      </p:sp>
      <p:grpSp>
        <p:nvGrpSpPr>
          <p:cNvPr id="2" name="Group 1">
            <a:extLst>
              <a:ext uri="{FF2B5EF4-FFF2-40B4-BE49-F238E27FC236}">
                <a16:creationId xmlns:a16="http://schemas.microsoft.com/office/drawing/2014/main" id="{850454C1-5E84-4FD3-9B98-09122C525C97}"/>
              </a:ext>
            </a:extLst>
          </p:cNvPr>
          <p:cNvGrpSpPr/>
          <p:nvPr userDrawn="1"/>
        </p:nvGrpSpPr>
        <p:grpSpPr>
          <a:xfrm>
            <a:off x="9665302" y="6290781"/>
            <a:ext cx="1800454" cy="567219"/>
            <a:chOff x="7853056" y="5820516"/>
            <a:chExt cx="1462869" cy="567219"/>
          </a:xfrm>
        </p:grpSpPr>
        <p:pic>
          <p:nvPicPr>
            <p:cNvPr id="15" name="Picture 14">
              <a:extLst>
                <a:ext uri="{FF2B5EF4-FFF2-40B4-BE49-F238E27FC236}">
                  <a16:creationId xmlns:a16="http://schemas.microsoft.com/office/drawing/2014/main" id="{33BEE20B-956B-4162-ADFA-CD96DC5F3EE3}"/>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8570321" y="5820516"/>
              <a:ext cx="745604" cy="567219"/>
            </a:xfrm>
            <a:prstGeom prst="rect">
              <a:avLst/>
            </a:prstGeom>
          </p:spPr>
        </p:pic>
        <p:pic>
          <p:nvPicPr>
            <p:cNvPr id="16" name="Picture 15">
              <a:extLst>
                <a:ext uri="{FF2B5EF4-FFF2-40B4-BE49-F238E27FC236}">
                  <a16:creationId xmlns:a16="http://schemas.microsoft.com/office/drawing/2014/main" id="{CCD556EA-5118-4FF1-90CB-54B403EF04CC}"/>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7853056" y="6037240"/>
              <a:ext cx="706656" cy="215333"/>
            </a:xfrm>
            <a:prstGeom prst="rect">
              <a:avLst/>
            </a:prstGeom>
          </p:spPr>
        </p:pic>
      </p:grpSp>
      <p:sp>
        <p:nvSpPr>
          <p:cNvPr id="13" name="Rectangle 12"/>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sp>
        <p:nvSpPr>
          <p:cNvPr id="11" name="Title 1"/>
          <p:cNvSpPr>
            <a:spLocks noGrp="1"/>
          </p:cNvSpPr>
          <p:nvPr>
            <p:ph type="title" hasCustomPrompt="1"/>
          </p:nvPr>
        </p:nvSpPr>
        <p:spPr>
          <a:xfrm>
            <a:off x="943689" y="91834"/>
            <a:ext cx="10621127" cy="800476"/>
          </a:xfrm>
        </p:spPr>
        <p:txBody>
          <a:bodyPr wrap="square" anchor="ctr">
            <a:spAutoFit/>
          </a:bodyPr>
          <a:lstStyle>
            <a:lvl1pPr>
              <a:defRPr sz="2601" baseline="0">
                <a:solidFill>
                  <a:srgbClr val="881946"/>
                </a:solidFill>
                <a:latin typeface="+mj-lt"/>
              </a:defRPr>
            </a:lvl1pPr>
          </a:lstStyle>
          <a:p>
            <a:r>
              <a:rPr lang="en-US" dirty="0"/>
              <a:t>Title of the slide in </a:t>
            </a:r>
            <a:r>
              <a:rPr lang="en-US" dirty="0" err="1"/>
              <a:t>Lato</a:t>
            </a:r>
            <a:r>
              <a:rPr lang="en-US" dirty="0"/>
              <a:t> 26 points.</a:t>
            </a:r>
            <a:br>
              <a:rPr lang="en-US" dirty="0"/>
            </a:br>
            <a:r>
              <a:rPr lang="en-US" dirty="0"/>
              <a:t>Max 2 lines</a:t>
            </a:r>
          </a:p>
        </p:txBody>
      </p:sp>
      <p:sp>
        <p:nvSpPr>
          <p:cNvPr id="18" name="Text Placeholder 2"/>
          <p:cNvSpPr>
            <a:spLocks noGrp="1"/>
          </p:cNvSpPr>
          <p:nvPr>
            <p:ph idx="1"/>
          </p:nvPr>
        </p:nvSpPr>
        <p:spPr bwMode="gray">
          <a:xfrm>
            <a:off x="943690" y="1257300"/>
            <a:ext cx="10621127" cy="5067300"/>
          </a:xfrm>
          <a:prstGeom prst="rect">
            <a:avLst/>
          </a:prstGeom>
        </p:spPr>
        <p:txBody>
          <a:bodyPr vert="horz" wrap="square" lIns="0" tIns="0" rIns="0" bIns="0" rtlCol="0">
            <a:noAutofit/>
          </a:bodyPr>
          <a:lstStyle>
            <a:lvl1pPr>
              <a:defRPr>
                <a:solidFill>
                  <a:srgbClr val="606060"/>
                </a:solidFill>
              </a:defRPr>
            </a:lvl1pPr>
            <a:lvl2pPr>
              <a:defRPr>
                <a:solidFill>
                  <a:srgbClr val="606060"/>
                </a:solidFill>
              </a:defRPr>
            </a:lvl2pPr>
            <a:lvl3pPr>
              <a:defRPr>
                <a:solidFill>
                  <a:srgbClr val="606060"/>
                </a:solidFill>
              </a:defRPr>
            </a:lvl3pPr>
            <a:lvl4pPr>
              <a:defRPr>
                <a:solidFill>
                  <a:srgbClr val="606060"/>
                </a:solidFill>
              </a:defRPr>
            </a:lvl4pPr>
            <a:lvl5pPr>
              <a:defRPr>
                <a:solidFill>
                  <a:srgbClr val="606060"/>
                </a:solidFill>
              </a:defRPr>
            </a:lvl5pPr>
            <a:lvl6pPr marL="1005837" indent="0">
              <a:buNone/>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6"/>
          <p:cNvSpPr>
            <a:spLocks noGrp="1"/>
          </p:cNvSpPr>
          <p:nvPr>
            <p:ph type="body" sz="quarter" idx="14" hasCustomPrompt="1"/>
          </p:nvPr>
        </p:nvSpPr>
        <p:spPr>
          <a:xfrm>
            <a:off x="943691" y="6377453"/>
            <a:ext cx="8059634" cy="308033"/>
          </a:xfrm>
        </p:spPr>
        <p:txBody>
          <a:bodyPr wrap="square" anchor="b">
            <a:spAutoFit/>
          </a:bodyPr>
          <a:lstStyle>
            <a:lvl1pPr marL="0" indent="0">
              <a:buNone/>
              <a:defRPr sz="1001" baseline="0">
                <a:solidFill>
                  <a:srgbClr val="606060"/>
                </a:solidFill>
              </a:defRPr>
            </a:lvl1pPr>
          </a:lstStyle>
          <a:p>
            <a:pPr lvl="0"/>
            <a:r>
              <a:rPr lang="en-US" dirty="0"/>
              <a:t>This space is reserved for footnotes and sources only, and cannot be expanded beyond its current size.                                        Source: [Author/Publisher Name], [Report Name], [Year]</a:t>
            </a:r>
          </a:p>
        </p:txBody>
      </p:sp>
      <p:sp>
        <p:nvSpPr>
          <p:cNvPr id="20" name="Text Placeholder 6">
            <a:extLst>
              <a:ext uri="{FF2B5EF4-FFF2-40B4-BE49-F238E27FC236}">
                <a16:creationId xmlns:a16="http://schemas.microsoft.com/office/drawing/2014/main" id="{55EAF43E-BB4E-494E-9B58-0B592AF0D603}"/>
              </a:ext>
            </a:extLst>
          </p:cNvPr>
          <p:cNvSpPr>
            <a:spLocks noGrp="1"/>
          </p:cNvSpPr>
          <p:nvPr>
            <p:ph type="body" sz="quarter" idx="17" hasCustomPrompt="1"/>
          </p:nvPr>
        </p:nvSpPr>
        <p:spPr>
          <a:xfrm>
            <a:off x="80277" y="399740"/>
            <a:ext cx="468922" cy="184666"/>
          </a:xfrm>
        </p:spPr>
        <p:txBody>
          <a:bodyPr wrap="square" anchor="ctr">
            <a:spAutoFit/>
          </a:bodyPr>
          <a:lstStyle>
            <a:lvl1pPr marL="0" indent="0" algn="ctr">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dirty="0"/>
              <a:t>Text</a:t>
            </a:r>
          </a:p>
        </p:txBody>
      </p:sp>
      <p:sp>
        <p:nvSpPr>
          <p:cNvPr id="26" name="Rectangle 25">
            <a:extLst>
              <a:ext uri="{FF2B5EF4-FFF2-40B4-BE49-F238E27FC236}">
                <a16:creationId xmlns:a16="http://schemas.microsoft.com/office/drawing/2014/main" id="{A7DC4302-9EC8-4212-9BF1-0C6EAEDF3D92}"/>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sp>
        <p:nvSpPr>
          <p:cNvPr id="27" name="Slide Number Placeholder 5">
            <a:extLst>
              <a:ext uri="{FF2B5EF4-FFF2-40B4-BE49-F238E27FC236}">
                <a16:creationId xmlns:a16="http://schemas.microsoft.com/office/drawing/2014/main" id="{951255AA-4D51-4A35-B6D9-87E6FA73F915}"/>
              </a:ext>
            </a:extLst>
          </p:cNvPr>
          <p:cNvSpPr>
            <a:spLocks noGrp="1"/>
          </p:cNvSpPr>
          <p:nvPr>
            <p:ph type="sldNum" sz="quarter" idx="4"/>
          </p:nvPr>
        </p:nvSpPr>
        <p:spPr bwMode="gray">
          <a:xfrm>
            <a:off x="11743978" y="6529802"/>
            <a:ext cx="280034" cy="154017"/>
          </a:xfrm>
          <a:prstGeom prst="rect">
            <a:avLst/>
          </a:prstGeom>
          <a:noFill/>
        </p:spPr>
        <p:txBody>
          <a:bodyPr vert="horz" wrap="square" lIns="0" tIns="0" rIns="0" bIns="0" rtlCol="0" anchor="ctr">
            <a:spAutoFit/>
          </a:bodyPr>
          <a:lstStyle>
            <a:lvl1pPr algn="ctr">
              <a:defRPr sz="1001">
                <a:solidFill>
                  <a:schemeClr val="bg1"/>
                </a:solidFill>
                <a:latin typeface="Lato" panose="020F0502020204030203" pitchFamily="34" charset="0"/>
                <a:cs typeface="Arial" pitchFamily="34" charset="0"/>
              </a:defRPr>
            </a:lvl1pPr>
          </a:lstStyle>
          <a:p>
            <a:fld id="{A90607E6-BCED-4FC1-A345-AB2A307AB80F}" type="slidenum">
              <a:rPr lang="en-US" smtClean="0"/>
              <a:pPr/>
              <a:t>‹#›</a:t>
            </a:fld>
            <a:endParaRPr lang="en-US" dirty="0"/>
          </a:p>
        </p:txBody>
      </p:sp>
    </p:spTree>
    <p:extLst>
      <p:ext uri="{BB962C8B-B14F-4D97-AF65-F5344CB8AC3E}">
        <p14:creationId xmlns:p14="http://schemas.microsoft.com/office/powerpoint/2010/main" val="7253685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tandard logo Dalberg Capital">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494317734"/>
              </p:ext>
            </p:extLst>
          </p:nvPr>
        </p:nvGraphicFramePr>
        <p:xfrm>
          <a:off x="2121" y="2118"/>
          <a:ext cx="2116" cy="2116"/>
        </p:xfrm>
        <a:graphic>
          <a:graphicData uri="http://schemas.openxmlformats.org/presentationml/2006/ole">
            <mc:AlternateContent xmlns:mc="http://schemas.openxmlformats.org/markup-compatibility/2006">
              <mc:Choice xmlns:v="urn:schemas-microsoft-com:vml" Requires="v">
                <p:oleObj spid="_x0000_s390468" name="think-cell Slide" r:id="rId5" imgW="383" imgH="385" progId="TCLayout.ActiveDocument.1">
                  <p:embed/>
                </p:oleObj>
              </mc:Choice>
              <mc:Fallback>
                <p:oleObj name="think-cell Slide" r:id="rId5" imgW="383" imgH="385" progId="TCLayout.ActiveDocument.1">
                  <p:embed/>
                  <p:pic>
                    <p:nvPicPr>
                      <p:cNvPr id="6" name="Object 5" hidden="1"/>
                      <p:cNvPicPr/>
                      <p:nvPr/>
                    </p:nvPicPr>
                    <p:blipFill>
                      <a:blip r:embed="rId6"/>
                      <a:stretch>
                        <a:fillRect/>
                      </a:stretch>
                    </p:blipFill>
                    <p:spPr>
                      <a:xfrm>
                        <a:off x="2121" y="2118"/>
                        <a:ext cx="2116" cy="2116"/>
                      </a:xfrm>
                      <a:prstGeom prst="rect">
                        <a:avLst/>
                      </a:prstGeom>
                    </p:spPr>
                  </p:pic>
                </p:oleObj>
              </mc:Fallback>
            </mc:AlternateContent>
          </a:graphicData>
        </a:graphic>
      </p:graphicFrame>
      <p:sp>
        <p:nvSpPr>
          <p:cNvPr id="3" name="Rectangle 2" hidden="1"/>
          <p:cNvSpPr/>
          <p:nvPr userDrawn="1">
            <p:custDataLst>
              <p:tags r:id="rId3"/>
            </p:custDataLst>
          </p:nvPr>
        </p:nvSpPr>
        <p:spPr bwMode="auto">
          <a:xfrm>
            <a:off x="1" y="0"/>
            <a:ext cx="195385" cy="158750"/>
          </a:xfrm>
          <a:prstGeom prst="rect">
            <a:avLst/>
          </a:prstGeom>
          <a:solidFill>
            <a:srgbClr val="FFFFFF"/>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23" rtl="0" eaLnBrk="1" latinLnBrk="0" hangingPunct="1">
              <a:lnSpc>
                <a:spcPct val="100000"/>
              </a:lnSpc>
              <a:spcBef>
                <a:spcPct val="0"/>
              </a:spcBef>
              <a:spcAft>
                <a:spcPct val="0"/>
              </a:spcAft>
              <a:buNone/>
            </a:pPr>
            <a:endParaRPr lang="en-US" sz="2601" b="0" i="0" kern="1200" baseline="0" dirty="0">
              <a:solidFill>
                <a:schemeClr val="tx1"/>
              </a:solidFill>
              <a:latin typeface="Lato" panose="020F0502020204030203" pitchFamily="34" charset="0"/>
              <a:ea typeface="+mj-ea"/>
              <a:cs typeface="Arial" panose="020B0604020202020204" pitchFamily="34" charset="0"/>
              <a:sym typeface="Lato" panose="020F0502020204030203" pitchFamily="34" charset="0"/>
            </a:endParaRPr>
          </a:p>
        </p:txBody>
      </p:sp>
      <p:pic>
        <p:nvPicPr>
          <p:cNvPr id="19" name="Picture 18">
            <a:extLst>
              <a:ext uri="{FF2B5EF4-FFF2-40B4-BE49-F238E27FC236}">
                <a16:creationId xmlns:a16="http://schemas.microsoft.com/office/drawing/2014/main" id="{9D8EB3BF-DBA3-46ED-A866-7A79A08FE27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495120" y="6456881"/>
            <a:ext cx="1269294" cy="261145"/>
          </a:xfrm>
          <a:prstGeom prst="rect">
            <a:avLst/>
          </a:prstGeom>
        </p:spPr>
      </p:pic>
      <p:sp>
        <p:nvSpPr>
          <p:cNvPr id="13" name="Rectangle 12"/>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sp>
        <p:nvSpPr>
          <p:cNvPr id="11" name="Title 1"/>
          <p:cNvSpPr>
            <a:spLocks noGrp="1"/>
          </p:cNvSpPr>
          <p:nvPr>
            <p:ph type="title" hasCustomPrompt="1"/>
          </p:nvPr>
        </p:nvSpPr>
        <p:spPr>
          <a:xfrm>
            <a:off x="943689" y="91834"/>
            <a:ext cx="10621127" cy="800476"/>
          </a:xfrm>
        </p:spPr>
        <p:txBody>
          <a:bodyPr wrap="square" anchor="ctr">
            <a:spAutoFit/>
          </a:bodyPr>
          <a:lstStyle>
            <a:lvl1pPr>
              <a:defRPr sz="2601" baseline="0">
                <a:solidFill>
                  <a:srgbClr val="881946"/>
                </a:solidFill>
                <a:latin typeface="+mj-lt"/>
              </a:defRPr>
            </a:lvl1pPr>
          </a:lstStyle>
          <a:p>
            <a:r>
              <a:rPr lang="en-US" dirty="0"/>
              <a:t>Title of the slide in </a:t>
            </a:r>
            <a:r>
              <a:rPr lang="en-US" dirty="0" err="1"/>
              <a:t>Lato</a:t>
            </a:r>
            <a:r>
              <a:rPr lang="en-US" dirty="0"/>
              <a:t> 26 points.</a:t>
            </a:r>
            <a:br>
              <a:rPr lang="en-US" dirty="0"/>
            </a:br>
            <a:r>
              <a:rPr lang="en-US" dirty="0"/>
              <a:t>Max 2 lines</a:t>
            </a:r>
          </a:p>
        </p:txBody>
      </p:sp>
      <p:sp>
        <p:nvSpPr>
          <p:cNvPr id="18" name="Text Placeholder 2"/>
          <p:cNvSpPr>
            <a:spLocks noGrp="1"/>
          </p:cNvSpPr>
          <p:nvPr>
            <p:ph idx="1"/>
          </p:nvPr>
        </p:nvSpPr>
        <p:spPr bwMode="gray">
          <a:xfrm>
            <a:off x="943690" y="1257300"/>
            <a:ext cx="10621127" cy="5067300"/>
          </a:xfrm>
          <a:prstGeom prst="rect">
            <a:avLst/>
          </a:prstGeom>
        </p:spPr>
        <p:txBody>
          <a:bodyPr vert="horz" wrap="square" lIns="0" tIns="0" rIns="0" bIns="0" rtlCol="0">
            <a:noAutofit/>
          </a:bodyPr>
          <a:lstStyle>
            <a:lvl1pPr>
              <a:defRPr>
                <a:solidFill>
                  <a:srgbClr val="606060"/>
                </a:solidFill>
              </a:defRPr>
            </a:lvl1pPr>
            <a:lvl2pPr>
              <a:defRPr>
                <a:solidFill>
                  <a:srgbClr val="606060"/>
                </a:solidFill>
              </a:defRPr>
            </a:lvl2pPr>
            <a:lvl3pPr>
              <a:defRPr>
                <a:solidFill>
                  <a:srgbClr val="606060"/>
                </a:solidFill>
              </a:defRPr>
            </a:lvl3pPr>
            <a:lvl4pPr>
              <a:defRPr>
                <a:solidFill>
                  <a:srgbClr val="606060"/>
                </a:solidFill>
              </a:defRPr>
            </a:lvl4pPr>
            <a:lvl5pPr>
              <a:defRPr>
                <a:solidFill>
                  <a:srgbClr val="606060"/>
                </a:solidFill>
              </a:defRPr>
            </a:lvl5pPr>
            <a:lvl6pPr marL="1005837" indent="0">
              <a:buNone/>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6"/>
          <p:cNvSpPr>
            <a:spLocks noGrp="1"/>
          </p:cNvSpPr>
          <p:nvPr>
            <p:ph type="body" sz="quarter" idx="14" hasCustomPrompt="1"/>
          </p:nvPr>
        </p:nvSpPr>
        <p:spPr>
          <a:xfrm>
            <a:off x="943691" y="6377453"/>
            <a:ext cx="8059634" cy="308033"/>
          </a:xfrm>
        </p:spPr>
        <p:txBody>
          <a:bodyPr wrap="square" anchor="b">
            <a:spAutoFit/>
          </a:bodyPr>
          <a:lstStyle>
            <a:lvl1pPr marL="0" indent="0">
              <a:buNone/>
              <a:defRPr sz="1001" baseline="0">
                <a:solidFill>
                  <a:srgbClr val="606060"/>
                </a:solidFill>
              </a:defRPr>
            </a:lvl1pPr>
          </a:lstStyle>
          <a:p>
            <a:pPr lvl="0"/>
            <a:r>
              <a:rPr lang="en-US" dirty="0"/>
              <a:t>This space is reserved for footnotes and sources only, and cannot be expanded beyond its current size.                                        Source: [Author/Publisher Name], [Report Name], [Year]</a:t>
            </a:r>
          </a:p>
        </p:txBody>
      </p:sp>
      <p:sp>
        <p:nvSpPr>
          <p:cNvPr id="20" name="Text Placeholder 6">
            <a:extLst>
              <a:ext uri="{FF2B5EF4-FFF2-40B4-BE49-F238E27FC236}">
                <a16:creationId xmlns:a16="http://schemas.microsoft.com/office/drawing/2014/main" id="{55EAF43E-BB4E-494E-9B58-0B592AF0D603}"/>
              </a:ext>
            </a:extLst>
          </p:cNvPr>
          <p:cNvSpPr>
            <a:spLocks noGrp="1"/>
          </p:cNvSpPr>
          <p:nvPr>
            <p:ph type="body" sz="quarter" idx="17" hasCustomPrompt="1"/>
          </p:nvPr>
        </p:nvSpPr>
        <p:spPr>
          <a:xfrm>
            <a:off x="80277" y="399740"/>
            <a:ext cx="468922" cy="184666"/>
          </a:xfrm>
        </p:spPr>
        <p:txBody>
          <a:bodyPr wrap="square" anchor="ctr">
            <a:spAutoFit/>
          </a:bodyPr>
          <a:lstStyle>
            <a:lvl1pPr marL="0" indent="0" algn="ctr">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dirty="0"/>
              <a:t>Text</a:t>
            </a:r>
          </a:p>
        </p:txBody>
      </p:sp>
      <p:sp>
        <p:nvSpPr>
          <p:cNvPr id="24" name="Rectangle 23">
            <a:extLst>
              <a:ext uri="{FF2B5EF4-FFF2-40B4-BE49-F238E27FC236}">
                <a16:creationId xmlns:a16="http://schemas.microsoft.com/office/drawing/2014/main" id="{3C25B840-247C-46B9-A810-2B1356249F4A}"/>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sp>
        <p:nvSpPr>
          <p:cNvPr id="26" name="Slide Number Placeholder 5">
            <a:extLst>
              <a:ext uri="{FF2B5EF4-FFF2-40B4-BE49-F238E27FC236}">
                <a16:creationId xmlns:a16="http://schemas.microsoft.com/office/drawing/2014/main" id="{06784F0A-B51F-4CF0-8718-DC453E3A1696}"/>
              </a:ext>
            </a:extLst>
          </p:cNvPr>
          <p:cNvSpPr>
            <a:spLocks noGrp="1"/>
          </p:cNvSpPr>
          <p:nvPr>
            <p:ph type="sldNum" sz="quarter" idx="4"/>
          </p:nvPr>
        </p:nvSpPr>
        <p:spPr bwMode="gray">
          <a:xfrm>
            <a:off x="11743978" y="6529802"/>
            <a:ext cx="280034" cy="154017"/>
          </a:xfrm>
          <a:prstGeom prst="rect">
            <a:avLst/>
          </a:prstGeom>
          <a:noFill/>
        </p:spPr>
        <p:txBody>
          <a:bodyPr vert="horz" wrap="square" lIns="0" tIns="0" rIns="0" bIns="0" rtlCol="0" anchor="ctr">
            <a:spAutoFit/>
          </a:bodyPr>
          <a:lstStyle>
            <a:lvl1pPr algn="ctr">
              <a:defRPr sz="1001">
                <a:solidFill>
                  <a:schemeClr val="bg1"/>
                </a:solidFill>
                <a:latin typeface="Lato" panose="020F0502020204030203" pitchFamily="34" charset="0"/>
                <a:cs typeface="Arial" pitchFamily="34" charset="0"/>
              </a:defRPr>
            </a:lvl1pPr>
          </a:lstStyle>
          <a:p>
            <a:fld id="{A90607E6-BCED-4FC1-A345-AB2A307AB80F}" type="slidenum">
              <a:rPr lang="en-US" smtClean="0"/>
              <a:pPr/>
              <a:t>‹#›</a:t>
            </a:fld>
            <a:endParaRPr lang="en-US" dirty="0"/>
          </a:p>
        </p:txBody>
      </p:sp>
      <p:pic>
        <p:nvPicPr>
          <p:cNvPr id="17" name="Picture 16">
            <a:extLst>
              <a:ext uri="{FF2B5EF4-FFF2-40B4-BE49-F238E27FC236}">
                <a16:creationId xmlns:a16="http://schemas.microsoft.com/office/drawing/2014/main" id="{7F83F538-5C4B-4F45-BF2E-7079D2F06175}"/>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9665300" y="6507505"/>
            <a:ext cx="869730" cy="215333"/>
          </a:xfrm>
          <a:prstGeom prst="rect">
            <a:avLst/>
          </a:prstGeom>
        </p:spPr>
      </p:pic>
    </p:spTree>
    <p:extLst>
      <p:ext uri="{BB962C8B-B14F-4D97-AF65-F5344CB8AC3E}">
        <p14:creationId xmlns:p14="http://schemas.microsoft.com/office/powerpoint/2010/main" val="187853919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tandard logo Dalberg Research">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172881108"/>
              </p:ext>
            </p:extLst>
          </p:nvPr>
        </p:nvGraphicFramePr>
        <p:xfrm>
          <a:off x="2121" y="2118"/>
          <a:ext cx="2116" cy="2116"/>
        </p:xfrm>
        <a:graphic>
          <a:graphicData uri="http://schemas.openxmlformats.org/presentationml/2006/ole">
            <mc:AlternateContent xmlns:mc="http://schemas.openxmlformats.org/markup-compatibility/2006">
              <mc:Choice xmlns:v="urn:schemas-microsoft-com:vml" Requires="v">
                <p:oleObj spid="_x0000_s388420" name="think-cell Slide" r:id="rId5" imgW="383" imgH="385" progId="TCLayout.ActiveDocument.1">
                  <p:embed/>
                </p:oleObj>
              </mc:Choice>
              <mc:Fallback>
                <p:oleObj name="think-cell Slide" r:id="rId5" imgW="383" imgH="385" progId="TCLayout.ActiveDocument.1">
                  <p:embed/>
                  <p:pic>
                    <p:nvPicPr>
                      <p:cNvPr id="6" name="Object 5" hidden="1"/>
                      <p:cNvPicPr/>
                      <p:nvPr/>
                    </p:nvPicPr>
                    <p:blipFill>
                      <a:blip r:embed="rId6"/>
                      <a:stretch>
                        <a:fillRect/>
                      </a:stretch>
                    </p:blipFill>
                    <p:spPr>
                      <a:xfrm>
                        <a:off x="2121" y="2118"/>
                        <a:ext cx="2116" cy="2116"/>
                      </a:xfrm>
                      <a:prstGeom prst="rect">
                        <a:avLst/>
                      </a:prstGeom>
                    </p:spPr>
                  </p:pic>
                </p:oleObj>
              </mc:Fallback>
            </mc:AlternateContent>
          </a:graphicData>
        </a:graphic>
      </p:graphicFrame>
      <p:sp>
        <p:nvSpPr>
          <p:cNvPr id="3" name="Rectangle 2" hidden="1"/>
          <p:cNvSpPr/>
          <p:nvPr userDrawn="1">
            <p:custDataLst>
              <p:tags r:id="rId3"/>
            </p:custDataLst>
          </p:nvPr>
        </p:nvSpPr>
        <p:spPr bwMode="auto">
          <a:xfrm>
            <a:off x="1" y="0"/>
            <a:ext cx="195385" cy="158750"/>
          </a:xfrm>
          <a:prstGeom prst="rect">
            <a:avLst/>
          </a:prstGeom>
          <a:solidFill>
            <a:srgbClr val="FFFFFF"/>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23" rtl="0" eaLnBrk="1" latinLnBrk="0" hangingPunct="1">
              <a:lnSpc>
                <a:spcPct val="100000"/>
              </a:lnSpc>
              <a:spcBef>
                <a:spcPct val="0"/>
              </a:spcBef>
              <a:spcAft>
                <a:spcPct val="0"/>
              </a:spcAft>
              <a:buNone/>
            </a:pPr>
            <a:endParaRPr lang="en-US" sz="2601" b="0" i="0" kern="1200" baseline="0" dirty="0">
              <a:solidFill>
                <a:schemeClr val="tx1"/>
              </a:solidFill>
              <a:latin typeface="Lato" panose="020F0502020204030203" pitchFamily="34" charset="0"/>
              <a:ea typeface="+mj-ea"/>
              <a:cs typeface="Arial" panose="020B0604020202020204" pitchFamily="34" charset="0"/>
              <a:sym typeface="Lato" panose="020F0502020204030203" pitchFamily="34" charset="0"/>
            </a:endParaRPr>
          </a:p>
        </p:txBody>
      </p:sp>
      <p:sp>
        <p:nvSpPr>
          <p:cNvPr id="13" name="Rectangle 12"/>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sp>
        <p:nvSpPr>
          <p:cNvPr id="11" name="Title 1"/>
          <p:cNvSpPr>
            <a:spLocks noGrp="1"/>
          </p:cNvSpPr>
          <p:nvPr>
            <p:ph type="title" hasCustomPrompt="1"/>
          </p:nvPr>
        </p:nvSpPr>
        <p:spPr>
          <a:xfrm>
            <a:off x="943689" y="91834"/>
            <a:ext cx="10621127" cy="800476"/>
          </a:xfrm>
        </p:spPr>
        <p:txBody>
          <a:bodyPr wrap="square" anchor="ctr">
            <a:spAutoFit/>
          </a:bodyPr>
          <a:lstStyle>
            <a:lvl1pPr>
              <a:defRPr sz="2601" baseline="0">
                <a:solidFill>
                  <a:srgbClr val="881946"/>
                </a:solidFill>
                <a:latin typeface="+mj-lt"/>
              </a:defRPr>
            </a:lvl1pPr>
          </a:lstStyle>
          <a:p>
            <a:r>
              <a:rPr lang="en-US" dirty="0"/>
              <a:t>Title of the slide in </a:t>
            </a:r>
            <a:r>
              <a:rPr lang="en-US" dirty="0" err="1"/>
              <a:t>Lato</a:t>
            </a:r>
            <a:r>
              <a:rPr lang="en-US" dirty="0"/>
              <a:t> 26 points.</a:t>
            </a:r>
            <a:br>
              <a:rPr lang="en-US" dirty="0"/>
            </a:br>
            <a:r>
              <a:rPr lang="en-US" dirty="0"/>
              <a:t>Max 2 lines</a:t>
            </a:r>
          </a:p>
        </p:txBody>
      </p:sp>
      <p:sp>
        <p:nvSpPr>
          <p:cNvPr id="18" name="Text Placeholder 2"/>
          <p:cNvSpPr>
            <a:spLocks noGrp="1"/>
          </p:cNvSpPr>
          <p:nvPr>
            <p:ph idx="1"/>
          </p:nvPr>
        </p:nvSpPr>
        <p:spPr bwMode="gray">
          <a:xfrm>
            <a:off x="943690" y="1257300"/>
            <a:ext cx="10621127" cy="5067300"/>
          </a:xfrm>
          <a:prstGeom prst="rect">
            <a:avLst/>
          </a:prstGeom>
        </p:spPr>
        <p:txBody>
          <a:bodyPr vert="horz" wrap="square" lIns="0" tIns="0" rIns="0" bIns="0" rtlCol="0">
            <a:noAutofit/>
          </a:bodyPr>
          <a:lstStyle>
            <a:lvl1pPr>
              <a:defRPr>
                <a:solidFill>
                  <a:srgbClr val="606060"/>
                </a:solidFill>
              </a:defRPr>
            </a:lvl1pPr>
            <a:lvl2pPr>
              <a:defRPr>
                <a:solidFill>
                  <a:srgbClr val="606060"/>
                </a:solidFill>
              </a:defRPr>
            </a:lvl2pPr>
            <a:lvl3pPr>
              <a:defRPr>
                <a:solidFill>
                  <a:srgbClr val="606060"/>
                </a:solidFill>
              </a:defRPr>
            </a:lvl3pPr>
            <a:lvl4pPr>
              <a:defRPr>
                <a:solidFill>
                  <a:srgbClr val="606060"/>
                </a:solidFill>
              </a:defRPr>
            </a:lvl4pPr>
            <a:lvl5pPr>
              <a:defRPr>
                <a:solidFill>
                  <a:srgbClr val="606060"/>
                </a:solidFill>
              </a:defRPr>
            </a:lvl5pPr>
            <a:lvl6pPr marL="1005837" indent="0">
              <a:buNone/>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6"/>
          <p:cNvSpPr>
            <a:spLocks noGrp="1"/>
          </p:cNvSpPr>
          <p:nvPr>
            <p:ph type="body" sz="quarter" idx="14" hasCustomPrompt="1"/>
          </p:nvPr>
        </p:nvSpPr>
        <p:spPr>
          <a:xfrm>
            <a:off x="943691" y="6377453"/>
            <a:ext cx="8059634" cy="308033"/>
          </a:xfrm>
        </p:spPr>
        <p:txBody>
          <a:bodyPr wrap="square" anchor="b">
            <a:spAutoFit/>
          </a:bodyPr>
          <a:lstStyle>
            <a:lvl1pPr marL="0" indent="0">
              <a:buNone/>
              <a:defRPr sz="1001" baseline="0">
                <a:solidFill>
                  <a:srgbClr val="606060"/>
                </a:solidFill>
              </a:defRPr>
            </a:lvl1pPr>
          </a:lstStyle>
          <a:p>
            <a:pPr lvl="0"/>
            <a:r>
              <a:rPr lang="en-US" dirty="0"/>
              <a:t>This space is reserved for footnotes and sources only, and cannot be expanded beyond its current size.                                        Source: [Author/Publisher Name], [Report Name], [Year]</a:t>
            </a:r>
          </a:p>
        </p:txBody>
      </p:sp>
      <p:sp>
        <p:nvSpPr>
          <p:cNvPr id="20" name="Text Placeholder 6">
            <a:extLst>
              <a:ext uri="{FF2B5EF4-FFF2-40B4-BE49-F238E27FC236}">
                <a16:creationId xmlns:a16="http://schemas.microsoft.com/office/drawing/2014/main" id="{55EAF43E-BB4E-494E-9B58-0B592AF0D603}"/>
              </a:ext>
            </a:extLst>
          </p:cNvPr>
          <p:cNvSpPr>
            <a:spLocks noGrp="1"/>
          </p:cNvSpPr>
          <p:nvPr>
            <p:ph type="body" sz="quarter" idx="17" hasCustomPrompt="1"/>
          </p:nvPr>
        </p:nvSpPr>
        <p:spPr>
          <a:xfrm>
            <a:off x="80277" y="399740"/>
            <a:ext cx="468922" cy="184666"/>
          </a:xfrm>
        </p:spPr>
        <p:txBody>
          <a:bodyPr wrap="square" anchor="ctr">
            <a:spAutoFit/>
          </a:bodyPr>
          <a:lstStyle>
            <a:lvl1pPr marL="0" indent="0" algn="ctr">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dirty="0"/>
              <a:t>Text</a:t>
            </a:r>
          </a:p>
        </p:txBody>
      </p:sp>
      <p:sp>
        <p:nvSpPr>
          <p:cNvPr id="25" name="Rectangle 24">
            <a:extLst>
              <a:ext uri="{FF2B5EF4-FFF2-40B4-BE49-F238E27FC236}">
                <a16:creationId xmlns:a16="http://schemas.microsoft.com/office/drawing/2014/main" id="{6CF811DF-866D-40FD-9509-879F9CE9CE8A}"/>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sp>
        <p:nvSpPr>
          <p:cNvPr id="26" name="Slide Number Placeholder 5">
            <a:extLst>
              <a:ext uri="{FF2B5EF4-FFF2-40B4-BE49-F238E27FC236}">
                <a16:creationId xmlns:a16="http://schemas.microsoft.com/office/drawing/2014/main" id="{524D0AE1-BA32-40AD-A8E3-C0F8F35A2532}"/>
              </a:ext>
            </a:extLst>
          </p:cNvPr>
          <p:cNvSpPr>
            <a:spLocks noGrp="1"/>
          </p:cNvSpPr>
          <p:nvPr>
            <p:ph type="sldNum" sz="quarter" idx="4"/>
          </p:nvPr>
        </p:nvSpPr>
        <p:spPr bwMode="gray">
          <a:xfrm>
            <a:off x="11743978" y="6529802"/>
            <a:ext cx="280034" cy="154017"/>
          </a:xfrm>
          <a:prstGeom prst="rect">
            <a:avLst/>
          </a:prstGeom>
          <a:noFill/>
        </p:spPr>
        <p:txBody>
          <a:bodyPr vert="horz" wrap="square" lIns="0" tIns="0" rIns="0" bIns="0" rtlCol="0" anchor="ctr">
            <a:spAutoFit/>
          </a:bodyPr>
          <a:lstStyle>
            <a:lvl1pPr algn="ctr">
              <a:defRPr sz="1001">
                <a:solidFill>
                  <a:schemeClr val="bg1"/>
                </a:solidFill>
                <a:latin typeface="Lato" panose="020F0502020204030203" pitchFamily="34" charset="0"/>
                <a:cs typeface="Arial" pitchFamily="34" charset="0"/>
              </a:defRPr>
            </a:lvl1pPr>
          </a:lstStyle>
          <a:p>
            <a:fld id="{A90607E6-BCED-4FC1-A345-AB2A307AB80F}" type="slidenum">
              <a:rPr lang="en-US" smtClean="0"/>
              <a:pPr/>
              <a:t>‹#›</a:t>
            </a:fld>
            <a:endParaRPr lang="en-US" dirty="0"/>
          </a:p>
        </p:txBody>
      </p:sp>
      <p:pic>
        <p:nvPicPr>
          <p:cNvPr id="12" name="Picture 11">
            <a:extLst>
              <a:ext uri="{FF2B5EF4-FFF2-40B4-BE49-F238E27FC236}">
                <a16:creationId xmlns:a16="http://schemas.microsoft.com/office/drawing/2014/main" id="{C9510C36-796A-4712-9957-5636321C5D0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665300" y="6507505"/>
            <a:ext cx="869730" cy="215333"/>
          </a:xfrm>
          <a:prstGeom prst="rect">
            <a:avLst/>
          </a:prstGeom>
        </p:spPr>
      </p:pic>
      <p:pic>
        <p:nvPicPr>
          <p:cNvPr id="16" name="Picture 15">
            <a:extLst>
              <a:ext uri="{FF2B5EF4-FFF2-40B4-BE49-F238E27FC236}">
                <a16:creationId xmlns:a16="http://schemas.microsoft.com/office/drawing/2014/main" id="{C941CACC-9FEF-4B46-A79C-AE2F2A2FADD3}"/>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535035" y="6455630"/>
            <a:ext cx="1269294" cy="261145"/>
          </a:xfrm>
          <a:prstGeom prst="rect">
            <a:avLst/>
          </a:prstGeom>
        </p:spPr>
      </p:pic>
    </p:spTree>
    <p:extLst>
      <p:ext uri="{BB962C8B-B14F-4D97-AF65-F5344CB8AC3E}">
        <p14:creationId xmlns:p14="http://schemas.microsoft.com/office/powerpoint/2010/main" val="10236844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grey">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EE1AA8C-E15D-A44A-9406-A5219CE72065}"/>
              </a:ext>
            </a:extLst>
          </p:cNvPr>
          <p:cNvSpPr/>
          <p:nvPr userDrawn="1"/>
        </p:nvSpPr>
        <p:spPr>
          <a:xfrm>
            <a:off x="0" y="3"/>
            <a:ext cx="12192000" cy="6858000"/>
          </a:xfrm>
          <a:prstGeom prst="rect">
            <a:avLst/>
          </a:prstGeom>
          <a:solidFill>
            <a:srgbClr val="918A87">
              <a:alpha val="94902"/>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algn="l" defTabSz="914423" rtl="0" eaLnBrk="1" latinLnBrk="0" hangingPunct="1">
              <a:lnSpc>
                <a:spcPct val="100000"/>
              </a:lnSpc>
              <a:spcBef>
                <a:spcPts val="0"/>
              </a:spcBef>
            </a:pPr>
            <a:endParaRPr lang="en-US" sz="1600" kern="1200" dirty="0">
              <a:solidFill>
                <a:schemeClr val="tx1"/>
              </a:solidFill>
              <a:ea typeface="+mn-ea"/>
              <a:cs typeface="Arial" pitchFamily="34" charset="0"/>
            </a:endParaRPr>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85493101"/>
              </p:ext>
            </p:extLst>
          </p:nvPr>
        </p:nvGraphicFramePr>
        <p:xfrm>
          <a:off x="5" y="6"/>
          <a:ext cx="211668" cy="158751"/>
        </p:xfrm>
        <a:graphic>
          <a:graphicData uri="http://schemas.openxmlformats.org/presentationml/2006/ole">
            <mc:AlternateContent xmlns:mc="http://schemas.openxmlformats.org/markup-compatibility/2006">
              <mc:Choice xmlns:v="urn:schemas-microsoft-com:vml" Requires="v">
                <p:oleObj spid="_x0000_s265728" name="think-cell Slide" r:id="rId4" imgW="383" imgH="385" progId="TCLayout.ActiveDocument.1">
                  <p:embed/>
                </p:oleObj>
              </mc:Choice>
              <mc:Fallback>
                <p:oleObj name="think-cell Slide" r:id="rId4" imgW="383" imgH="385" progId="TCLayout.ActiveDocument.1">
                  <p:embed/>
                  <p:pic>
                    <p:nvPicPr>
                      <p:cNvPr id="3" name="Object 2" hidden="1"/>
                      <p:cNvPicPr/>
                      <p:nvPr/>
                    </p:nvPicPr>
                    <p:blipFill>
                      <a:blip r:embed="rId5"/>
                      <a:stretch>
                        <a:fillRect/>
                      </a:stretch>
                    </p:blipFill>
                    <p:spPr>
                      <a:xfrm>
                        <a:off x="5" y="6"/>
                        <a:ext cx="211668" cy="158751"/>
                      </a:xfrm>
                      <a:prstGeom prst="rect">
                        <a:avLst/>
                      </a:prstGeom>
                    </p:spPr>
                  </p:pic>
                </p:oleObj>
              </mc:Fallback>
            </mc:AlternateContent>
          </a:graphicData>
        </a:graphic>
      </p:graphicFrame>
      <p:sp>
        <p:nvSpPr>
          <p:cNvPr id="22" name="Subtitle 2">
            <a:extLst>
              <a:ext uri="{FF2B5EF4-FFF2-40B4-BE49-F238E27FC236}">
                <a16:creationId xmlns:a16="http://schemas.microsoft.com/office/drawing/2014/main" id="{0FEF2971-18CA-A447-B977-0E8BA063D874}"/>
              </a:ext>
            </a:extLst>
          </p:cNvPr>
          <p:cNvSpPr>
            <a:spLocks noGrp="1"/>
          </p:cNvSpPr>
          <p:nvPr>
            <p:ph type="subTitle" idx="1" hasCustomPrompt="1"/>
          </p:nvPr>
        </p:nvSpPr>
        <p:spPr bwMode="gray">
          <a:xfrm>
            <a:off x="3481899" y="3993161"/>
            <a:ext cx="6564923" cy="215572"/>
          </a:xfrm>
        </p:spPr>
        <p:txBody>
          <a:bodyPr wrap="square" lIns="0" tIns="0" rIns="0" bIns="0" anchor="t">
            <a:spAutoFit/>
          </a:bodyPr>
          <a:lstStyle>
            <a:lvl1pPr marL="0" indent="0" algn="l">
              <a:spcAft>
                <a:spcPts val="0"/>
              </a:spcAft>
              <a:buNone/>
              <a:defRPr sz="1401" b="0" cap="all" spc="300" baseline="0">
                <a:solidFill>
                  <a:schemeClr val="bg1"/>
                </a:solidFill>
                <a:latin typeface="+mn-lt"/>
                <a:cs typeface="Arial" pitchFamily="34" charset="0"/>
              </a:defRPr>
            </a:lvl1pPr>
            <a:lvl2pPr marL="536447" indent="0" algn="ctr">
              <a:buNone/>
              <a:defRPr sz="2300"/>
            </a:lvl2pPr>
            <a:lvl3pPr marL="1072893" indent="0" algn="ctr">
              <a:buNone/>
              <a:defRPr sz="2100"/>
            </a:lvl3pPr>
            <a:lvl4pPr marL="1609339" indent="0" algn="ctr">
              <a:buNone/>
              <a:defRPr sz="1900"/>
            </a:lvl4pPr>
            <a:lvl5pPr marL="2145784" indent="0" algn="ctr">
              <a:buNone/>
              <a:defRPr sz="1900"/>
            </a:lvl5pPr>
            <a:lvl6pPr marL="2682231" indent="0" algn="ctr">
              <a:buNone/>
              <a:defRPr sz="1900"/>
            </a:lvl6pPr>
            <a:lvl7pPr marL="3218677" indent="0" algn="ctr">
              <a:buNone/>
              <a:defRPr sz="1900"/>
            </a:lvl7pPr>
            <a:lvl8pPr marL="3755123" indent="0" algn="ctr">
              <a:buNone/>
              <a:defRPr sz="1900"/>
            </a:lvl8pPr>
            <a:lvl9pPr marL="4291569" indent="0" algn="ctr">
              <a:buNone/>
              <a:defRPr sz="1900"/>
            </a:lvl9pPr>
          </a:lstStyle>
          <a:p>
            <a:r>
              <a:rPr lang="en-US" dirty="0"/>
              <a:t>Sub-title and date</a:t>
            </a:r>
          </a:p>
        </p:txBody>
      </p:sp>
      <p:sp>
        <p:nvSpPr>
          <p:cNvPr id="23" name="Text Placeholder 6">
            <a:extLst>
              <a:ext uri="{FF2B5EF4-FFF2-40B4-BE49-F238E27FC236}">
                <a16:creationId xmlns:a16="http://schemas.microsoft.com/office/drawing/2014/main" id="{21B53F68-7CEB-4F4B-A468-2B1D397F0E75}"/>
              </a:ext>
            </a:extLst>
          </p:cNvPr>
          <p:cNvSpPr>
            <a:spLocks noGrp="1"/>
          </p:cNvSpPr>
          <p:nvPr>
            <p:ph type="body" sz="quarter" idx="18" hasCustomPrompt="1"/>
          </p:nvPr>
        </p:nvSpPr>
        <p:spPr>
          <a:xfrm>
            <a:off x="3481902" y="2757285"/>
            <a:ext cx="8082916" cy="646459"/>
          </a:xfrm>
        </p:spPr>
        <p:txBody>
          <a:bodyPr wrap="square" lIns="0" tIns="0" rIns="0" bIns="0" anchor="b">
            <a:spAutoFit/>
          </a:bodyPr>
          <a:lstStyle>
            <a:lvl1pPr marL="0" indent="0">
              <a:buFont typeface="Arial" panose="020B0604020202020204" pitchFamily="34" charset="0"/>
              <a:buNone/>
              <a:defRPr sz="4201" b="0" baseline="0">
                <a:solidFill>
                  <a:schemeClr val="bg1"/>
                </a:solidFill>
                <a:latin typeface="Lato Light" panose="020F0302020204030203" pitchFamily="34" charset="0"/>
              </a:defRPr>
            </a:lvl1pPr>
          </a:lstStyle>
          <a:p>
            <a:pPr lvl="0"/>
            <a:r>
              <a:rPr lang="en-US" dirty="0"/>
              <a:t>Title is </a:t>
            </a:r>
            <a:r>
              <a:rPr lang="en-US" dirty="0" err="1"/>
              <a:t>Lato</a:t>
            </a:r>
            <a:r>
              <a:rPr lang="en-US" dirty="0"/>
              <a:t> Light 42 point</a:t>
            </a:r>
          </a:p>
        </p:txBody>
      </p:sp>
      <p:cxnSp>
        <p:nvCxnSpPr>
          <p:cNvPr id="24" name="Line">
            <a:extLst>
              <a:ext uri="{FF2B5EF4-FFF2-40B4-BE49-F238E27FC236}">
                <a16:creationId xmlns:a16="http://schemas.microsoft.com/office/drawing/2014/main" id="{E277333D-8D22-DE4D-BED7-4452956ECF14}"/>
              </a:ext>
            </a:extLst>
          </p:cNvPr>
          <p:cNvCxnSpPr>
            <a:cxnSpLocks/>
          </p:cNvCxnSpPr>
          <p:nvPr userDrawn="1"/>
        </p:nvCxnSpPr>
        <p:spPr>
          <a:xfrm>
            <a:off x="3481899" y="3709468"/>
            <a:ext cx="562708" cy="0"/>
          </a:xfrm>
          <a:prstGeom prst="line">
            <a:avLst/>
          </a:prstGeom>
          <a:ln w="28575">
            <a:solidFill>
              <a:srgbClr val="881846"/>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36EC3E5E-8C80-C44A-AD67-64D64758C168}"/>
              </a:ext>
            </a:extLst>
          </p:cNvPr>
          <p:cNvSpPr/>
          <p:nvPr userDrawn="1"/>
        </p:nvSpPr>
        <p:spPr>
          <a:xfrm>
            <a:off x="1" y="1695091"/>
            <a:ext cx="2250831" cy="3474237"/>
          </a:xfrm>
          <a:prstGeom prst="rect">
            <a:avLst/>
          </a:pr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30" indent="-174630" algn="l" defTabSz="914423" rtl="0" eaLnBrk="1" latinLnBrk="0" hangingPunct="1">
              <a:lnSpc>
                <a:spcPct val="100000"/>
              </a:lnSpc>
              <a:spcBef>
                <a:spcPts val="0"/>
              </a:spcBef>
              <a:buFont typeface="Arial" panose="020B0604020202020204" pitchFamily="34" charset="0"/>
              <a:buChar char="•"/>
            </a:pPr>
            <a:endParaRPr lang="en-US" sz="1600" kern="1200" dirty="0" err="1">
              <a:solidFill>
                <a:schemeClr val="tx1"/>
              </a:solidFill>
              <a:latin typeface="+mj-lt"/>
              <a:ea typeface="+mn-ea"/>
              <a:cs typeface="Arial" pitchFamily="34" charset="0"/>
            </a:endParaRPr>
          </a:p>
        </p:txBody>
      </p:sp>
      <p:sp>
        <p:nvSpPr>
          <p:cNvPr id="4" name="Text Placeholder 3">
            <a:extLst>
              <a:ext uri="{FF2B5EF4-FFF2-40B4-BE49-F238E27FC236}">
                <a16:creationId xmlns:a16="http://schemas.microsoft.com/office/drawing/2014/main" id="{8BDD0874-C429-427A-B983-1D55C4ADA9D5}"/>
              </a:ext>
            </a:extLst>
          </p:cNvPr>
          <p:cNvSpPr>
            <a:spLocks noGrp="1"/>
          </p:cNvSpPr>
          <p:nvPr>
            <p:ph type="body" sz="quarter" idx="19" hasCustomPrompt="1"/>
          </p:nvPr>
        </p:nvSpPr>
        <p:spPr>
          <a:xfrm>
            <a:off x="8409354" y="914404"/>
            <a:ext cx="2571262" cy="1254125"/>
          </a:xfrm>
        </p:spPr>
        <p:txBody>
          <a:bodyPr/>
          <a:lstStyle>
            <a:lvl1pPr marL="0" indent="0">
              <a:buNone/>
              <a:defRPr i="1">
                <a:solidFill>
                  <a:schemeClr val="bg1"/>
                </a:solidFill>
              </a:defRPr>
            </a:lvl1pPr>
          </a:lstStyle>
          <a:p>
            <a:pPr lvl="0"/>
            <a:r>
              <a:rPr lang="en-ZA" dirty="0"/>
              <a:t>To insert photo overlay, refer to instructions at end of deck</a:t>
            </a:r>
          </a:p>
        </p:txBody>
      </p:sp>
      <p:pic>
        <p:nvPicPr>
          <p:cNvPr id="10" name="Picture 9" descr="A picture containing clipart&#10;&#10;Description generated with very high confidence">
            <a:extLst>
              <a:ext uri="{FF2B5EF4-FFF2-40B4-BE49-F238E27FC236}">
                <a16:creationId xmlns:a16="http://schemas.microsoft.com/office/drawing/2014/main" id="{41F27436-4ABB-4F94-AE8B-8E9E9D60E4E9}"/>
              </a:ext>
            </a:extLst>
          </p:cNvPr>
          <p:cNvPicPr>
            <a:picLocks/>
          </p:cNvPicPr>
          <p:nvPr userDrawn="1"/>
        </p:nvPicPr>
        <p:blipFill>
          <a:blip r:embed="rId6" cstate="email">
            <a:extLst>
              <a:ext uri="{28A0092B-C50C-407E-A947-70E740481C1C}">
                <a14:useLocalDpi xmlns:a14="http://schemas.microsoft.com/office/drawing/2010/main"/>
              </a:ext>
            </a:extLst>
          </a:blip>
          <a:stretch>
            <a:fillRect/>
          </a:stretch>
        </p:blipFill>
        <p:spPr>
          <a:xfrm>
            <a:off x="291240" y="3121216"/>
            <a:ext cx="1317631" cy="457200"/>
          </a:xfrm>
          <a:prstGeom prst="rect">
            <a:avLst/>
          </a:prstGeom>
        </p:spPr>
      </p:pic>
    </p:spTree>
    <p:extLst>
      <p:ext uri="{BB962C8B-B14F-4D97-AF65-F5344CB8AC3E}">
        <p14:creationId xmlns:p14="http://schemas.microsoft.com/office/powerpoint/2010/main" val="692156091"/>
      </p:ext>
    </p:extLst>
  </p:cSld>
  <p:clrMapOvr>
    <a:masterClrMapping/>
  </p:clrMapOvr>
  <p:extLst>
    <p:ext uri="{DCECCB84-F9BA-43D5-87BE-67443E8EF086}">
      <p15:sldGuideLst xmlns:p15="http://schemas.microsoft.com/office/powerpoint/2012/main">
        <p15:guide id="1" pos="236" userDrawn="1">
          <p15:clr>
            <a:srgbClr val="FBAE40"/>
          </p15:clr>
        </p15:guide>
        <p15:guide id="2" orient="horz" pos="2160" userDrawn="1">
          <p15:clr>
            <a:srgbClr val="FBAE40"/>
          </p15:clr>
        </p15:guide>
        <p15:guide id="3" orient="horz" pos="2298" userDrawn="1">
          <p15:clr>
            <a:srgbClr val="FBAE40"/>
          </p15:clr>
        </p15:guide>
        <p15:guide id="4" orient="horz" pos="2432" userDrawn="1">
          <p15:clr>
            <a:srgbClr val="FBAE40"/>
          </p15:clr>
        </p15:guide>
        <p15:guide id="5" orient="horz" pos="2568" userDrawn="1">
          <p15:clr>
            <a:srgbClr val="FBAE40"/>
          </p15:clr>
        </p15:guide>
        <p15:guide id="6" orient="horz" pos="2702" userDrawn="1">
          <p15:clr>
            <a:srgbClr val="FBAE40"/>
          </p15:clr>
        </p15:guide>
        <p15:guide id="7" orient="horz" pos="284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tandard logo Dalberg Desig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28688514"/>
              </p:ext>
            </p:extLst>
          </p:nvPr>
        </p:nvGraphicFramePr>
        <p:xfrm>
          <a:off x="2121" y="2118"/>
          <a:ext cx="2116" cy="2116"/>
        </p:xfrm>
        <a:graphic>
          <a:graphicData uri="http://schemas.openxmlformats.org/presentationml/2006/ole">
            <mc:AlternateContent xmlns:mc="http://schemas.openxmlformats.org/markup-compatibility/2006">
              <mc:Choice xmlns:v="urn:schemas-microsoft-com:vml" Requires="v">
                <p:oleObj spid="_x0000_s389444" name="think-cell Slide" r:id="rId5" imgW="383" imgH="385" progId="TCLayout.ActiveDocument.1">
                  <p:embed/>
                </p:oleObj>
              </mc:Choice>
              <mc:Fallback>
                <p:oleObj name="think-cell Slide" r:id="rId5" imgW="383" imgH="385" progId="TCLayout.ActiveDocument.1">
                  <p:embed/>
                  <p:pic>
                    <p:nvPicPr>
                      <p:cNvPr id="6" name="Object 5" hidden="1"/>
                      <p:cNvPicPr/>
                      <p:nvPr/>
                    </p:nvPicPr>
                    <p:blipFill>
                      <a:blip r:embed="rId6"/>
                      <a:stretch>
                        <a:fillRect/>
                      </a:stretch>
                    </p:blipFill>
                    <p:spPr>
                      <a:xfrm>
                        <a:off x="2121" y="2118"/>
                        <a:ext cx="2116" cy="2116"/>
                      </a:xfrm>
                      <a:prstGeom prst="rect">
                        <a:avLst/>
                      </a:prstGeom>
                    </p:spPr>
                  </p:pic>
                </p:oleObj>
              </mc:Fallback>
            </mc:AlternateContent>
          </a:graphicData>
        </a:graphic>
      </p:graphicFrame>
      <p:sp>
        <p:nvSpPr>
          <p:cNvPr id="3" name="Rectangle 2" hidden="1"/>
          <p:cNvSpPr/>
          <p:nvPr userDrawn="1">
            <p:custDataLst>
              <p:tags r:id="rId3"/>
            </p:custDataLst>
          </p:nvPr>
        </p:nvSpPr>
        <p:spPr bwMode="auto">
          <a:xfrm>
            <a:off x="1" y="0"/>
            <a:ext cx="195385" cy="158750"/>
          </a:xfrm>
          <a:prstGeom prst="rect">
            <a:avLst/>
          </a:prstGeom>
          <a:solidFill>
            <a:srgbClr val="FFFFFF"/>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23" rtl="0" eaLnBrk="1" latinLnBrk="0" hangingPunct="1">
              <a:lnSpc>
                <a:spcPct val="100000"/>
              </a:lnSpc>
              <a:spcBef>
                <a:spcPct val="0"/>
              </a:spcBef>
              <a:spcAft>
                <a:spcPct val="0"/>
              </a:spcAft>
              <a:buNone/>
            </a:pPr>
            <a:endParaRPr lang="en-US" sz="2601" b="0" i="0" kern="1200" baseline="0" dirty="0">
              <a:solidFill>
                <a:schemeClr val="tx1"/>
              </a:solidFill>
              <a:latin typeface="Lato" panose="020F0502020204030203" pitchFamily="34" charset="0"/>
              <a:ea typeface="+mj-ea"/>
              <a:cs typeface="Arial" panose="020B0604020202020204" pitchFamily="34" charset="0"/>
              <a:sym typeface="Lato" panose="020F0502020204030203" pitchFamily="34" charset="0"/>
            </a:endParaRPr>
          </a:p>
        </p:txBody>
      </p:sp>
      <p:sp>
        <p:nvSpPr>
          <p:cNvPr id="13" name="Rectangle 12"/>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sp>
        <p:nvSpPr>
          <p:cNvPr id="11" name="Title 1"/>
          <p:cNvSpPr>
            <a:spLocks noGrp="1"/>
          </p:cNvSpPr>
          <p:nvPr>
            <p:ph type="title" hasCustomPrompt="1"/>
          </p:nvPr>
        </p:nvSpPr>
        <p:spPr>
          <a:xfrm>
            <a:off x="943689" y="91834"/>
            <a:ext cx="10621127" cy="800476"/>
          </a:xfrm>
        </p:spPr>
        <p:txBody>
          <a:bodyPr wrap="square" anchor="ctr">
            <a:spAutoFit/>
          </a:bodyPr>
          <a:lstStyle>
            <a:lvl1pPr>
              <a:defRPr sz="2601" baseline="0">
                <a:solidFill>
                  <a:srgbClr val="881946"/>
                </a:solidFill>
                <a:latin typeface="+mj-lt"/>
              </a:defRPr>
            </a:lvl1pPr>
          </a:lstStyle>
          <a:p>
            <a:r>
              <a:rPr lang="en-US" dirty="0"/>
              <a:t>Title of the slide in </a:t>
            </a:r>
            <a:r>
              <a:rPr lang="en-US" dirty="0" err="1"/>
              <a:t>Lato</a:t>
            </a:r>
            <a:r>
              <a:rPr lang="en-US" dirty="0"/>
              <a:t> 26 points.</a:t>
            </a:r>
            <a:br>
              <a:rPr lang="en-US" dirty="0"/>
            </a:br>
            <a:r>
              <a:rPr lang="en-US" dirty="0"/>
              <a:t>Max 2 lines</a:t>
            </a:r>
          </a:p>
        </p:txBody>
      </p:sp>
      <p:sp>
        <p:nvSpPr>
          <p:cNvPr id="18" name="Text Placeholder 2"/>
          <p:cNvSpPr>
            <a:spLocks noGrp="1"/>
          </p:cNvSpPr>
          <p:nvPr>
            <p:ph idx="1"/>
          </p:nvPr>
        </p:nvSpPr>
        <p:spPr bwMode="gray">
          <a:xfrm>
            <a:off x="943690" y="1257300"/>
            <a:ext cx="10621127" cy="5067300"/>
          </a:xfrm>
          <a:prstGeom prst="rect">
            <a:avLst/>
          </a:prstGeom>
        </p:spPr>
        <p:txBody>
          <a:bodyPr vert="horz" wrap="square" lIns="0" tIns="0" rIns="0" bIns="0" rtlCol="0">
            <a:noAutofit/>
          </a:bodyPr>
          <a:lstStyle>
            <a:lvl1pPr>
              <a:defRPr>
                <a:solidFill>
                  <a:srgbClr val="606060"/>
                </a:solidFill>
              </a:defRPr>
            </a:lvl1pPr>
            <a:lvl2pPr>
              <a:defRPr>
                <a:solidFill>
                  <a:srgbClr val="606060"/>
                </a:solidFill>
              </a:defRPr>
            </a:lvl2pPr>
            <a:lvl3pPr>
              <a:defRPr>
                <a:solidFill>
                  <a:srgbClr val="606060"/>
                </a:solidFill>
              </a:defRPr>
            </a:lvl3pPr>
            <a:lvl4pPr>
              <a:defRPr>
                <a:solidFill>
                  <a:srgbClr val="606060"/>
                </a:solidFill>
              </a:defRPr>
            </a:lvl4pPr>
            <a:lvl5pPr>
              <a:defRPr>
                <a:solidFill>
                  <a:srgbClr val="606060"/>
                </a:solidFill>
              </a:defRPr>
            </a:lvl5pPr>
            <a:lvl6pPr marL="1005837" indent="0">
              <a:buNone/>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6"/>
          <p:cNvSpPr>
            <a:spLocks noGrp="1"/>
          </p:cNvSpPr>
          <p:nvPr>
            <p:ph type="body" sz="quarter" idx="14" hasCustomPrompt="1"/>
          </p:nvPr>
        </p:nvSpPr>
        <p:spPr>
          <a:xfrm>
            <a:off x="943691" y="6377453"/>
            <a:ext cx="8059634" cy="308033"/>
          </a:xfrm>
        </p:spPr>
        <p:txBody>
          <a:bodyPr wrap="square" anchor="b">
            <a:spAutoFit/>
          </a:bodyPr>
          <a:lstStyle>
            <a:lvl1pPr marL="0" indent="0">
              <a:buNone/>
              <a:defRPr sz="1001" baseline="0">
                <a:solidFill>
                  <a:srgbClr val="606060"/>
                </a:solidFill>
              </a:defRPr>
            </a:lvl1pPr>
          </a:lstStyle>
          <a:p>
            <a:pPr lvl="0"/>
            <a:r>
              <a:rPr lang="en-US" dirty="0"/>
              <a:t>This space is reserved for footnotes and sources only, and cannot be expanded beyond its current size.                                        Source: [Author/Publisher Name], [Report Name], [Year]</a:t>
            </a:r>
          </a:p>
        </p:txBody>
      </p:sp>
      <p:sp>
        <p:nvSpPr>
          <p:cNvPr id="20" name="Text Placeholder 6">
            <a:extLst>
              <a:ext uri="{FF2B5EF4-FFF2-40B4-BE49-F238E27FC236}">
                <a16:creationId xmlns:a16="http://schemas.microsoft.com/office/drawing/2014/main" id="{55EAF43E-BB4E-494E-9B58-0B592AF0D603}"/>
              </a:ext>
            </a:extLst>
          </p:cNvPr>
          <p:cNvSpPr>
            <a:spLocks noGrp="1"/>
          </p:cNvSpPr>
          <p:nvPr>
            <p:ph type="body" sz="quarter" idx="17" hasCustomPrompt="1"/>
          </p:nvPr>
        </p:nvSpPr>
        <p:spPr>
          <a:xfrm>
            <a:off x="80277" y="399740"/>
            <a:ext cx="468922" cy="184666"/>
          </a:xfrm>
        </p:spPr>
        <p:txBody>
          <a:bodyPr wrap="square" anchor="ctr">
            <a:spAutoFit/>
          </a:bodyPr>
          <a:lstStyle>
            <a:lvl1pPr marL="0" indent="0" algn="ctr">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dirty="0"/>
              <a:t>Text</a:t>
            </a:r>
          </a:p>
        </p:txBody>
      </p:sp>
      <p:sp>
        <p:nvSpPr>
          <p:cNvPr id="25" name="Rectangle 24">
            <a:extLst>
              <a:ext uri="{FF2B5EF4-FFF2-40B4-BE49-F238E27FC236}">
                <a16:creationId xmlns:a16="http://schemas.microsoft.com/office/drawing/2014/main" id="{45F29BBF-B9B3-45B6-9E97-4D0B2D09B801}"/>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sp>
        <p:nvSpPr>
          <p:cNvPr id="26" name="Slide Number Placeholder 5">
            <a:extLst>
              <a:ext uri="{FF2B5EF4-FFF2-40B4-BE49-F238E27FC236}">
                <a16:creationId xmlns:a16="http://schemas.microsoft.com/office/drawing/2014/main" id="{27C7BEBC-C853-47DF-B7A0-DFDDC0CEDF22}"/>
              </a:ext>
            </a:extLst>
          </p:cNvPr>
          <p:cNvSpPr>
            <a:spLocks noGrp="1"/>
          </p:cNvSpPr>
          <p:nvPr>
            <p:ph type="sldNum" sz="quarter" idx="4"/>
          </p:nvPr>
        </p:nvSpPr>
        <p:spPr bwMode="gray">
          <a:xfrm>
            <a:off x="11743978" y="6529802"/>
            <a:ext cx="280034" cy="154017"/>
          </a:xfrm>
          <a:prstGeom prst="rect">
            <a:avLst/>
          </a:prstGeom>
          <a:noFill/>
        </p:spPr>
        <p:txBody>
          <a:bodyPr vert="horz" wrap="square" lIns="0" tIns="0" rIns="0" bIns="0" rtlCol="0" anchor="ctr">
            <a:spAutoFit/>
          </a:bodyPr>
          <a:lstStyle>
            <a:lvl1pPr algn="ctr">
              <a:defRPr sz="1001">
                <a:solidFill>
                  <a:schemeClr val="bg1"/>
                </a:solidFill>
                <a:latin typeface="Lato" panose="020F0502020204030203" pitchFamily="34" charset="0"/>
                <a:cs typeface="Arial" pitchFamily="34" charset="0"/>
              </a:defRPr>
            </a:lvl1pPr>
          </a:lstStyle>
          <a:p>
            <a:fld id="{A90607E6-BCED-4FC1-A345-AB2A307AB80F}" type="slidenum">
              <a:rPr lang="en-US" smtClean="0"/>
              <a:pPr/>
              <a:t>‹#›</a:t>
            </a:fld>
            <a:endParaRPr lang="en-US" dirty="0"/>
          </a:p>
        </p:txBody>
      </p:sp>
      <p:pic>
        <p:nvPicPr>
          <p:cNvPr id="12" name="Picture 11">
            <a:extLst>
              <a:ext uri="{FF2B5EF4-FFF2-40B4-BE49-F238E27FC236}">
                <a16:creationId xmlns:a16="http://schemas.microsoft.com/office/drawing/2014/main" id="{9B6419F5-6E67-4D15-BC49-CF334EB11A25}"/>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665300" y="6507505"/>
            <a:ext cx="869730" cy="215333"/>
          </a:xfrm>
          <a:prstGeom prst="rect">
            <a:avLst/>
          </a:prstGeom>
        </p:spPr>
      </p:pic>
      <p:pic>
        <p:nvPicPr>
          <p:cNvPr id="17" name="Picture 16">
            <a:extLst>
              <a:ext uri="{FF2B5EF4-FFF2-40B4-BE49-F238E27FC236}">
                <a16:creationId xmlns:a16="http://schemas.microsoft.com/office/drawing/2014/main" id="{1BD06AFE-5395-4D04-A95E-7EC763D91A3A}"/>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525940" y="6447443"/>
            <a:ext cx="1269294" cy="261145"/>
          </a:xfrm>
          <a:prstGeom prst="rect">
            <a:avLst/>
          </a:prstGeom>
        </p:spPr>
      </p:pic>
    </p:spTree>
    <p:extLst>
      <p:ext uri="{BB962C8B-B14F-4D97-AF65-F5344CB8AC3E}">
        <p14:creationId xmlns:p14="http://schemas.microsoft.com/office/powerpoint/2010/main" val="15094876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tandard logo Dalberg Data Insigh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669397559"/>
              </p:ext>
            </p:extLst>
          </p:nvPr>
        </p:nvGraphicFramePr>
        <p:xfrm>
          <a:off x="2121" y="2118"/>
          <a:ext cx="2116" cy="2116"/>
        </p:xfrm>
        <a:graphic>
          <a:graphicData uri="http://schemas.openxmlformats.org/presentationml/2006/ole">
            <mc:AlternateContent xmlns:mc="http://schemas.openxmlformats.org/markup-compatibility/2006">
              <mc:Choice xmlns:v="urn:schemas-microsoft-com:vml" Requires="v">
                <p:oleObj spid="_x0000_s391492" name="think-cell Slide" r:id="rId5" imgW="383" imgH="385" progId="TCLayout.ActiveDocument.1">
                  <p:embed/>
                </p:oleObj>
              </mc:Choice>
              <mc:Fallback>
                <p:oleObj name="think-cell Slide" r:id="rId5" imgW="383" imgH="385" progId="TCLayout.ActiveDocument.1">
                  <p:embed/>
                  <p:pic>
                    <p:nvPicPr>
                      <p:cNvPr id="6" name="Object 5" hidden="1"/>
                      <p:cNvPicPr/>
                      <p:nvPr/>
                    </p:nvPicPr>
                    <p:blipFill>
                      <a:blip r:embed="rId6"/>
                      <a:stretch>
                        <a:fillRect/>
                      </a:stretch>
                    </p:blipFill>
                    <p:spPr>
                      <a:xfrm>
                        <a:off x="2121" y="2118"/>
                        <a:ext cx="2116" cy="2116"/>
                      </a:xfrm>
                      <a:prstGeom prst="rect">
                        <a:avLst/>
                      </a:prstGeom>
                    </p:spPr>
                  </p:pic>
                </p:oleObj>
              </mc:Fallback>
            </mc:AlternateContent>
          </a:graphicData>
        </a:graphic>
      </p:graphicFrame>
      <p:sp>
        <p:nvSpPr>
          <p:cNvPr id="3" name="Rectangle 2" hidden="1"/>
          <p:cNvSpPr/>
          <p:nvPr userDrawn="1">
            <p:custDataLst>
              <p:tags r:id="rId3"/>
            </p:custDataLst>
          </p:nvPr>
        </p:nvSpPr>
        <p:spPr bwMode="auto">
          <a:xfrm>
            <a:off x="1" y="0"/>
            <a:ext cx="195385" cy="158750"/>
          </a:xfrm>
          <a:prstGeom prst="rect">
            <a:avLst/>
          </a:prstGeom>
          <a:solidFill>
            <a:srgbClr val="FFFFFF"/>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23" rtl="0" eaLnBrk="1" latinLnBrk="0" hangingPunct="1">
              <a:lnSpc>
                <a:spcPct val="100000"/>
              </a:lnSpc>
              <a:spcBef>
                <a:spcPct val="0"/>
              </a:spcBef>
              <a:spcAft>
                <a:spcPct val="0"/>
              </a:spcAft>
              <a:buNone/>
            </a:pPr>
            <a:endParaRPr lang="en-US" sz="2601" b="0" i="0" kern="1200" baseline="0" dirty="0">
              <a:solidFill>
                <a:schemeClr val="tx1"/>
              </a:solidFill>
              <a:latin typeface="Lato" panose="020F0502020204030203" pitchFamily="34" charset="0"/>
              <a:ea typeface="+mj-ea"/>
              <a:cs typeface="Arial" panose="020B0604020202020204" pitchFamily="34" charset="0"/>
              <a:sym typeface="Lato" panose="020F0502020204030203" pitchFamily="34" charset="0"/>
            </a:endParaRPr>
          </a:p>
        </p:txBody>
      </p:sp>
      <p:sp>
        <p:nvSpPr>
          <p:cNvPr id="13" name="Rectangle 12"/>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sp>
        <p:nvSpPr>
          <p:cNvPr id="11" name="Title 1"/>
          <p:cNvSpPr>
            <a:spLocks noGrp="1"/>
          </p:cNvSpPr>
          <p:nvPr>
            <p:ph type="title" hasCustomPrompt="1"/>
          </p:nvPr>
        </p:nvSpPr>
        <p:spPr>
          <a:xfrm>
            <a:off x="943689" y="91834"/>
            <a:ext cx="10621127" cy="800476"/>
          </a:xfrm>
        </p:spPr>
        <p:txBody>
          <a:bodyPr wrap="square" anchor="ctr">
            <a:spAutoFit/>
          </a:bodyPr>
          <a:lstStyle>
            <a:lvl1pPr>
              <a:defRPr sz="2601" baseline="0">
                <a:solidFill>
                  <a:srgbClr val="881946"/>
                </a:solidFill>
                <a:latin typeface="+mj-lt"/>
              </a:defRPr>
            </a:lvl1pPr>
          </a:lstStyle>
          <a:p>
            <a:r>
              <a:rPr lang="en-US" dirty="0"/>
              <a:t>Title of the slide in </a:t>
            </a:r>
            <a:r>
              <a:rPr lang="en-US" dirty="0" err="1"/>
              <a:t>Lato</a:t>
            </a:r>
            <a:r>
              <a:rPr lang="en-US" dirty="0"/>
              <a:t> 26 points.</a:t>
            </a:r>
            <a:br>
              <a:rPr lang="en-US" dirty="0"/>
            </a:br>
            <a:r>
              <a:rPr lang="en-US" dirty="0"/>
              <a:t>Max 2 lines</a:t>
            </a:r>
          </a:p>
        </p:txBody>
      </p:sp>
      <p:sp>
        <p:nvSpPr>
          <p:cNvPr id="18" name="Text Placeholder 2"/>
          <p:cNvSpPr>
            <a:spLocks noGrp="1"/>
          </p:cNvSpPr>
          <p:nvPr>
            <p:ph idx="1"/>
          </p:nvPr>
        </p:nvSpPr>
        <p:spPr bwMode="gray">
          <a:xfrm>
            <a:off x="943690" y="1257300"/>
            <a:ext cx="10621127" cy="5067300"/>
          </a:xfrm>
          <a:prstGeom prst="rect">
            <a:avLst/>
          </a:prstGeom>
        </p:spPr>
        <p:txBody>
          <a:bodyPr vert="horz" wrap="square" lIns="0" tIns="0" rIns="0" bIns="0" rtlCol="0">
            <a:noAutofit/>
          </a:bodyPr>
          <a:lstStyle>
            <a:lvl1pPr>
              <a:defRPr>
                <a:solidFill>
                  <a:srgbClr val="606060"/>
                </a:solidFill>
              </a:defRPr>
            </a:lvl1pPr>
            <a:lvl2pPr>
              <a:defRPr>
                <a:solidFill>
                  <a:srgbClr val="606060"/>
                </a:solidFill>
              </a:defRPr>
            </a:lvl2pPr>
            <a:lvl3pPr>
              <a:defRPr>
                <a:solidFill>
                  <a:srgbClr val="606060"/>
                </a:solidFill>
              </a:defRPr>
            </a:lvl3pPr>
            <a:lvl4pPr>
              <a:defRPr>
                <a:solidFill>
                  <a:srgbClr val="606060"/>
                </a:solidFill>
              </a:defRPr>
            </a:lvl4pPr>
            <a:lvl5pPr>
              <a:defRPr>
                <a:solidFill>
                  <a:srgbClr val="606060"/>
                </a:solidFill>
              </a:defRPr>
            </a:lvl5pPr>
            <a:lvl6pPr marL="1005837" indent="0">
              <a:buNone/>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6"/>
          <p:cNvSpPr>
            <a:spLocks noGrp="1"/>
          </p:cNvSpPr>
          <p:nvPr>
            <p:ph type="body" sz="quarter" idx="14" hasCustomPrompt="1"/>
          </p:nvPr>
        </p:nvSpPr>
        <p:spPr>
          <a:xfrm>
            <a:off x="943691" y="6377453"/>
            <a:ext cx="8059634" cy="308033"/>
          </a:xfrm>
        </p:spPr>
        <p:txBody>
          <a:bodyPr wrap="square" anchor="b">
            <a:spAutoFit/>
          </a:bodyPr>
          <a:lstStyle>
            <a:lvl1pPr marL="0" indent="0">
              <a:buNone/>
              <a:defRPr sz="1001" baseline="0">
                <a:solidFill>
                  <a:srgbClr val="606060"/>
                </a:solidFill>
              </a:defRPr>
            </a:lvl1pPr>
          </a:lstStyle>
          <a:p>
            <a:pPr lvl="0"/>
            <a:r>
              <a:rPr lang="en-US" dirty="0"/>
              <a:t>This space is reserved for footnotes and sources only, and cannot be expanded beyond its current size.                                        Source: [Author/Publisher Name], [Report Name], [Year]</a:t>
            </a:r>
          </a:p>
        </p:txBody>
      </p:sp>
      <p:sp>
        <p:nvSpPr>
          <p:cNvPr id="20" name="Text Placeholder 6">
            <a:extLst>
              <a:ext uri="{FF2B5EF4-FFF2-40B4-BE49-F238E27FC236}">
                <a16:creationId xmlns:a16="http://schemas.microsoft.com/office/drawing/2014/main" id="{55EAF43E-BB4E-494E-9B58-0B592AF0D603}"/>
              </a:ext>
            </a:extLst>
          </p:cNvPr>
          <p:cNvSpPr>
            <a:spLocks noGrp="1"/>
          </p:cNvSpPr>
          <p:nvPr>
            <p:ph type="body" sz="quarter" idx="17" hasCustomPrompt="1"/>
          </p:nvPr>
        </p:nvSpPr>
        <p:spPr>
          <a:xfrm>
            <a:off x="80277" y="399740"/>
            <a:ext cx="468922" cy="184666"/>
          </a:xfrm>
        </p:spPr>
        <p:txBody>
          <a:bodyPr wrap="square" anchor="ctr">
            <a:spAutoFit/>
          </a:bodyPr>
          <a:lstStyle>
            <a:lvl1pPr marL="0" indent="0" algn="ctr">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dirty="0"/>
              <a:t>Text</a:t>
            </a:r>
          </a:p>
        </p:txBody>
      </p:sp>
      <p:sp>
        <p:nvSpPr>
          <p:cNvPr id="25" name="Rectangle 24">
            <a:extLst>
              <a:ext uri="{FF2B5EF4-FFF2-40B4-BE49-F238E27FC236}">
                <a16:creationId xmlns:a16="http://schemas.microsoft.com/office/drawing/2014/main" id="{4DC41D73-5F20-491E-B3B1-EE07354BFEAF}"/>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sp>
        <p:nvSpPr>
          <p:cNvPr id="26" name="Slide Number Placeholder 5">
            <a:extLst>
              <a:ext uri="{FF2B5EF4-FFF2-40B4-BE49-F238E27FC236}">
                <a16:creationId xmlns:a16="http://schemas.microsoft.com/office/drawing/2014/main" id="{93535754-8FEB-4D94-B1EB-415CFA4DA16A}"/>
              </a:ext>
            </a:extLst>
          </p:cNvPr>
          <p:cNvSpPr>
            <a:spLocks noGrp="1"/>
          </p:cNvSpPr>
          <p:nvPr>
            <p:ph type="sldNum" sz="quarter" idx="4"/>
          </p:nvPr>
        </p:nvSpPr>
        <p:spPr bwMode="gray">
          <a:xfrm>
            <a:off x="11743978" y="6529802"/>
            <a:ext cx="280034" cy="154017"/>
          </a:xfrm>
          <a:prstGeom prst="rect">
            <a:avLst/>
          </a:prstGeom>
          <a:noFill/>
        </p:spPr>
        <p:txBody>
          <a:bodyPr vert="horz" wrap="square" lIns="0" tIns="0" rIns="0" bIns="0" rtlCol="0" anchor="ctr">
            <a:spAutoFit/>
          </a:bodyPr>
          <a:lstStyle>
            <a:lvl1pPr algn="ctr">
              <a:defRPr sz="1001">
                <a:solidFill>
                  <a:schemeClr val="bg1"/>
                </a:solidFill>
                <a:latin typeface="Lato" panose="020F0502020204030203" pitchFamily="34" charset="0"/>
                <a:cs typeface="Arial" pitchFamily="34" charset="0"/>
              </a:defRPr>
            </a:lvl1pPr>
          </a:lstStyle>
          <a:p>
            <a:fld id="{A90607E6-BCED-4FC1-A345-AB2A307AB80F}" type="slidenum">
              <a:rPr lang="en-US" smtClean="0"/>
              <a:pPr/>
              <a:t>‹#›</a:t>
            </a:fld>
            <a:endParaRPr lang="en-US" dirty="0"/>
          </a:p>
        </p:txBody>
      </p:sp>
      <p:pic>
        <p:nvPicPr>
          <p:cNvPr id="16" name="Picture 15">
            <a:extLst>
              <a:ext uri="{FF2B5EF4-FFF2-40B4-BE49-F238E27FC236}">
                <a16:creationId xmlns:a16="http://schemas.microsoft.com/office/drawing/2014/main" id="{52BA62BE-5316-48CD-A4E1-BCF89D859443}"/>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218315" y="6460171"/>
            <a:ext cx="1288886" cy="265176"/>
          </a:xfrm>
          <a:prstGeom prst="rect">
            <a:avLst/>
          </a:prstGeom>
        </p:spPr>
      </p:pic>
      <p:pic>
        <p:nvPicPr>
          <p:cNvPr id="17" name="Picture 16">
            <a:extLst>
              <a:ext uri="{FF2B5EF4-FFF2-40B4-BE49-F238E27FC236}">
                <a16:creationId xmlns:a16="http://schemas.microsoft.com/office/drawing/2014/main" id="{B9883C86-B7BF-4306-A63D-3F1E4592C2EE}"/>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9343749" y="6507505"/>
            <a:ext cx="869730" cy="215333"/>
          </a:xfrm>
          <a:prstGeom prst="rect">
            <a:avLst/>
          </a:prstGeom>
        </p:spPr>
      </p:pic>
    </p:spTree>
    <p:extLst>
      <p:ext uri="{BB962C8B-B14F-4D97-AF65-F5344CB8AC3E}">
        <p14:creationId xmlns:p14="http://schemas.microsoft.com/office/powerpoint/2010/main" val="61801136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tandard logo multiple businesse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252953876"/>
              </p:ext>
            </p:extLst>
          </p:nvPr>
        </p:nvGraphicFramePr>
        <p:xfrm>
          <a:off x="2121" y="2118"/>
          <a:ext cx="2116" cy="2116"/>
        </p:xfrm>
        <a:graphic>
          <a:graphicData uri="http://schemas.openxmlformats.org/presentationml/2006/ole">
            <mc:AlternateContent xmlns:mc="http://schemas.openxmlformats.org/markup-compatibility/2006">
              <mc:Choice xmlns:v="urn:schemas-microsoft-com:vml" Requires="v">
                <p:oleObj spid="_x0000_s383363" name="think-cell Slide" r:id="rId5" imgW="383" imgH="385" progId="TCLayout.ActiveDocument.1">
                  <p:embed/>
                </p:oleObj>
              </mc:Choice>
              <mc:Fallback>
                <p:oleObj name="think-cell Slide" r:id="rId5" imgW="383" imgH="385" progId="TCLayout.ActiveDocument.1">
                  <p:embed/>
                  <p:pic>
                    <p:nvPicPr>
                      <p:cNvPr id="6" name="Object 5" hidden="1"/>
                      <p:cNvPicPr/>
                      <p:nvPr/>
                    </p:nvPicPr>
                    <p:blipFill>
                      <a:blip r:embed="rId6"/>
                      <a:stretch>
                        <a:fillRect/>
                      </a:stretch>
                    </p:blipFill>
                    <p:spPr>
                      <a:xfrm>
                        <a:off x="2121" y="2118"/>
                        <a:ext cx="2116" cy="2116"/>
                      </a:xfrm>
                      <a:prstGeom prst="rect">
                        <a:avLst/>
                      </a:prstGeom>
                    </p:spPr>
                  </p:pic>
                </p:oleObj>
              </mc:Fallback>
            </mc:AlternateContent>
          </a:graphicData>
        </a:graphic>
      </p:graphicFrame>
      <p:sp>
        <p:nvSpPr>
          <p:cNvPr id="3" name="Rectangle 2" hidden="1"/>
          <p:cNvSpPr/>
          <p:nvPr userDrawn="1">
            <p:custDataLst>
              <p:tags r:id="rId3"/>
            </p:custDataLst>
          </p:nvPr>
        </p:nvSpPr>
        <p:spPr bwMode="auto">
          <a:xfrm>
            <a:off x="1" y="0"/>
            <a:ext cx="195385" cy="158750"/>
          </a:xfrm>
          <a:prstGeom prst="rect">
            <a:avLst/>
          </a:prstGeom>
          <a:solidFill>
            <a:srgbClr val="FFFFFF"/>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23" rtl="0" eaLnBrk="1" latinLnBrk="0" hangingPunct="1">
              <a:lnSpc>
                <a:spcPct val="100000"/>
              </a:lnSpc>
              <a:spcBef>
                <a:spcPct val="0"/>
              </a:spcBef>
              <a:spcAft>
                <a:spcPct val="0"/>
              </a:spcAft>
              <a:buNone/>
            </a:pPr>
            <a:endParaRPr lang="en-US" sz="2601" b="0" i="0" kern="1200" baseline="0" dirty="0">
              <a:solidFill>
                <a:schemeClr val="tx1"/>
              </a:solidFill>
              <a:latin typeface="Lato" panose="020F0502020204030203" pitchFamily="34" charset="0"/>
              <a:ea typeface="+mj-ea"/>
              <a:cs typeface="Arial" panose="020B0604020202020204" pitchFamily="34" charset="0"/>
              <a:sym typeface="Lato" panose="020F0502020204030203" pitchFamily="34" charset="0"/>
            </a:endParaRPr>
          </a:p>
        </p:txBody>
      </p:sp>
      <p:sp>
        <p:nvSpPr>
          <p:cNvPr id="13" name="Rectangle 12"/>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sp>
        <p:nvSpPr>
          <p:cNvPr id="11" name="Title 1"/>
          <p:cNvSpPr>
            <a:spLocks noGrp="1"/>
          </p:cNvSpPr>
          <p:nvPr>
            <p:ph type="title" hasCustomPrompt="1"/>
          </p:nvPr>
        </p:nvSpPr>
        <p:spPr>
          <a:xfrm>
            <a:off x="943689" y="91834"/>
            <a:ext cx="10621127" cy="800476"/>
          </a:xfrm>
        </p:spPr>
        <p:txBody>
          <a:bodyPr wrap="square" anchor="ctr">
            <a:spAutoFit/>
          </a:bodyPr>
          <a:lstStyle>
            <a:lvl1pPr>
              <a:defRPr sz="2601" baseline="0">
                <a:solidFill>
                  <a:srgbClr val="881946"/>
                </a:solidFill>
                <a:latin typeface="+mj-lt"/>
              </a:defRPr>
            </a:lvl1pPr>
          </a:lstStyle>
          <a:p>
            <a:r>
              <a:rPr lang="en-US" dirty="0"/>
              <a:t>Title of the slide in </a:t>
            </a:r>
            <a:r>
              <a:rPr lang="en-US" dirty="0" err="1"/>
              <a:t>Lato</a:t>
            </a:r>
            <a:r>
              <a:rPr lang="en-US" dirty="0"/>
              <a:t> 26 points.</a:t>
            </a:r>
            <a:br>
              <a:rPr lang="en-US" dirty="0"/>
            </a:br>
            <a:r>
              <a:rPr lang="en-US" dirty="0"/>
              <a:t>Max 2 lines</a:t>
            </a:r>
          </a:p>
        </p:txBody>
      </p:sp>
      <p:sp>
        <p:nvSpPr>
          <p:cNvPr id="18" name="Text Placeholder 2"/>
          <p:cNvSpPr>
            <a:spLocks noGrp="1"/>
          </p:cNvSpPr>
          <p:nvPr>
            <p:ph idx="1"/>
          </p:nvPr>
        </p:nvSpPr>
        <p:spPr bwMode="gray">
          <a:xfrm>
            <a:off x="943690" y="1257300"/>
            <a:ext cx="10621127" cy="5067300"/>
          </a:xfrm>
          <a:prstGeom prst="rect">
            <a:avLst/>
          </a:prstGeom>
        </p:spPr>
        <p:txBody>
          <a:bodyPr vert="horz" wrap="square" lIns="0" tIns="0" rIns="0" bIns="0" rtlCol="0">
            <a:noAutofit/>
          </a:bodyPr>
          <a:lstStyle>
            <a:lvl1pPr>
              <a:defRPr>
                <a:solidFill>
                  <a:srgbClr val="606060"/>
                </a:solidFill>
              </a:defRPr>
            </a:lvl1pPr>
            <a:lvl2pPr>
              <a:defRPr>
                <a:solidFill>
                  <a:srgbClr val="606060"/>
                </a:solidFill>
              </a:defRPr>
            </a:lvl2pPr>
            <a:lvl3pPr>
              <a:defRPr>
                <a:solidFill>
                  <a:srgbClr val="606060"/>
                </a:solidFill>
              </a:defRPr>
            </a:lvl3pPr>
            <a:lvl4pPr>
              <a:defRPr>
                <a:solidFill>
                  <a:srgbClr val="606060"/>
                </a:solidFill>
              </a:defRPr>
            </a:lvl4pPr>
            <a:lvl5pPr>
              <a:defRPr>
                <a:solidFill>
                  <a:srgbClr val="606060"/>
                </a:solidFill>
              </a:defRPr>
            </a:lvl5pPr>
            <a:lvl6pPr marL="1005837" indent="0">
              <a:buNone/>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6"/>
          <p:cNvSpPr>
            <a:spLocks noGrp="1"/>
          </p:cNvSpPr>
          <p:nvPr>
            <p:ph type="body" sz="quarter" idx="14" hasCustomPrompt="1"/>
          </p:nvPr>
        </p:nvSpPr>
        <p:spPr>
          <a:xfrm>
            <a:off x="943691" y="6377453"/>
            <a:ext cx="8059634" cy="308033"/>
          </a:xfrm>
        </p:spPr>
        <p:txBody>
          <a:bodyPr wrap="square" anchor="b">
            <a:spAutoFit/>
          </a:bodyPr>
          <a:lstStyle>
            <a:lvl1pPr marL="0" indent="0">
              <a:buNone/>
              <a:defRPr sz="1001" baseline="0">
                <a:solidFill>
                  <a:srgbClr val="606060"/>
                </a:solidFill>
              </a:defRPr>
            </a:lvl1pPr>
          </a:lstStyle>
          <a:p>
            <a:pPr lvl="0"/>
            <a:r>
              <a:rPr lang="en-US" dirty="0"/>
              <a:t>This space is reserved for footnotes and sources only, and cannot be expanded beyond its current size.                                        Source: [Author/Publisher Name], [Report Name], [Year]</a:t>
            </a:r>
          </a:p>
        </p:txBody>
      </p:sp>
      <p:sp>
        <p:nvSpPr>
          <p:cNvPr id="20" name="Text Placeholder 6">
            <a:extLst>
              <a:ext uri="{FF2B5EF4-FFF2-40B4-BE49-F238E27FC236}">
                <a16:creationId xmlns:a16="http://schemas.microsoft.com/office/drawing/2014/main" id="{55EAF43E-BB4E-494E-9B58-0B592AF0D603}"/>
              </a:ext>
            </a:extLst>
          </p:cNvPr>
          <p:cNvSpPr>
            <a:spLocks noGrp="1"/>
          </p:cNvSpPr>
          <p:nvPr>
            <p:ph type="body" sz="quarter" idx="17" hasCustomPrompt="1"/>
          </p:nvPr>
        </p:nvSpPr>
        <p:spPr>
          <a:xfrm>
            <a:off x="80277" y="399740"/>
            <a:ext cx="468922" cy="184666"/>
          </a:xfrm>
        </p:spPr>
        <p:txBody>
          <a:bodyPr wrap="square" anchor="ctr">
            <a:spAutoFit/>
          </a:bodyPr>
          <a:lstStyle>
            <a:lvl1pPr marL="0" indent="0" algn="ctr">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dirty="0"/>
              <a:t>Text</a:t>
            </a:r>
          </a:p>
        </p:txBody>
      </p:sp>
      <p:sp>
        <p:nvSpPr>
          <p:cNvPr id="28" name="Text Placeholder 6">
            <a:extLst>
              <a:ext uri="{FF2B5EF4-FFF2-40B4-BE49-F238E27FC236}">
                <a16:creationId xmlns:a16="http://schemas.microsoft.com/office/drawing/2014/main" id="{06C153EB-B36B-45C2-80ED-5524ED0D0C62}"/>
              </a:ext>
            </a:extLst>
          </p:cNvPr>
          <p:cNvSpPr>
            <a:spLocks noGrp="1"/>
          </p:cNvSpPr>
          <p:nvPr>
            <p:ph type="body" sz="quarter" idx="18" hasCustomPrompt="1"/>
          </p:nvPr>
        </p:nvSpPr>
        <p:spPr>
          <a:xfrm>
            <a:off x="8270631" y="5442861"/>
            <a:ext cx="2977662" cy="654731"/>
          </a:xfrm>
          <a:prstGeom prst="wedgeRectCallout">
            <a:avLst>
              <a:gd name="adj1" fmla="val 21162"/>
              <a:gd name="adj2" fmla="val 67720"/>
            </a:avLst>
          </a:prstGeom>
        </p:spPr>
        <p:txBody>
          <a:bodyPr/>
          <a:lstStyle>
            <a:lvl1pPr marL="0" indent="0">
              <a:buNone/>
              <a:defRPr/>
            </a:lvl1pPr>
          </a:lstStyle>
          <a:p>
            <a:pPr lvl="0"/>
            <a:r>
              <a:rPr lang="en-US" dirty="0"/>
              <a:t>Delete businesses as necessary in the Master View </a:t>
            </a:r>
            <a:endParaRPr lang="en-ZA" dirty="0"/>
          </a:p>
        </p:txBody>
      </p:sp>
      <p:sp>
        <p:nvSpPr>
          <p:cNvPr id="31" name="Rectangle 30">
            <a:extLst>
              <a:ext uri="{FF2B5EF4-FFF2-40B4-BE49-F238E27FC236}">
                <a16:creationId xmlns:a16="http://schemas.microsoft.com/office/drawing/2014/main" id="{96686D21-98D8-4B5B-9B3A-591B1F5A25D8}"/>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sp>
        <p:nvSpPr>
          <p:cNvPr id="32" name="Slide Number Placeholder 5">
            <a:extLst>
              <a:ext uri="{FF2B5EF4-FFF2-40B4-BE49-F238E27FC236}">
                <a16:creationId xmlns:a16="http://schemas.microsoft.com/office/drawing/2014/main" id="{62FDD2AD-A616-49CB-8A60-3B2D6CDB1C17}"/>
              </a:ext>
            </a:extLst>
          </p:cNvPr>
          <p:cNvSpPr>
            <a:spLocks noGrp="1"/>
          </p:cNvSpPr>
          <p:nvPr>
            <p:ph type="sldNum" sz="quarter" idx="4"/>
          </p:nvPr>
        </p:nvSpPr>
        <p:spPr bwMode="gray">
          <a:xfrm>
            <a:off x="11743978" y="6529802"/>
            <a:ext cx="280034" cy="154017"/>
          </a:xfrm>
          <a:prstGeom prst="rect">
            <a:avLst/>
          </a:prstGeom>
          <a:noFill/>
        </p:spPr>
        <p:txBody>
          <a:bodyPr vert="horz" wrap="square" lIns="0" tIns="0" rIns="0" bIns="0" rtlCol="0" anchor="ctr">
            <a:spAutoFit/>
          </a:bodyPr>
          <a:lstStyle>
            <a:lvl1pPr algn="ctr">
              <a:defRPr sz="1001">
                <a:solidFill>
                  <a:schemeClr val="bg1"/>
                </a:solidFill>
                <a:latin typeface="Lato" panose="020F0502020204030203" pitchFamily="34" charset="0"/>
                <a:cs typeface="Arial" pitchFamily="34" charset="0"/>
              </a:defRPr>
            </a:lvl1pPr>
          </a:lstStyle>
          <a:p>
            <a:fld id="{A90607E6-BCED-4FC1-A345-AB2A307AB80F}" type="slidenum">
              <a:rPr lang="en-US" smtClean="0"/>
              <a:pPr/>
              <a:t>‹#›</a:t>
            </a:fld>
            <a:endParaRPr lang="en-US" dirty="0"/>
          </a:p>
        </p:txBody>
      </p:sp>
      <p:pic>
        <p:nvPicPr>
          <p:cNvPr id="19" name="Picture 18">
            <a:extLst>
              <a:ext uri="{FF2B5EF4-FFF2-40B4-BE49-F238E27FC236}">
                <a16:creationId xmlns:a16="http://schemas.microsoft.com/office/drawing/2014/main" id="{F9B500E6-5416-43D7-943C-C9BC3F6B4382}"/>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343749" y="6507505"/>
            <a:ext cx="869730" cy="215333"/>
          </a:xfrm>
          <a:prstGeom prst="rect">
            <a:avLst/>
          </a:prstGeom>
        </p:spPr>
      </p:pic>
      <p:pic>
        <p:nvPicPr>
          <p:cNvPr id="23" name="Picture 22">
            <a:extLst>
              <a:ext uri="{FF2B5EF4-FFF2-40B4-BE49-F238E27FC236}">
                <a16:creationId xmlns:a16="http://schemas.microsoft.com/office/drawing/2014/main" id="{653ACCE3-609A-47F3-98DE-1C56C2B1FE03}"/>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93625" y="7011746"/>
            <a:ext cx="829569" cy="170676"/>
          </a:xfrm>
          <a:prstGeom prst="rect">
            <a:avLst/>
          </a:prstGeom>
        </p:spPr>
      </p:pic>
      <p:pic>
        <p:nvPicPr>
          <p:cNvPr id="24" name="Picture 23">
            <a:extLst>
              <a:ext uri="{FF2B5EF4-FFF2-40B4-BE49-F238E27FC236}">
                <a16:creationId xmlns:a16="http://schemas.microsoft.com/office/drawing/2014/main" id="{3FEAD2FC-5085-40E5-AC7E-E1D6E870F16C}"/>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0293625" y="6636755"/>
            <a:ext cx="829569" cy="170676"/>
          </a:xfrm>
          <a:prstGeom prst="rect">
            <a:avLst/>
          </a:prstGeom>
        </p:spPr>
      </p:pic>
      <p:pic>
        <p:nvPicPr>
          <p:cNvPr id="25" name="Picture 24">
            <a:extLst>
              <a:ext uri="{FF2B5EF4-FFF2-40B4-BE49-F238E27FC236}">
                <a16:creationId xmlns:a16="http://schemas.microsoft.com/office/drawing/2014/main" id="{7B7EC248-B0DF-49A5-BA2E-9341A743AB2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0293625" y="6519172"/>
            <a:ext cx="829569" cy="170676"/>
          </a:xfrm>
          <a:prstGeom prst="rect">
            <a:avLst/>
          </a:prstGeom>
        </p:spPr>
      </p:pic>
      <p:pic>
        <p:nvPicPr>
          <p:cNvPr id="26" name="Picture 25">
            <a:extLst>
              <a:ext uri="{FF2B5EF4-FFF2-40B4-BE49-F238E27FC236}">
                <a16:creationId xmlns:a16="http://schemas.microsoft.com/office/drawing/2014/main" id="{2DAEB2F2-56DC-4617-891C-4D8871145520}"/>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10293625" y="6894380"/>
            <a:ext cx="829569" cy="170676"/>
          </a:xfrm>
          <a:prstGeom prst="rect">
            <a:avLst/>
          </a:prstGeom>
        </p:spPr>
      </p:pic>
      <p:pic>
        <p:nvPicPr>
          <p:cNvPr id="27" name="Picture 26">
            <a:extLst>
              <a:ext uri="{FF2B5EF4-FFF2-40B4-BE49-F238E27FC236}">
                <a16:creationId xmlns:a16="http://schemas.microsoft.com/office/drawing/2014/main" id="{A1CD424B-BFB2-4574-9CCC-CCC405C7FE8E}"/>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10293625" y="6401589"/>
            <a:ext cx="829569" cy="170676"/>
          </a:xfrm>
          <a:prstGeom prst="rect">
            <a:avLst/>
          </a:prstGeom>
        </p:spPr>
      </p:pic>
    </p:spTree>
    <p:extLst>
      <p:ext uri="{BB962C8B-B14F-4D97-AF65-F5344CB8AC3E}">
        <p14:creationId xmlns:p14="http://schemas.microsoft.com/office/powerpoint/2010/main" val="343718864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oard slide 1">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2121" y="2118"/>
          <a:ext cx="2116" cy="2116"/>
        </p:xfrm>
        <a:graphic>
          <a:graphicData uri="http://schemas.openxmlformats.org/presentationml/2006/ole">
            <mc:AlternateContent xmlns:mc="http://schemas.openxmlformats.org/markup-compatibility/2006">
              <mc:Choice xmlns:v="urn:schemas-microsoft-com:vml" Requires="v">
                <p:oleObj spid="_x0000_s359897" name="think-cell Slide" r:id="rId5" imgW="383" imgH="385" progId="TCLayout.ActiveDocument.1">
                  <p:embed/>
                </p:oleObj>
              </mc:Choice>
              <mc:Fallback>
                <p:oleObj name="think-cell Slide" r:id="rId5" imgW="383" imgH="385" progId="TCLayout.ActiveDocument.1">
                  <p:embed/>
                  <p:pic>
                    <p:nvPicPr>
                      <p:cNvPr id="6" name="Object 5" hidden="1"/>
                      <p:cNvPicPr/>
                      <p:nvPr/>
                    </p:nvPicPr>
                    <p:blipFill>
                      <a:blip r:embed="rId6"/>
                      <a:stretch>
                        <a:fillRect/>
                      </a:stretch>
                    </p:blipFill>
                    <p:spPr>
                      <a:xfrm>
                        <a:off x="2121" y="2118"/>
                        <a:ext cx="2116" cy="2116"/>
                      </a:xfrm>
                      <a:prstGeom prst="rect">
                        <a:avLst/>
                      </a:prstGeom>
                    </p:spPr>
                  </p:pic>
                </p:oleObj>
              </mc:Fallback>
            </mc:AlternateContent>
          </a:graphicData>
        </a:graphic>
      </p:graphicFrame>
      <p:sp>
        <p:nvSpPr>
          <p:cNvPr id="3" name="Rectangle 2" hidden="1"/>
          <p:cNvSpPr/>
          <p:nvPr userDrawn="1">
            <p:custDataLst>
              <p:tags r:id="rId3"/>
            </p:custDataLst>
          </p:nvPr>
        </p:nvSpPr>
        <p:spPr bwMode="auto">
          <a:xfrm>
            <a:off x="1" y="0"/>
            <a:ext cx="195385" cy="158750"/>
          </a:xfrm>
          <a:prstGeom prst="rect">
            <a:avLst/>
          </a:prstGeom>
          <a:solidFill>
            <a:srgbClr val="FFFFFF"/>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23" rtl="0" eaLnBrk="1" latinLnBrk="0" hangingPunct="1">
              <a:lnSpc>
                <a:spcPct val="100000"/>
              </a:lnSpc>
              <a:spcBef>
                <a:spcPct val="0"/>
              </a:spcBef>
              <a:spcAft>
                <a:spcPct val="0"/>
              </a:spcAft>
              <a:buNone/>
            </a:pPr>
            <a:endParaRPr lang="en-US" sz="1401" b="0" i="0" kern="1200" baseline="0" dirty="0">
              <a:solidFill>
                <a:schemeClr val="tx1"/>
              </a:solidFill>
              <a:latin typeface="Lato"/>
              <a:ea typeface="+mn-ea"/>
              <a:cs typeface="+mn-cs"/>
              <a:sym typeface="Lato"/>
            </a:endParaRPr>
          </a:p>
        </p:txBody>
      </p:sp>
      <p:sp>
        <p:nvSpPr>
          <p:cNvPr id="13" name="Rectangle 12"/>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sp>
        <p:nvSpPr>
          <p:cNvPr id="18" name="Text Placeholder 2"/>
          <p:cNvSpPr>
            <a:spLocks noGrp="1"/>
          </p:cNvSpPr>
          <p:nvPr>
            <p:ph idx="1" hasCustomPrompt="1"/>
          </p:nvPr>
        </p:nvSpPr>
        <p:spPr bwMode="gray">
          <a:xfrm>
            <a:off x="943690" y="1257300"/>
            <a:ext cx="10621127" cy="5067300"/>
          </a:xfrm>
          <a:prstGeom prst="rect">
            <a:avLst/>
          </a:prstGeom>
        </p:spPr>
        <p:txBody>
          <a:bodyPr vert="horz" wrap="square" lIns="0" tIns="0" rIns="0" bIns="0" rtlCol="0">
            <a:noAutofit/>
          </a:bodyPr>
          <a:lstStyle>
            <a:lvl1pPr marL="0" indent="0">
              <a:spcAft>
                <a:spcPts val="1477"/>
              </a:spcAft>
              <a:buFont typeface="Arial" panose="020B0604020202020204" pitchFamily="34" charset="0"/>
              <a:buNone/>
              <a:defRPr b="0" i="0">
                <a:solidFill>
                  <a:srgbClr val="606060"/>
                </a:solidFill>
                <a:latin typeface="Lato Light" panose="020F0302020204030203" pitchFamily="34" charset="77"/>
              </a:defRPr>
            </a:lvl1pPr>
            <a:lvl2pPr>
              <a:defRPr b="0" i="0">
                <a:latin typeface="Lato Light" panose="020F0302020204030203" pitchFamily="34" charset="77"/>
              </a:defRPr>
            </a:lvl2pPr>
            <a:lvl3pPr>
              <a:defRPr b="0" i="0">
                <a:latin typeface="Lato Light" panose="020F0302020204030203" pitchFamily="34" charset="77"/>
              </a:defRPr>
            </a:lvl3pPr>
            <a:lvl4pPr>
              <a:defRPr b="0" i="0">
                <a:latin typeface="Lato Light" panose="020F0302020204030203" pitchFamily="34" charset="77"/>
              </a:defRPr>
            </a:lvl4pPr>
            <a:lvl5pPr>
              <a:defRPr b="0" i="0">
                <a:latin typeface="Lato Light" panose="020F0302020204030203" pitchFamily="34" charset="77"/>
              </a:defRPr>
            </a:lvl5pPr>
          </a:lstStyle>
          <a:p>
            <a:pPr>
              <a:spcAft>
                <a:spcPts val="1200"/>
              </a:spcAft>
            </a:pPr>
            <a:r>
              <a:rPr lang="en-US" sz="1600" spc="300" dirty="0">
                <a:solidFill>
                  <a:srgbClr val="0889A8"/>
                </a:solidFill>
                <a:latin typeface="Lato" charset="0"/>
                <a:ea typeface="Lato" charset="0"/>
                <a:cs typeface="Lato" charset="0"/>
              </a:rPr>
              <a:t>TITLE LATO REGULAR 16pt ALL CAPS LOOSE CHARACTER SPACING</a:t>
            </a:r>
            <a:endParaRPr lang="en-US" sz="1600" i="1" spc="300" dirty="0">
              <a:latin typeface="Lato" charset="0"/>
              <a:ea typeface="Lato Light" charset="0"/>
              <a:cs typeface="Lato Light" charset="0"/>
            </a:endParaRPr>
          </a:p>
          <a:p>
            <a:r>
              <a:rPr lang="en-US" sz="1600" dirty="0">
                <a:solidFill>
                  <a:srgbClr val="918A87"/>
                </a:solidFill>
                <a:latin typeface="Lato Light" panose="020F0302020204030203" pitchFamily="34" charset="77"/>
                <a:ea typeface="Lato" charset="0"/>
                <a:cs typeface="Lato" charset="0"/>
              </a:rPr>
              <a:t>Body </a:t>
            </a:r>
            <a:r>
              <a:rPr lang="en-US" sz="1600" dirty="0" err="1">
                <a:solidFill>
                  <a:srgbClr val="918A87"/>
                </a:solidFill>
                <a:latin typeface="Lato Light" panose="020F0302020204030203" pitchFamily="34" charset="77"/>
                <a:ea typeface="Lato" charset="0"/>
                <a:cs typeface="Lato" charset="0"/>
              </a:rPr>
              <a:t>Lato</a:t>
            </a:r>
            <a:r>
              <a:rPr lang="en-US" sz="1600" dirty="0">
                <a:solidFill>
                  <a:srgbClr val="918A87"/>
                </a:solidFill>
                <a:latin typeface="Lato Light" panose="020F0302020204030203" pitchFamily="34" charset="77"/>
                <a:ea typeface="Lato" charset="0"/>
                <a:cs typeface="Lato" charset="0"/>
              </a:rPr>
              <a:t> Light 16pt</a:t>
            </a:r>
          </a:p>
        </p:txBody>
      </p:sp>
      <p:sp>
        <p:nvSpPr>
          <p:cNvPr id="14" name="Text Placeholder 6"/>
          <p:cNvSpPr>
            <a:spLocks noGrp="1"/>
          </p:cNvSpPr>
          <p:nvPr>
            <p:ph type="body" sz="quarter" idx="14" hasCustomPrompt="1"/>
          </p:nvPr>
        </p:nvSpPr>
        <p:spPr>
          <a:xfrm>
            <a:off x="943691" y="6377453"/>
            <a:ext cx="8059634" cy="308033"/>
          </a:xfrm>
          <a:prstGeom prst="rect">
            <a:avLst/>
          </a:prstGeom>
        </p:spPr>
        <p:txBody>
          <a:bodyPr wrap="square" anchor="b">
            <a:spAutoFit/>
          </a:bodyPr>
          <a:lstStyle>
            <a:lvl1pPr marL="0" indent="0">
              <a:buNone/>
              <a:defRPr sz="1001" baseline="0">
                <a:solidFill>
                  <a:srgbClr val="606060"/>
                </a:solidFill>
              </a:defRPr>
            </a:lvl1pPr>
          </a:lstStyle>
          <a:p>
            <a:pPr lvl="0"/>
            <a:r>
              <a:rPr lang="en-US" dirty="0"/>
              <a:t>This space is reserved for footnotes and sources only, and cannot be expanded beyond its current size.                                        Source: [Author/Publisher Name], [Report Name], [Year]</a:t>
            </a:r>
          </a:p>
        </p:txBody>
      </p:sp>
      <p:sp>
        <p:nvSpPr>
          <p:cNvPr id="21" name="Title 1">
            <a:extLst>
              <a:ext uri="{FF2B5EF4-FFF2-40B4-BE49-F238E27FC236}">
                <a16:creationId xmlns:a16="http://schemas.microsoft.com/office/drawing/2014/main" id="{4489B91D-D1E4-4942-90E4-38437CCE1224}"/>
              </a:ext>
            </a:extLst>
          </p:cNvPr>
          <p:cNvSpPr>
            <a:spLocks noGrp="1"/>
          </p:cNvSpPr>
          <p:nvPr>
            <p:ph type="title" hasCustomPrompt="1"/>
          </p:nvPr>
        </p:nvSpPr>
        <p:spPr>
          <a:xfrm>
            <a:off x="943690" y="189164"/>
            <a:ext cx="10621127" cy="646459"/>
          </a:xfrm>
          <a:prstGeom prst="rect">
            <a:avLst/>
          </a:prstGeom>
        </p:spPr>
        <p:txBody>
          <a:bodyPr wrap="square">
            <a:spAutoFit/>
          </a:bodyPr>
          <a:lstStyle>
            <a:lvl1pPr>
              <a:defRPr sz="4201" b="0" i="0" baseline="0">
                <a:solidFill>
                  <a:srgbClr val="881946"/>
                </a:solidFill>
                <a:latin typeface="Lato Light" panose="020F0302020204030203" pitchFamily="34" charset="77"/>
              </a:defRPr>
            </a:lvl1pPr>
          </a:lstStyle>
          <a:p>
            <a:r>
              <a:rPr lang="en-US" dirty="0"/>
              <a:t>Headline </a:t>
            </a:r>
            <a:r>
              <a:rPr lang="en-US" dirty="0" err="1"/>
              <a:t>Lato</a:t>
            </a:r>
            <a:r>
              <a:rPr lang="en-US" dirty="0"/>
              <a:t> Light 42pt</a:t>
            </a:r>
          </a:p>
        </p:txBody>
      </p:sp>
      <p:sp>
        <p:nvSpPr>
          <p:cNvPr id="20" name="Text Placeholder 6">
            <a:extLst>
              <a:ext uri="{FF2B5EF4-FFF2-40B4-BE49-F238E27FC236}">
                <a16:creationId xmlns:a16="http://schemas.microsoft.com/office/drawing/2014/main" id="{255399DA-9749-45DF-8EFE-86C294E4B783}"/>
              </a:ext>
            </a:extLst>
          </p:cNvPr>
          <p:cNvSpPr>
            <a:spLocks noGrp="1"/>
          </p:cNvSpPr>
          <p:nvPr>
            <p:ph type="body" sz="quarter" idx="17" hasCustomPrompt="1"/>
          </p:nvPr>
        </p:nvSpPr>
        <p:spPr>
          <a:xfrm>
            <a:off x="80277" y="399740"/>
            <a:ext cx="468922" cy="184666"/>
          </a:xfrm>
        </p:spPr>
        <p:txBody>
          <a:bodyPr wrap="square" anchor="ctr">
            <a:spAutoFit/>
          </a:bodyPr>
          <a:lstStyle>
            <a:lvl1pPr marL="0" indent="0" algn="ctr">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dirty="0"/>
              <a:t>Text</a:t>
            </a:r>
          </a:p>
        </p:txBody>
      </p:sp>
      <p:sp>
        <p:nvSpPr>
          <p:cNvPr id="15" name="Slide Number Placeholder 5">
            <a:extLst>
              <a:ext uri="{FF2B5EF4-FFF2-40B4-BE49-F238E27FC236}">
                <a16:creationId xmlns:a16="http://schemas.microsoft.com/office/drawing/2014/main" id="{D3EFCDEB-4372-47A9-A545-D4707C0626A5}"/>
              </a:ext>
            </a:extLst>
          </p:cNvPr>
          <p:cNvSpPr>
            <a:spLocks noGrp="1"/>
          </p:cNvSpPr>
          <p:nvPr>
            <p:ph type="sldNum" sz="quarter" idx="4"/>
          </p:nvPr>
        </p:nvSpPr>
        <p:spPr bwMode="gray">
          <a:xfrm>
            <a:off x="11743978" y="6529802"/>
            <a:ext cx="280034" cy="154017"/>
          </a:xfrm>
          <a:prstGeom prst="rect">
            <a:avLst/>
          </a:prstGeom>
          <a:noFill/>
        </p:spPr>
        <p:txBody>
          <a:bodyPr vert="horz" wrap="square" lIns="0" tIns="0" rIns="0" bIns="0" rtlCol="0" anchor="ctr">
            <a:spAutoFit/>
          </a:bodyPr>
          <a:lstStyle>
            <a:lvl1pPr algn="ctr">
              <a:defRPr sz="1001">
                <a:solidFill>
                  <a:schemeClr val="tx1"/>
                </a:solidFill>
                <a:latin typeface="Lato" panose="020F0502020204030203" pitchFamily="34" charset="0"/>
                <a:cs typeface="Arial" pitchFamily="34" charset="0"/>
              </a:defRPr>
            </a:lvl1pPr>
          </a:lstStyle>
          <a:p>
            <a:fld id="{A90607E6-BCED-4FC1-A345-AB2A307AB80F}" type="slidenum">
              <a:rPr lang="en-US" smtClean="0"/>
              <a:pPr/>
              <a:t>‹#›</a:t>
            </a:fld>
            <a:endParaRPr lang="en-US" dirty="0"/>
          </a:p>
        </p:txBody>
      </p:sp>
      <p:sp>
        <p:nvSpPr>
          <p:cNvPr id="12" name="Rectangle 11">
            <a:extLst>
              <a:ext uri="{FF2B5EF4-FFF2-40B4-BE49-F238E27FC236}">
                <a16:creationId xmlns:a16="http://schemas.microsoft.com/office/drawing/2014/main" id="{CFA5586C-DB8C-4C11-A311-BCCA72BD2439}"/>
              </a:ext>
            </a:extLst>
          </p:cNvPr>
          <p:cNvSpPr>
            <a:spLocks/>
          </p:cNvSpPr>
          <p:nvPr userDrawn="1"/>
        </p:nvSpPr>
        <p:spPr>
          <a:xfrm>
            <a:off x="10242066" y="6359076"/>
            <a:ext cx="1322753"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pic>
        <p:nvPicPr>
          <p:cNvPr id="16" name="Picture 15" descr="A picture containing clipart&#10;&#10;Description generated with very high confidence">
            <a:extLst>
              <a:ext uri="{FF2B5EF4-FFF2-40B4-BE49-F238E27FC236}">
                <a16:creationId xmlns:a16="http://schemas.microsoft.com/office/drawing/2014/main" id="{4612B2DC-9BD4-410A-A6CA-AE861D7E2C49}"/>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422278" y="6504906"/>
            <a:ext cx="971456" cy="273890"/>
          </a:xfrm>
          <a:prstGeom prst="rect">
            <a:avLst/>
          </a:prstGeom>
        </p:spPr>
      </p:pic>
    </p:spTree>
    <p:extLst>
      <p:ext uri="{BB962C8B-B14F-4D97-AF65-F5344CB8AC3E}">
        <p14:creationId xmlns:p14="http://schemas.microsoft.com/office/powerpoint/2010/main" val="193121551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oard slide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205943094"/>
              </p:ext>
            </p:extLst>
          </p:nvPr>
        </p:nvGraphicFramePr>
        <p:xfrm>
          <a:off x="2121" y="2118"/>
          <a:ext cx="2116" cy="2116"/>
        </p:xfrm>
        <a:graphic>
          <a:graphicData uri="http://schemas.openxmlformats.org/presentationml/2006/ole">
            <mc:AlternateContent xmlns:mc="http://schemas.openxmlformats.org/markup-compatibility/2006">
              <mc:Choice xmlns:v="urn:schemas-microsoft-com:vml" Requires="v">
                <p:oleObj spid="_x0000_s358870" name="think-cell Slide" r:id="rId4" imgW="383" imgH="385" progId="TCLayout.ActiveDocument.1">
                  <p:embed/>
                </p:oleObj>
              </mc:Choice>
              <mc:Fallback>
                <p:oleObj name="think-cell Slide" r:id="rId4" imgW="383" imgH="385" progId="TCLayout.ActiveDocument.1">
                  <p:embed/>
                  <p:pic>
                    <p:nvPicPr>
                      <p:cNvPr id="6" name="Object 5" hidden="1"/>
                      <p:cNvPicPr/>
                      <p:nvPr/>
                    </p:nvPicPr>
                    <p:blipFill>
                      <a:blip r:embed="rId5"/>
                      <a:stretch>
                        <a:fillRect/>
                      </a:stretch>
                    </p:blipFill>
                    <p:spPr>
                      <a:xfrm>
                        <a:off x="2121" y="2118"/>
                        <a:ext cx="2116" cy="2116"/>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F7C31C83-38F3-E74C-B744-1DC01F909DF4}"/>
              </a:ext>
            </a:extLst>
          </p:cNvPr>
          <p:cNvSpPr/>
          <p:nvPr userDrawn="1"/>
        </p:nvSpPr>
        <p:spPr>
          <a:xfrm>
            <a:off x="0" y="0"/>
            <a:ext cx="6027338" cy="6858000"/>
          </a:xfrm>
          <a:prstGeom prst="rect">
            <a:avLst/>
          </a:prstGeom>
          <a:solidFill>
            <a:srgbClr val="0889A8">
              <a:alpha val="89804"/>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algn="l" defTabSz="914423" rtl="0" eaLnBrk="1" latinLnBrk="0" hangingPunct="1">
              <a:lnSpc>
                <a:spcPct val="100000"/>
              </a:lnSpc>
              <a:spcBef>
                <a:spcPts val="0"/>
              </a:spcBef>
            </a:pPr>
            <a:endParaRPr lang="en-US" sz="1600" kern="1200" dirty="0">
              <a:solidFill>
                <a:schemeClr val="tx1"/>
              </a:solidFill>
              <a:ea typeface="+mn-ea"/>
              <a:cs typeface="Arial" pitchFamily="34" charset="0"/>
            </a:endParaRPr>
          </a:p>
        </p:txBody>
      </p:sp>
      <p:grpSp>
        <p:nvGrpSpPr>
          <p:cNvPr id="30" name="Group 29">
            <a:extLst>
              <a:ext uri="{FF2B5EF4-FFF2-40B4-BE49-F238E27FC236}">
                <a16:creationId xmlns:a16="http://schemas.microsoft.com/office/drawing/2014/main" id="{B83B7BDD-34F6-6648-9F4C-E52667F15B16}"/>
              </a:ext>
            </a:extLst>
          </p:cNvPr>
          <p:cNvGrpSpPr/>
          <p:nvPr userDrawn="1"/>
        </p:nvGrpSpPr>
        <p:grpSpPr>
          <a:xfrm>
            <a:off x="680660" y="548350"/>
            <a:ext cx="4601989" cy="5741781"/>
            <a:chOff x="1002364" y="142913"/>
            <a:chExt cx="3739116" cy="5741781"/>
          </a:xfrm>
        </p:grpSpPr>
        <p:sp>
          <p:nvSpPr>
            <p:cNvPr id="31" name="Rectangle 2">
              <a:extLst>
                <a:ext uri="{FF2B5EF4-FFF2-40B4-BE49-F238E27FC236}">
                  <a16:creationId xmlns:a16="http://schemas.microsoft.com/office/drawing/2014/main" id="{EEDA74E6-F752-B545-944D-93FF7675575F}"/>
                </a:ext>
              </a:extLst>
            </p:cNvPr>
            <p:cNvSpPr/>
            <p:nvPr/>
          </p:nvSpPr>
          <p:spPr>
            <a:xfrm>
              <a:off x="4459747" y="142913"/>
              <a:ext cx="281733" cy="122379"/>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30" indent="-174630">
                <a:buFont typeface="Arial" panose="020B0604020202020204" pitchFamily="34" charset="0"/>
                <a:buChar char="•"/>
              </a:pPr>
              <a:endParaRPr lang="en-US" sz="1600">
                <a:solidFill>
                  <a:schemeClr val="tx1"/>
                </a:solidFill>
                <a:latin typeface="+mj-lt"/>
                <a:cs typeface="Arial" pitchFamily="34" charset="0"/>
              </a:endParaRPr>
            </a:p>
          </p:txBody>
        </p:sp>
        <p:sp>
          <p:nvSpPr>
            <p:cNvPr id="32" name="Rectangle 2">
              <a:extLst>
                <a:ext uri="{FF2B5EF4-FFF2-40B4-BE49-F238E27FC236}">
                  <a16:creationId xmlns:a16="http://schemas.microsoft.com/office/drawing/2014/main" id="{3C57E902-7CD3-5841-AA9C-1DA8D6E8EE1D}"/>
                </a:ext>
              </a:extLst>
            </p:cNvPr>
            <p:cNvSpPr/>
            <p:nvPr/>
          </p:nvSpPr>
          <p:spPr>
            <a:xfrm rot="10800000">
              <a:off x="1002364" y="5762315"/>
              <a:ext cx="281733" cy="122379"/>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30" indent="-174630">
                <a:buFont typeface="Arial" panose="020B0604020202020204" pitchFamily="34" charset="0"/>
                <a:buChar char="•"/>
              </a:pPr>
              <a:endParaRPr lang="en-US" sz="1600">
                <a:solidFill>
                  <a:schemeClr val="tx1"/>
                </a:solidFill>
                <a:latin typeface="+mj-lt"/>
                <a:cs typeface="Arial" pitchFamily="34" charset="0"/>
              </a:endParaRPr>
            </a:p>
          </p:txBody>
        </p:sp>
      </p:grpSp>
      <p:sp>
        <p:nvSpPr>
          <p:cNvPr id="18" name="Text Placeholder 6">
            <a:extLst>
              <a:ext uri="{FF2B5EF4-FFF2-40B4-BE49-F238E27FC236}">
                <a16:creationId xmlns:a16="http://schemas.microsoft.com/office/drawing/2014/main" id="{798730A6-8D37-46FF-9579-2D33554913BD}"/>
              </a:ext>
            </a:extLst>
          </p:cNvPr>
          <p:cNvSpPr>
            <a:spLocks noGrp="1"/>
          </p:cNvSpPr>
          <p:nvPr>
            <p:ph type="body" sz="quarter" idx="13" hasCustomPrompt="1"/>
          </p:nvPr>
        </p:nvSpPr>
        <p:spPr>
          <a:xfrm>
            <a:off x="982281" y="2723268"/>
            <a:ext cx="4126994" cy="2217017"/>
          </a:xfrm>
          <a:prstGeom prst="rect">
            <a:avLst/>
          </a:prstGeom>
        </p:spPr>
        <p:txBody>
          <a:bodyPr wrap="square" anchor="ctr">
            <a:spAutoFit/>
          </a:bodyPr>
          <a:lstStyle>
            <a:lvl1pPr marL="0" indent="0" algn="ctr">
              <a:buNone/>
              <a:defRPr sz="1801" i="1">
                <a:solidFill>
                  <a:schemeClr val="bg1"/>
                </a:solidFill>
                <a:latin typeface="Lato Light" panose="020F0302020204030203" pitchFamily="34" charset="0"/>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baseline="0">
                <a:solidFill>
                  <a:schemeClr val="bg1"/>
                </a:solidFill>
              </a:defRPr>
            </a:lvl5pPr>
            <a:lvl6pPr>
              <a:defRPr sz="1600" baseline="0">
                <a:solidFill>
                  <a:schemeClr val="bg1"/>
                </a:solidFill>
              </a:defRPr>
            </a:lvl6pPr>
            <a:lvl7pPr>
              <a:defRPr sz="1600" baseline="0">
                <a:solidFill>
                  <a:schemeClr val="bg1"/>
                </a:solidFill>
              </a:defRPr>
            </a:lvl7pPr>
            <a:lvl8pPr>
              <a:defRPr sz="1600">
                <a:solidFill>
                  <a:schemeClr val="bg1"/>
                </a:solidFill>
              </a:defRPr>
            </a:lvl8pPr>
            <a:lvl9pPr>
              <a:defRPr sz="1600">
                <a:solidFill>
                  <a:schemeClr val="bg1"/>
                </a:solidFill>
              </a:defRPr>
            </a:lvl9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a:t>
            </a:r>
            <a:r>
              <a:rPr lang="en-US" dirty="0" err="1"/>
              <a:t>Aenean</a:t>
            </a:r>
            <a:r>
              <a:rPr lang="en-US" dirty="0"/>
              <a:t> </a:t>
            </a:r>
            <a:r>
              <a:rPr lang="en-US" dirty="0" err="1"/>
              <a:t>commodo</a:t>
            </a:r>
            <a:r>
              <a:rPr lang="en-US" dirty="0"/>
              <a:t> ligula </a:t>
            </a:r>
            <a:r>
              <a:rPr lang="en-US" dirty="0" err="1"/>
              <a:t>eget</a:t>
            </a:r>
            <a:r>
              <a:rPr lang="en-US" dirty="0"/>
              <a:t> dolor. </a:t>
            </a:r>
            <a:r>
              <a:rPr lang="en-US" dirty="0" err="1"/>
              <a:t>Aenean</a:t>
            </a:r>
            <a:r>
              <a:rPr lang="en-US" dirty="0"/>
              <a:t> </a:t>
            </a:r>
            <a:r>
              <a:rPr lang="en-US" dirty="0" err="1"/>
              <a:t>massa</a:t>
            </a:r>
            <a:r>
              <a:rPr lang="en-US" dirty="0"/>
              <a:t>. Cum </a:t>
            </a:r>
            <a:r>
              <a:rPr lang="en-US" dirty="0" err="1"/>
              <a:t>sociis</a:t>
            </a:r>
            <a:r>
              <a:rPr lang="en-US" dirty="0"/>
              <a:t> </a:t>
            </a:r>
            <a:r>
              <a:rPr lang="en-US" dirty="0" err="1"/>
              <a:t>natoque</a:t>
            </a:r>
            <a:r>
              <a:rPr lang="en-US" dirty="0"/>
              <a:t> </a:t>
            </a:r>
            <a:r>
              <a:rPr lang="en-US" dirty="0" err="1"/>
              <a:t>penatibus</a:t>
            </a:r>
            <a:r>
              <a:rPr lang="en-US" dirty="0"/>
              <a:t> e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 </a:t>
            </a:r>
            <a:r>
              <a:rPr lang="en-US" dirty="0" err="1"/>
              <a:t>Donec</a:t>
            </a:r>
            <a:r>
              <a:rPr lang="en-US" dirty="0"/>
              <a:t> quam </a:t>
            </a:r>
            <a:r>
              <a:rPr lang="en-US" dirty="0" err="1"/>
              <a:t>felis</a:t>
            </a:r>
            <a:r>
              <a:rPr lang="en-US" dirty="0"/>
              <a:t>, </a:t>
            </a:r>
            <a:r>
              <a:rPr lang="en-US" dirty="0" err="1"/>
              <a:t>ultricies</a:t>
            </a:r>
            <a:r>
              <a:rPr lang="en-US" dirty="0"/>
              <a:t> </a:t>
            </a:r>
            <a:r>
              <a:rPr lang="en-US" dirty="0" err="1"/>
              <a:t>nec</a:t>
            </a:r>
            <a:r>
              <a:rPr lang="en-US" dirty="0"/>
              <a:t>, </a:t>
            </a:r>
            <a:r>
              <a:rPr lang="en-US" dirty="0" err="1"/>
              <a:t>pellentesque</a:t>
            </a:r>
            <a:r>
              <a:rPr lang="en-US" dirty="0"/>
              <a:t> </a:t>
            </a:r>
            <a:r>
              <a:rPr lang="en-US" dirty="0" err="1"/>
              <a:t>eu</a:t>
            </a:r>
            <a:r>
              <a:rPr lang="en-US" dirty="0"/>
              <a:t>, </a:t>
            </a:r>
            <a:r>
              <a:rPr lang="en-US" dirty="0" err="1"/>
              <a:t>pretium</a:t>
            </a:r>
            <a:r>
              <a:rPr lang="en-US" dirty="0"/>
              <a:t> </a:t>
            </a:r>
            <a:r>
              <a:rPr lang="en-US" dirty="0" err="1"/>
              <a:t>quis</a:t>
            </a:r>
            <a:r>
              <a:rPr lang="en-US" dirty="0"/>
              <a:t>, sem. </a:t>
            </a:r>
            <a:r>
              <a:rPr lang="en-US" dirty="0" err="1"/>
              <a:t>Nulla</a:t>
            </a:r>
            <a:r>
              <a:rPr lang="en-US" dirty="0"/>
              <a:t> </a:t>
            </a:r>
            <a:r>
              <a:rPr lang="en-US" dirty="0" err="1"/>
              <a:t>consequat</a:t>
            </a:r>
            <a:r>
              <a:rPr lang="en-US" dirty="0"/>
              <a:t> </a:t>
            </a:r>
            <a:r>
              <a:rPr lang="en-US" dirty="0" err="1"/>
              <a:t>massa</a:t>
            </a:r>
            <a:endParaRPr lang="en-US" dirty="0"/>
          </a:p>
        </p:txBody>
      </p:sp>
      <p:sp>
        <p:nvSpPr>
          <p:cNvPr id="19" name="Text Placeholder 6">
            <a:extLst>
              <a:ext uri="{FF2B5EF4-FFF2-40B4-BE49-F238E27FC236}">
                <a16:creationId xmlns:a16="http://schemas.microsoft.com/office/drawing/2014/main" id="{B06CEB9E-9E97-4D11-9D7E-B2949733D5E0}"/>
              </a:ext>
            </a:extLst>
          </p:cNvPr>
          <p:cNvSpPr>
            <a:spLocks noGrp="1"/>
          </p:cNvSpPr>
          <p:nvPr>
            <p:ph type="body" sz="quarter" idx="14" hasCustomPrompt="1"/>
          </p:nvPr>
        </p:nvSpPr>
        <p:spPr>
          <a:xfrm>
            <a:off x="982279" y="2066437"/>
            <a:ext cx="4126994" cy="246221"/>
          </a:xfrm>
          <a:prstGeom prst="rect">
            <a:avLst/>
          </a:prstGeom>
        </p:spPr>
        <p:txBody>
          <a:bodyPr wrap="square" anchor="ctr">
            <a:spAutoFit/>
          </a:bodyPr>
          <a:lstStyle>
            <a:lvl1pPr marL="0" indent="0" algn="ctr" defTabSz="1072893" rtl="0" eaLnBrk="1" latinLnBrk="0" hangingPunct="1">
              <a:buNone/>
              <a:defRPr lang="en-US" sz="1600" kern="1200" spc="300" dirty="0">
                <a:solidFill>
                  <a:srgbClr val="000000"/>
                </a:solidFill>
                <a:latin typeface="Lato" charset="0"/>
                <a:ea typeface="Lato" charset="0"/>
                <a:cs typeface="Lato" charset="0"/>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baseline="0">
                <a:solidFill>
                  <a:schemeClr val="bg1"/>
                </a:solidFill>
              </a:defRPr>
            </a:lvl5pPr>
            <a:lvl6pPr>
              <a:defRPr sz="1600" baseline="0">
                <a:solidFill>
                  <a:schemeClr val="bg1"/>
                </a:solidFill>
              </a:defRPr>
            </a:lvl6pPr>
            <a:lvl7pPr>
              <a:defRPr sz="1600" baseline="0">
                <a:solidFill>
                  <a:schemeClr val="bg1"/>
                </a:solidFill>
              </a:defRPr>
            </a:lvl7pPr>
            <a:lvl8pPr>
              <a:defRPr sz="1600">
                <a:solidFill>
                  <a:schemeClr val="bg1"/>
                </a:solidFill>
              </a:defRPr>
            </a:lvl8pPr>
            <a:lvl9pPr>
              <a:defRPr sz="1600">
                <a:solidFill>
                  <a:schemeClr val="bg1"/>
                </a:solidFill>
              </a:defRPr>
            </a:lvl9pPr>
          </a:lstStyle>
          <a:p>
            <a:pPr lvl="0"/>
            <a:r>
              <a:rPr lang="en-US" dirty="0"/>
              <a:t>LOREM IPSUM</a:t>
            </a:r>
          </a:p>
        </p:txBody>
      </p:sp>
      <p:sp>
        <p:nvSpPr>
          <p:cNvPr id="29" name="Text Placeholder 6">
            <a:extLst>
              <a:ext uri="{FF2B5EF4-FFF2-40B4-BE49-F238E27FC236}">
                <a16:creationId xmlns:a16="http://schemas.microsoft.com/office/drawing/2014/main" id="{5470B1F5-1BEA-4AE7-B4F3-360E10B08D37}"/>
              </a:ext>
            </a:extLst>
          </p:cNvPr>
          <p:cNvSpPr>
            <a:spLocks noGrp="1"/>
          </p:cNvSpPr>
          <p:nvPr>
            <p:ph type="body" sz="quarter" idx="17" hasCustomPrompt="1"/>
          </p:nvPr>
        </p:nvSpPr>
        <p:spPr>
          <a:xfrm>
            <a:off x="6669213" y="984037"/>
            <a:ext cx="4708319" cy="5024881"/>
          </a:xfrm>
        </p:spPr>
        <p:txBody>
          <a:bodyPr wrap="square" anchor="t">
            <a:noAutofit/>
          </a:bodyPr>
          <a:lstStyle>
            <a:lvl1pPr marL="0" marR="0" indent="0" algn="l" defTabSz="1072893" rtl="0" eaLnBrk="1" fontAlgn="auto" latinLnBrk="0" hangingPunct="1">
              <a:lnSpc>
                <a:spcPct val="100000"/>
              </a:lnSpc>
              <a:spcBef>
                <a:spcPts val="0"/>
              </a:spcBef>
              <a:spcAft>
                <a:spcPts val="0"/>
              </a:spcAft>
              <a:buClrTx/>
              <a:buSzTx/>
              <a:buFontTx/>
              <a:buNone/>
              <a:tabLst/>
              <a:defRPr sz="1600" i="0" cap="none" baseline="0">
                <a:solidFill>
                  <a:srgbClr val="606060"/>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baseline="0">
                <a:solidFill>
                  <a:schemeClr val="bg1"/>
                </a:solidFill>
              </a:defRPr>
            </a:lvl5pPr>
            <a:lvl6pPr>
              <a:defRPr sz="1600" baseline="0">
                <a:solidFill>
                  <a:schemeClr val="bg1"/>
                </a:solidFill>
              </a:defRPr>
            </a:lvl6pPr>
            <a:lvl7pPr>
              <a:defRPr sz="1600" baseline="0">
                <a:solidFill>
                  <a:schemeClr val="bg1"/>
                </a:solidFill>
              </a:defRPr>
            </a:lvl7pPr>
            <a:lvl8pPr>
              <a:defRPr sz="1600">
                <a:solidFill>
                  <a:schemeClr val="bg1"/>
                </a:solidFill>
              </a:defRPr>
            </a:lvl8pPr>
            <a:lvl9pPr>
              <a:defRPr sz="1600">
                <a:solidFill>
                  <a:schemeClr val="bg1"/>
                </a:solidFill>
              </a:defRPr>
            </a:lvl9pPr>
          </a:lstStyle>
          <a:p>
            <a:pPr marL="0" marR="0" lvl="0" indent="0" algn="l" defTabSz="1072893"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300" normalizeH="0" baseline="0" noProof="0" dirty="0">
                <a:ln>
                  <a:noFill/>
                </a:ln>
                <a:solidFill>
                  <a:srgbClr val="F3B11C"/>
                </a:solidFill>
                <a:effectLst/>
                <a:uLnTx/>
                <a:uFillTx/>
                <a:latin typeface="Lato" charset="0"/>
                <a:ea typeface="Lato" charset="0"/>
                <a:cs typeface="Lato" charset="0"/>
              </a:rPr>
              <a:t>LOREM IPSUM</a:t>
            </a:r>
          </a:p>
          <a:p>
            <a:pPr marL="0" marR="0" lvl="0" indent="0" algn="l" defTabSz="107289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918A87"/>
                </a:solidFill>
                <a:effectLst/>
                <a:uLnTx/>
                <a:uFillTx/>
                <a:latin typeface="Lato Light" panose="020F0302020204030203" pitchFamily="34" charset="77"/>
                <a:ea typeface="Lato" charset="0"/>
                <a:cs typeface="Lato" charset="0"/>
              </a:rPr>
              <a:t>Lorem ipsum dolor sit </a:t>
            </a:r>
            <a:r>
              <a:rPr kumimoji="0" lang="en-US" sz="1600" b="0" i="0" u="none" strike="noStrike" kern="1200" cap="none" spc="0" normalizeH="0" baseline="0" noProof="0" dirty="0" err="1">
                <a:ln>
                  <a:noFill/>
                </a:ln>
                <a:solidFill>
                  <a:srgbClr val="918A87"/>
                </a:solidFill>
                <a:effectLst/>
                <a:uLnTx/>
                <a:uFillTx/>
                <a:latin typeface="Lato Light" panose="020F0302020204030203" pitchFamily="34" charset="77"/>
                <a:ea typeface="Lato" charset="0"/>
                <a:cs typeface="Lato" charset="0"/>
              </a:rPr>
              <a:t>amet</a:t>
            </a:r>
            <a:r>
              <a:rPr kumimoji="0" lang="en-US" sz="1600" b="0" i="0" u="none" strike="noStrike" kern="1200" cap="none" spc="0" normalizeH="0" baseline="0" noProof="0" dirty="0">
                <a:ln>
                  <a:noFill/>
                </a:ln>
                <a:solidFill>
                  <a:srgbClr val="918A87"/>
                </a:solidFill>
                <a:effectLst/>
                <a:uLnTx/>
                <a:uFillTx/>
                <a:latin typeface="Lato Light" panose="020F0302020204030203" pitchFamily="34" charset="77"/>
                <a:ea typeface="Lato" charset="0"/>
                <a:cs typeface="Lato" charset="0"/>
              </a:rPr>
              <a:t>, </a:t>
            </a:r>
            <a:r>
              <a:rPr kumimoji="0" lang="en-US" sz="1600" b="0" i="0" u="none" strike="noStrike" kern="1200" cap="none" spc="0" normalizeH="0" baseline="0" noProof="0" dirty="0" err="1">
                <a:ln>
                  <a:noFill/>
                </a:ln>
                <a:solidFill>
                  <a:srgbClr val="918A87"/>
                </a:solidFill>
                <a:effectLst/>
                <a:uLnTx/>
                <a:uFillTx/>
                <a:latin typeface="Lato Light" panose="020F0302020204030203" pitchFamily="34" charset="77"/>
                <a:ea typeface="Lato" charset="0"/>
                <a:cs typeface="Lato" charset="0"/>
              </a:rPr>
              <a:t>consectetuer</a:t>
            </a:r>
            <a:r>
              <a:rPr kumimoji="0" lang="en-US" sz="1600" b="0" i="0" u="none" strike="noStrike" kern="1200" cap="none" spc="0" normalizeH="0" baseline="0" noProof="0" dirty="0">
                <a:ln>
                  <a:noFill/>
                </a:ln>
                <a:solidFill>
                  <a:srgbClr val="918A87"/>
                </a:solidFill>
                <a:effectLst/>
                <a:uLnTx/>
                <a:uFillTx/>
                <a:latin typeface="Lato Light" panose="020F0302020204030203" pitchFamily="34" charset="77"/>
                <a:ea typeface="Lato" charset="0"/>
                <a:cs typeface="Lato" charset="0"/>
              </a:rPr>
              <a:t> </a:t>
            </a:r>
            <a:r>
              <a:rPr kumimoji="0" lang="en-US" sz="1600" b="0" i="0" u="none" strike="noStrike" kern="1200" cap="none" spc="0" normalizeH="0" baseline="0" noProof="0" dirty="0" err="1">
                <a:ln>
                  <a:noFill/>
                </a:ln>
                <a:solidFill>
                  <a:srgbClr val="918A87"/>
                </a:solidFill>
                <a:effectLst/>
                <a:uLnTx/>
                <a:uFillTx/>
                <a:latin typeface="Lato Light" panose="020F0302020204030203" pitchFamily="34" charset="77"/>
                <a:ea typeface="Lato" charset="0"/>
                <a:cs typeface="Lato" charset="0"/>
              </a:rPr>
              <a:t>adipiscing</a:t>
            </a:r>
            <a:r>
              <a:rPr kumimoji="0" lang="en-US" sz="1600" b="0" i="0" u="none" strike="noStrike" kern="1200" cap="none" spc="0" normalizeH="0" baseline="0" noProof="0" dirty="0">
                <a:ln>
                  <a:noFill/>
                </a:ln>
                <a:solidFill>
                  <a:srgbClr val="918A87"/>
                </a:solidFill>
                <a:effectLst/>
                <a:uLnTx/>
                <a:uFillTx/>
                <a:latin typeface="Lato Light" panose="020F0302020204030203" pitchFamily="34" charset="77"/>
                <a:ea typeface="Lato" charset="0"/>
                <a:cs typeface="Lato" charset="0"/>
              </a:rPr>
              <a:t> </a:t>
            </a:r>
            <a:r>
              <a:rPr kumimoji="0" lang="en-US" sz="1600" b="0" i="0" u="none" strike="noStrike" kern="1200" cap="none" spc="0" normalizeH="0" baseline="0" noProof="0" dirty="0" err="1">
                <a:ln>
                  <a:noFill/>
                </a:ln>
                <a:solidFill>
                  <a:srgbClr val="918A87"/>
                </a:solidFill>
                <a:effectLst/>
                <a:uLnTx/>
                <a:uFillTx/>
                <a:latin typeface="Lato Light" panose="020F0302020204030203" pitchFamily="34" charset="77"/>
                <a:ea typeface="Lato" charset="0"/>
                <a:cs typeface="Lato" charset="0"/>
              </a:rPr>
              <a:t>elit</a:t>
            </a:r>
            <a:r>
              <a:rPr kumimoji="0" lang="en-US" sz="1600" b="0" i="0" u="none" strike="noStrike" kern="1200" cap="none" spc="0" normalizeH="0" baseline="0" noProof="0" dirty="0">
                <a:ln>
                  <a:noFill/>
                </a:ln>
                <a:solidFill>
                  <a:srgbClr val="918A87"/>
                </a:solidFill>
                <a:effectLst/>
                <a:uLnTx/>
                <a:uFillTx/>
                <a:latin typeface="Lato Light" panose="020F0302020204030203" pitchFamily="34" charset="77"/>
                <a:ea typeface="Lato" charset="0"/>
                <a:cs typeface="Lato" charset="0"/>
              </a:rPr>
              <a:t>. </a:t>
            </a:r>
            <a:r>
              <a:rPr kumimoji="0" lang="en-US" sz="1600" b="0" i="0" u="none" strike="noStrike" kern="1200" cap="none" spc="0" normalizeH="0" baseline="0" noProof="0" dirty="0" err="1">
                <a:ln>
                  <a:noFill/>
                </a:ln>
                <a:solidFill>
                  <a:srgbClr val="918A87"/>
                </a:solidFill>
                <a:effectLst/>
                <a:uLnTx/>
                <a:uFillTx/>
                <a:latin typeface="Lato Light" panose="020F0302020204030203" pitchFamily="34" charset="77"/>
                <a:ea typeface="Lato" charset="0"/>
                <a:cs typeface="Lato" charset="0"/>
              </a:rPr>
              <a:t>Aenean</a:t>
            </a:r>
            <a:r>
              <a:rPr kumimoji="0" lang="en-US" sz="1600" b="0" i="0" u="none" strike="noStrike" kern="1200" cap="none" spc="0" normalizeH="0" baseline="0" noProof="0" dirty="0">
                <a:ln>
                  <a:noFill/>
                </a:ln>
                <a:solidFill>
                  <a:srgbClr val="918A87"/>
                </a:solidFill>
                <a:effectLst/>
                <a:uLnTx/>
                <a:uFillTx/>
                <a:latin typeface="Lato Light" panose="020F0302020204030203" pitchFamily="34" charset="77"/>
                <a:ea typeface="Lato" charset="0"/>
                <a:cs typeface="Lato" charset="0"/>
              </a:rPr>
              <a:t> </a:t>
            </a:r>
            <a:r>
              <a:rPr kumimoji="0" lang="en-US" sz="1600" b="0" i="0" u="none" strike="noStrike" kern="1200" cap="none" spc="0" normalizeH="0" baseline="0" noProof="0" dirty="0" err="1">
                <a:ln>
                  <a:noFill/>
                </a:ln>
                <a:solidFill>
                  <a:srgbClr val="918A87"/>
                </a:solidFill>
                <a:effectLst/>
                <a:uLnTx/>
                <a:uFillTx/>
                <a:latin typeface="Lato Light" panose="020F0302020204030203" pitchFamily="34" charset="77"/>
                <a:ea typeface="Lato" charset="0"/>
                <a:cs typeface="Lato" charset="0"/>
              </a:rPr>
              <a:t>commodo</a:t>
            </a:r>
            <a:r>
              <a:rPr kumimoji="0" lang="en-US" sz="1600" b="0" i="0" u="none" strike="noStrike" kern="1200" cap="none" spc="0" normalizeH="0" baseline="0" noProof="0" dirty="0">
                <a:ln>
                  <a:noFill/>
                </a:ln>
                <a:solidFill>
                  <a:srgbClr val="918A87"/>
                </a:solidFill>
                <a:effectLst/>
                <a:uLnTx/>
                <a:uFillTx/>
                <a:latin typeface="Lato Light" panose="020F0302020204030203" pitchFamily="34" charset="77"/>
                <a:ea typeface="Lato" charset="0"/>
                <a:cs typeface="Lato" charset="0"/>
              </a:rPr>
              <a:t> ligula </a:t>
            </a:r>
            <a:r>
              <a:rPr kumimoji="0" lang="en-US" sz="1600" b="0" i="0" u="none" strike="noStrike" kern="1200" cap="none" spc="0" normalizeH="0" baseline="0" noProof="0" dirty="0" err="1">
                <a:ln>
                  <a:noFill/>
                </a:ln>
                <a:solidFill>
                  <a:srgbClr val="918A87"/>
                </a:solidFill>
                <a:effectLst/>
                <a:uLnTx/>
                <a:uFillTx/>
                <a:latin typeface="Lato Light" panose="020F0302020204030203" pitchFamily="34" charset="77"/>
                <a:ea typeface="Lato" charset="0"/>
                <a:cs typeface="Lato" charset="0"/>
              </a:rPr>
              <a:t>eget</a:t>
            </a:r>
            <a:r>
              <a:rPr kumimoji="0" lang="en-US" sz="1600" b="0" i="0" u="none" strike="noStrike" kern="1200" cap="none" spc="0" normalizeH="0" baseline="0" noProof="0" dirty="0">
                <a:ln>
                  <a:noFill/>
                </a:ln>
                <a:solidFill>
                  <a:srgbClr val="918A87"/>
                </a:solidFill>
                <a:effectLst/>
                <a:uLnTx/>
                <a:uFillTx/>
                <a:latin typeface="Lato Light" panose="020F0302020204030203" pitchFamily="34" charset="77"/>
                <a:ea typeface="Lato" charset="0"/>
                <a:cs typeface="Lato" charset="0"/>
              </a:rPr>
              <a:t> dolor. </a:t>
            </a:r>
            <a:r>
              <a:rPr kumimoji="0" lang="en-US" sz="1600" b="0" i="0" u="none" strike="noStrike" kern="1200" cap="none" spc="0" normalizeH="0" baseline="0" noProof="0" dirty="0" err="1">
                <a:ln>
                  <a:noFill/>
                </a:ln>
                <a:solidFill>
                  <a:srgbClr val="918A87"/>
                </a:solidFill>
                <a:effectLst/>
                <a:uLnTx/>
                <a:uFillTx/>
                <a:latin typeface="Lato Light" panose="020F0302020204030203" pitchFamily="34" charset="77"/>
                <a:ea typeface="Lato" charset="0"/>
                <a:cs typeface="Lato" charset="0"/>
              </a:rPr>
              <a:t>Aenean</a:t>
            </a:r>
            <a:r>
              <a:rPr kumimoji="0" lang="en-US" sz="1600" b="0" i="0" u="none" strike="noStrike" kern="1200" cap="none" spc="0" normalizeH="0" baseline="0" noProof="0" dirty="0">
                <a:ln>
                  <a:noFill/>
                </a:ln>
                <a:solidFill>
                  <a:srgbClr val="918A87"/>
                </a:solidFill>
                <a:effectLst/>
                <a:uLnTx/>
                <a:uFillTx/>
                <a:latin typeface="Lato Light" panose="020F0302020204030203" pitchFamily="34" charset="77"/>
                <a:ea typeface="Lato" charset="0"/>
                <a:cs typeface="Lato" charset="0"/>
              </a:rPr>
              <a:t> </a:t>
            </a:r>
            <a:r>
              <a:rPr kumimoji="0" lang="en-US" sz="1600" b="0" i="0" u="none" strike="noStrike" kern="1200" cap="none" spc="0" normalizeH="0" baseline="0" noProof="0" dirty="0" err="1">
                <a:ln>
                  <a:noFill/>
                </a:ln>
                <a:solidFill>
                  <a:srgbClr val="918A87"/>
                </a:solidFill>
                <a:effectLst/>
                <a:uLnTx/>
                <a:uFillTx/>
                <a:latin typeface="Lato Light" panose="020F0302020204030203" pitchFamily="34" charset="77"/>
                <a:ea typeface="Lato" charset="0"/>
                <a:cs typeface="Lato" charset="0"/>
              </a:rPr>
              <a:t>massa</a:t>
            </a:r>
            <a:r>
              <a:rPr kumimoji="0" lang="en-US" sz="1600" b="0" i="0" u="none" strike="noStrike" kern="1200" cap="none" spc="0" normalizeH="0" baseline="0" noProof="0" dirty="0">
                <a:ln>
                  <a:noFill/>
                </a:ln>
                <a:solidFill>
                  <a:srgbClr val="918A87"/>
                </a:solidFill>
                <a:effectLst/>
                <a:uLnTx/>
                <a:uFillTx/>
                <a:latin typeface="Lato Light" panose="020F0302020204030203" pitchFamily="34" charset="77"/>
                <a:ea typeface="Lato" charset="0"/>
                <a:cs typeface="Lato" charset="0"/>
              </a:rPr>
              <a:t>. Cum </a:t>
            </a:r>
            <a:r>
              <a:rPr kumimoji="0" lang="en-US" sz="1600" b="0" i="0" u="none" strike="noStrike" kern="1200" cap="none" spc="0" normalizeH="0" baseline="0" noProof="0" dirty="0" err="1">
                <a:ln>
                  <a:noFill/>
                </a:ln>
                <a:solidFill>
                  <a:srgbClr val="918A87"/>
                </a:solidFill>
                <a:effectLst/>
                <a:uLnTx/>
                <a:uFillTx/>
                <a:latin typeface="Lato Light" panose="020F0302020204030203" pitchFamily="34" charset="77"/>
                <a:ea typeface="Lato" charset="0"/>
                <a:cs typeface="Lato" charset="0"/>
              </a:rPr>
              <a:t>sociis</a:t>
            </a:r>
            <a:r>
              <a:rPr kumimoji="0" lang="en-US" sz="1600" b="0" i="0" u="none" strike="noStrike" kern="1200" cap="none" spc="0" normalizeH="0" baseline="0" noProof="0" dirty="0">
                <a:ln>
                  <a:noFill/>
                </a:ln>
                <a:solidFill>
                  <a:srgbClr val="918A87"/>
                </a:solidFill>
                <a:effectLst/>
                <a:uLnTx/>
                <a:uFillTx/>
                <a:latin typeface="Lato Light" panose="020F0302020204030203" pitchFamily="34" charset="77"/>
                <a:ea typeface="Lato" charset="0"/>
                <a:cs typeface="Lato" charset="0"/>
              </a:rPr>
              <a:t> </a:t>
            </a:r>
            <a:r>
              <a:rPr kumimoji="0" lang="en-US" sz="1600" b="0" i="0" u="none" strike="noStrike" kern="1200" cap="none" spc="0" normalizeH="0" baseline="0" noProof="0" dirty="0" err="1">
                <a:ln>
                  <a:noFill/>
                </a:ln>
                <a:solidFill>
                  <a:srgbClr val="918A87"/>
                </a:solidFill>
                <a:effectLst/>
                <a:uLnTx/>
                <a:uFillTx/>
                <a:latin typeface="Lato Light" panose="020F0302020204030203" pitchFamily="34" charset="77"/>
                <a:ea typeface="Lato" charset="0"/>
                <a:cs typeface="Lato" charset="0"/>
              </a:rPr>
              <a:t>natoque</a:t>
            </a:r>
            <a:r>
              <a:rPr kumimoji="0" lang="en-US" sz="1600" b="0" i="0" u="none" strike="noStrike" kern="1200" cap="none" spc="0" normalizeH="0" baseline="0" noProof="0" dirty="0">
                <a:ln>
                  <a:noFill/>
                </a:ln>
                <a:solidFill>
                  <a:srgbClr val="918A87"/>
                </a:solidFill>
                <a:effectLst/>
                <a:uLnTx/>
                <a:uFillTx/>
                <a:latin typeface="Lato Light" panose="020F0302020204030203" pitchFamily="34" charset="77"/>
                <a:ea typeface="Lato" charset="0"/>
                <a:cs typeface="Lato" charset="0"/>
              </a:rPr>
              <a:t> </a:t>
            </a:r>
            <a:r>
              <a:rPr kumimoji="0" lang="en-US" sz="1600" b="0" i="0" u="none" strike="noStrike" kern="1200" cap="none" spc="0" normalizeH="0" baseline="0" noProof="0" dirty="0" err="1">
                <a:ln>
                  <a:noFill/>
                </a:ln>
                <a:solidFill>
                  <a:srgbClr val="918A87"/>
                </a:solidFill>
                <a:effectLst/>
                <a:uLnTx/>
                <a:uFillTx/>
                <a:latin typeface="Lato Light" panose="020F0302020204030203" pitchFamily="34" charset="77"/>
                <a:ea typeface="Lato" charset="0"/>
                <a:cs typeface="Lato" charset="0"/>
              </a:rPr>
              <a:t>penatibus</a:t>
            </a:r>
            <a:r>
              <a:rPr kumimoji="0" lang="en-US" sz="1600" b="0" i="0" u="none" strike="noStrike" kern="1200" cap="none" spc="0" normalizeH="0" baseline="0" noProof="0" dirty="0">
                <a:ln>
                  <a:noFill/>
                </a:ln>
                <a:solidFill>
                  <a:srgbClr val="918A87"/>
                </a:solidFill>
                <a:effectLst/>
                <a:uLnTx/>
                <a:uFillTx/>
                <a:latin typeface="Lato Light" panose="020F0302020204030203" pitchFamily="34" charset="77"/>
                <a:ea typeface="Lato" charset="0"/>
                <a:cs typeface="Lato" charset="0"/>
              </a:rPr>
              <a:t> et </a:t>
            </a:r>
            <a:r>
              <a:rPr kumimoji="0" lang="en-US" sz="1600" b="0" i="0" u="none" strike="noStrike" kern="1200" cap="none" spc="0" normalizeH="0" baseline="0" noProof="0" dirty="0" err="1">
                <a:ln>
                  <a:noFill/>
                </a:ln>
                <a:solidFill>
                  <a:srgbClr val="918A87"/>
                </a:solidFill>
                <a:effectLst/>
                <a:uLnTx/>
                <a:uFillTx/>
                <a:latin typeface="Lato Light" panose="020F0302020204030203" pitchFamily="34" charset="77"/>
                <a:ea typeface="Lato" charset="0"/>
                <a:cs typeface="Lato" charset="0"/>
              </a:rPr>
              <a:t>magnis</a:t>
            </a:r>
            <a:r>
              <a:rPr kumimoji="0" lang="en-US" sz="1600" b="0" i="0" u="none" strike="noStrike" kern="1200" cap="none" spc="0" normalizeH="0" baseline="0" noProof="0" dirty="0">
                <a:ln>
                  <a:noFill/>
                </a:ln>
                <a:solidFill>
                  <a:srgbClr val="918A87"/>
                </a:solidFill>
                <a:effectLst/>
                <a:uLnTx/>
                <a:uFillTx/>
                <a:latin typeface="Lato Light" panose="020F0302020204030203" pitchFamily="34" charset="77"/>
                <a:ea typeface="Lato" charset="0"/>
                <a:cs typeface="Lato" charset="0"/>
              </a:rPr>
              <a:t> </a:t>
            </a:r>
          </a:p>
        </p:txBody>
      </p:sp>
      <p:sp>
        <p:nvSpPr>
          <p:cNvPr id="14" name="Text Placeholder 3">
            <a:extLst>
              <a:ext uri="{FF2B5EF4-FFF2-40B4-BE49-F238E27FC236}">
                <a16:creationId xmlns:a16="http://schemas.microsoft.com/office/drawing/2014/main" id="{2C49BE4F-CBDC-4E0D-8989-D95565C37059}"/>
              </a:ext>
            </a:extLst>
          </p:cNvPr>
          <p:cNvSpPr>
            <a:spLocks noGrp="1"/>
          </p:cNvSpPr>
          <p:nvPr>
            <p:ph type="body" sz="quarter" idx="20" hasCustomPrompt="1"/>
          </p:nvPr>
        </p:nvSpPr>
        <p:spPr>
          <a:xfrm>
            <a:off x="1746691" y="558828"/>
            <a:ext cx="2571262" cy="1254125"/>
          </a:xfrm>
        </p:spPr>
        <p:txBody>
          <a:bodyPr/>
          <a:lstStyle>
            <a:lvl1pPr marL="0" indent="0">
              <a:buNone/>
              <a:defRPr i="1">
                <a:solidFill>
                  <a:schemeClr val="bg1"/>
                </a:solidFill>
              </a:defRPr>
            </a:lvl1pPr>
          </a:lstStyle>
          <a:p>
            <a:pPr lvl="0"/>
            <a:r>
              <a:rPr lang="en-ZA" dirty="0"/>
              <a:t>To insert photo overlay, refer to instructions at end of deck</a:t>
            </a:r>
          </a:p>
        </p:txBody>
      </p:sp>
      <p:sp>
        <p:nvSpPr>
          <p:cNvPr id="15" name="Slide Number Placeholder 5">
            <a:extLst>
              <a:ext uri="{FF2B5EF4-FFF2-40B4-BE49-F238E27FC236}">
                <a16:creationId xmlns:a16="http://schemas.microsoft.com/office/drawing/2014/main" id="{C9EA7E32-A788-4AE8-9185-B889D5386E3B}"/>
              </a:ext>
            </a:extLst>
          </p:cNvPr>
          <p:cNvSpPr>
            <a:spLocks noGrp="1"/>
          </p:cNvSpPr>
          <p:nvPr>
            <p:ph type="sldNum" sz="quarter" idx="4"/>
          </p:nvPr>
        </p:nvSpPr>
        <p:spPr bwMode="gray">
          <a:xfrm>
            <a:off x="11743978" y="6529802"/>
            <a:ext cx="280034" cy="154017"/>
          </a:xfrm>
          <a:prstGeom prst="rect">
            <a:avLst/>
          </a:prstGeom>
          <a:noFill/>
        </p:spPr>
        <p:txBody>
          <a:bodyPr vert="horz" wrap="square" lIns="0" tIns="0" rIns="0" bIns="0" rtlCol="0" anchor="ctr">
            <a:spAutoFit/>
          </a:bodyPr>
          <a:lstStyle>
            <a:lvl1pPr algn="ctr">
              <a:defRPr sz="1001">
                <a:solidFill>
                  <a:schemeClr val="tx1"/>
                </a:solidFill>
                <a:latin typeface="Lato" panose="020F0502020204030203" pitchFamily="34" charset="0"/>
                <a:cs typeface="Arial" pitchFamily="34" charset="0"/>
              </a:defRPr>
            </a:lvl1pPr>
          </a:lstStyle>
          <a:p>
            <a:fld id="{A90607E6-BCED-4FC1-A345-AB2A307AB80F}" type="slidenum">
              <a:rPr lang="en-US" smtClean="0"/>
              <a:pPr/>
              <a:t>‹#›</a:t>
            </a:fld>
            <a:endParaRPr lang="en-US" dirty="0"/>
          </a:p>
        </p:txBody>
      </p:sp>
      <p:sp>
        <p:nvSpPr>
          <p:cNvPr id="17" name="Rectangle 16">
            <a:extLst>
              <a:ext uri="{FF2B5EF4-FFF2-40B4-BE49-F238E27FC236}">
                <a16:creationId xmlns:a16="http://schemas.microsoft.com/office/drawing/2014/main" id="{28A49C37-2DD7-487F-ACAE-FFB039E4A080}"/>
              </a:ext>
            </a:extLst>
          </p:cNvPr>
          <p:cNvSpPr>
            <a:spLocks/>
          </p:cNvSpPr>
          <p:nvPr userDrawn="1"/>
        </p:nvSpPr>
        <p:spPr>
          <a:xfrm>
            <a:off x="10242066" y="6359076"/>
            <a:ext cx="1322753"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pic>
        <p:nvPicPr>
          <p:cNvPr id="20" name="Picture 19" descr="A picture containing clipart&#10;&#10;Description generated with very high confidence">
            <a:extLst>
              <a:ext uri="{FF2B5EF4-FFF2-40B4-BE49-F238E27FC236}">
                <a16:creationId xmlns:a16="http://schemas.microsoft.com/office/drawing/2014/main" id="{5685361A-0E2F-4783-AF9B-E250AF31A4D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422278" y="6504906"/>
            <a:ext cx="971456" cy="273890"/>
          </a:xfrm>
          <a:prstGeom prst="rect">
            <a:avLst/>
          </a:prstGeom>
        </p:spPr>
      </p:pic>
    </p:spTree>
    <p:extLst>
      <p:ext uri="{BB962C8B-B14F-4D97-AF65-F5344CB8AC3E}">
        <p14:creationId xmlns:p14="http://schemas.microsoft.com/office/powerpoint/2010/main" val="27544676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able of contents 3">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928821082"/>
              </p:ext>
            </p:extLst>
          </p:nvPr>
        </p:nvGraphicFramePr>
        <p:xfrm>
          <a:off x="2121" y="2118"/>
          <a:ext cx="2116" cy="2116"/>
        </p:xfrm>
        <a:graphic>
          <a:graphicData uri="http://schemas.openxmlformats.org/presentationml/2006/ole">
            <mc:AlternateContent xmlns:mc="http://schemas.openxmlformats.org/markup-compatibility/2006">
              <mc:Choice xmlns:v="urn:schemas-microsoft-com:vml" Requires="v">
                <p:oleObj spid="_x0000_s384383" name="think-cell Slide" r:id="rId5" imgW="383" imgH="385" progId="TCLayout.ActiveDocument.1">
                  <p:embed/>
                </p:oleObj>
              </mc:Choice>
              <mc:Fallback>
                <p:oleObj name="think-cell Slide" r:id="rId5" imgW="383" imgH="385" progId="TCLayout.ActiveDocument.1">
                  <p:embed/>
                  <p:pic>
                    <p:nvPicPr>
                      <p:cNvPr id="6" name="Object 5" hidden="1"/>
                      <p:cNvPicPr/>
                      <p:nvPr/>
                    </p:nvPicPr>
                    <p:blipFill>
                      <a:blip r:embed="rId6"/>
                      <a:stretch>
                        <a:fillRect/>
                      </a:stretch>
                    </p:blipFill>
                    <p:spPr>
                      <a:xfrm>
                        <a:off x="2121" y="2118"/>
                        <a:ext cx="2116" cy="211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1E77EF2-3093-43C8-9109-E04B169A1714}"/>
              </a:ext>
            </a:extLst>
          </p:cNvPr>
          <p:cNvSpPr/>
          <p:nvPr userDrawn="1">
            <p:custDataLst>
              <p:tags r:id="rId3"/>
            </p:custDataLst>
          </p:nvPr>
        </p:nvSpPr>
        <p:spPr>
          <a:xfrm>
            <a:off x="0" y="0"/>
            <a:ext cx="158750" cy="158750"/>
          </a:xfrm>
          <a:prstGeom prst="rect">
            <a:avLst/>
          </a:prstGeom>
          <a:solidFill>
            <a:schemeClr val="accent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23" rtl="0" eaLnBrk="1" latinLnBrk="0" hangingPunct="1">
              <a:lnSpc>
                <a:spcPct val="100000"/>
              </a:lnSpc>
              <a:spcBef>
                <a:spcPct val="0"/>
              </a:spcBef>
              <a:spcAft>
                <a:spcPct val="0"/>
              </a:spcAft>
            </a:pPr>
            <a:endParaRPr lang="en-US" sz="4201" b="0" i="0" kern="1200" baseline="0" dirty="0" err="1">
              <a:solidFill>
                <a:schemeClr val="bg2"/>
              </a:solidFill>
              <a:latin typeface="Lato Light" panose="020F0302020204030203"/>
              <a:ea typeface="+mj-ea"/>
              <a:cs typeface="Arial" pitchFamily="34" charset="0"/>
              <a:sym typeface="Lato Light" panose="020F0302020204030203"/>
            </a:endParaRPr>
          </a:p>
        </p:txBody>
      </p:sp>
      <p:sp>
        <p:nvSpPr>
          <p:cNvPr id="19" name="Rectangle 18"/>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sp>
        <p:nvSpPr>
          <p:cNvPr id="15" name="Text Placeholder 6"/>
          <p:cNvSpPr>
            <a:spLocks noGrp="1"/>
          </p:cNvSpPr>
          <p:nvPr>
            <p:ph type="body" sz="quarter" idx="18" hasCustomPrompt="1"/>
          </p:nvPr>
        </p:nvSpPr>
        <p:spPr>
          <a:xfrm>
            <a:off x="1515984" y="1257300"/>
            <a:ext cx="10035116" cy="4914900"/>
          </a:xfrm>
        </p:spPr>
        <p:txBody>
          <a:bodyPr wrap="square" anchor="t">
            <a:noAutofit/>
          </a:bodyPr>
          <a:lstStyle>
            <a:lvl1pPr marL="0" indent="0">
              <a:spcAft>
                <a:spcPts val="0"/>
              </a:spcAft>
              <a:buNone/>
              <a:defRPr sz="1801" baseline="0">
                <a:solidFill>
                  <a:srgbClr val="606060"/>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dirty="0"/>
              <a:t>Type your text here</a:t>
            </a:r>
          </a:p>
        </p:txBody>
      </p:sp>
      <p:sp>
        <p:nvSpPr>
          <p:cNvPr id="16" name="Text Placeholder 6"/>
          <p:cNvSpPr>
            <a:spLocks noGrp="1"/>
          </p:cNvSpPr>
          <p:nvPr>
            <p:ph type="body" sz="quarter" idx="19" hasCustomPrompt="1"/>
          </p:nvPr>
        </p:nvSpPr>
        <p:spPr>
          <a:xfrm>
            <a:off x="947616" y="1257302"/>
            <a:ext cx="331451" cy="184666"/>
          </a:xfrm>
        </p:spPr>
        <p:txBody>
          <a:bodyPr wrap="square" anchor="t">
            <a:spAutoFit/>
          </a:bodyPr>
          <a:lstStyle>
            <a:lvl1pPr marL="0" indent="0" algn="l">
              <a:spcAft>
                <a:spcPts val="1200"/>
              </a:spcAft>
              <a:buNone/>
              <a:defRPr sz="1200" b="1">
                <a:solidFill>
                  <a:srgbClr val="606060"/>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dirty="0"/>
              <a:t>#</a:t>
            </a:r>
          </a:p>
        </p:txBody>
      </p:sp>
      <p:sp>
        <p:nvSpPr>
          <p:cNvPr id="24" name="Text Placeholder 6">
            <a:extLst>
              <a:ext uri="{FF2B5EF4-FFF2-40B4-BE49-F238E27FC236}">
                <a16:creationId xmlns:a16="http://schemas.microsoft.com/office/drawing/2014/main" id="{9F072BED-A9DE-4738-8E27-BB509D597E1E}"/>
              </a:ext>
            </a:extLst>
          </p:cNvPr>
          <p:cNvSpPr>
            <a:spLocks noGrp="1"/>
          </p:cNvSpPr>
          <p:nvPr>
            <p:ph type="body" sz="quarter" idx="17" hasCustomPrompt="1"/>
          </p:nvPr>
        </p:nvSpPr>
        <p:spPr>
          <a:xfrm>
            <a:off x="80277" y="399740"/>
            <a:ext cx="468922" cy="184666"/>
          </a:xfrm>
        </p:spPr>
        <p:txBody>
          <a:bodyPr wrap="square" anchor="ctr">
            <a:spAutoFit/>
          </a:bodyPr>
          <a:lstStyle>
            <a:lvl1pPr marL="0" indent="0" algn="ctr">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dirty="0"/>
              <a:t>Text</a:t>
            </a:r>
          </a:p>
        </p:txBody>
      </p:sp>
      <p:sp>
        <p:nvSpPr>
          <p:cNvPr id="12" name="Title 1">
            <a:extLst>
              <a:ext uri="{FF2B5EF4-FFF2-40B4-BE49-F238E27FC236}">
                <a16:creationId xmlns:a16="http://schemas.microsoft.com/office/drawing/2014/main" id="{CC4C4E4A-8968-417A-B981-D90E194F488A}"/>
              </a:ext>
            </a:extLst>
          </p:cNvPr>
          <p:cNvSpPr>
            <a:spLocks noGrp="1"/>
          </p:cNvSpPr>
          <p:nvPr>
            <p:ph type="title" hasCustomPrompt="1"/>
          </p:nvPr>
        </p:nvSpPr>
        <p:spPr>
          <a:xfrm>
            <a:off x="943690" y="189164"/>
            <a:ext cx="10621127" cy="646459"/>
          </a:xfrm>
          <a:prstGeom prst="rect">
            <a:avLst/>
          </a:prstGeom>
        </p:spPr>
        <p:txBody>
          <a:bodyPr wrap="square">
            <a:spAutoFit/>
          </a:bodyPr>
          <a:lstStyle>
            <a:lvl1pPr>
              <a:defRPr sz="4201" b="0" i="0" baseline="0">
                <a:solidFill>
                  <a:srgbClr val="881946"/>
                </a:solidFill>
                <a:latin typeface="Lato Light" panose="020F0302020204030203" pitchFamily="34" charset="77"/>
              </a:defRPr>
            </a:lvl1pPr>
          </a:lstStyle>
          <a:p>
            <a:r>
              <a:rPr lang="en-US" dirty="0"/>
              <a:t>Headline </a:t>
            </a:r>
            <a:r>
              <a:rPr lang="en-US" dirty="0" err="1"/>
              <a:t>Lato</a:t>
            </a:r>
            <a:r>
              <a:rPr lang="en-US" dirty="0"/>
              <a:t> Light 42pt</a:t>
            </a:r>
          </a:p>
        </p:txBody>
      </p:sp>
      <p:sp>
        <p:nvSpPr>
          <p:cNvPr id="14" name="Slide Number Placeholder 5">
            <a:extLst>
              <a:ext uri="{FF2B5EF4-FFF2-40B4-BE49-F238E27FC236}">
                <a16:creationId xmlns:a16="http://schemas.microsoft.com/office/drawing/2014/main" id="{E6AB67F8-C609-40D2-8A8E-AC76A69E878D}"/>
              </a:ext>
            </a:extLst>
          </p:cNvPr>
          <p:cNvSpPr>
            <a:spLocks noGrp="1"/>
          </p:cNvSpPr>
          <p:nvPr>
            <p:ph type="sldNum" sz="quarter" idx="4"/>
          </p:nvPr>
        </p:nvSpPr>
        <p:spPr bwMode="gray">
          <a:xfrm>
            <a:off x="11743978" y="6529802"/>
            <a:ext cx="280034" cy="154017"/>
          </a:xfrm>
          <a:prstGeom prst="rect">
            <a:avLst/>
          </a:prstGeom>
          <a:noFill/>
        </p:spPr>
        <p:txBody>
          <a:bodyPr vert="horz" wrap="square" lIns="0" tIns="0" rIns="0" bIns="0" rtlCol="0" anchor="ctr">
            <a:spAutoFit/>
          </a:bodyPr>
          <a:lstStyle>
            <a:lvl1pPr algn="ctr">
              <a:defRPr sz="1001">
                <a:solidFill>
                  <a:schemeClr val="tx1"/>
                </a:solidFill>
                <a:latin typeface="Lato" panose="020F0502020204030203" pitchFamily="34" charset="0"/>
                <a:cs typeface="Arial" pitchFamily="34" charset="0"/>
              </a:defRPr>
            </a:lvl1pPr>
          </a:lstStyle>
          <a:p>
            <a:fld id="{A90607E6-BCED-4FC1-A345-AB2A307AB80F}" type="slidenum">
              <a:rPr lang="en-US" smtClean="0"/>
              <a:pPr/>
              <a:t>‹#›</a:t>
            </a:fld>
            <a:endParaRPr lang="en-US" dirty="0"/>
          </a:p>
        </p:txBody>
      </p:sp>
      <p:sp>
        <p:nvSpPr>
          <p:cNvPr id="11" name="Rectangle 10">
            <a:extLst>
              <a:ext uri="{FF2B5EF4-FFF2-40B4-BE49-F238E27FC236}">
                <a16:creationId xmlns:a16="http://schemas.microsoft.com/office/drawing/2014/main" id="{86A04444-65D0-4937-98B5-12E8CE22230B}"/>
              </a:ext>
            </a:extLst>
          </p:cNvPr>
          <p:cNvSpPr>
            <a:spLocks/>
          </p:cNvSpPr>
          <p:nvPr userDrawn="1"/>
        </p:nvSpPr>
        <p:spPr>
          <a:xfrm>
            <a:off x="10242066" y="6359076"/>
            <a:ext cx="1322753"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pic>
        <p:nvPicPr>
          <p:cNvPr id="18" name="Picture 17" descr="A picture containing clipart&#10;&#10;Description generated with very high confidence">
            <a:extLst>
              <a:ext uri="{FF2B5EF4-FFF2-40B4-BE49-F238E27FC236}">
                <a16:creationId xmlns:a16="http://schemas.microsoft.com/office/drawing/2014/main" id="{BE55C27B-0E1E-494F-96BC-994624B29469}"/>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422278" y="6504906"/>
            <a:ext cx="971456" cy="273890"/>
          </a:xfrm>
          <a:prstGeom prst="rect">
            <a:avLst/>
          </a:prstGeom>
        </p:spPr>
      </p:pic>
    </p:spTree>
    <p:extLst>
      <p:ext uri="{BB962C8B-B14F-4D97-AF65-F5344CB8AC3E}">
        <p14:creationId xmlns:p14="http://schemas.microsoft.com/office/powerpoint/2010/main" val="1535545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oard logo Dalberg Advisor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220152302"/>
              </p:ext>
            </p:extLst>
          </p:nvPr>
        </p:nvGraphicFramePr>
        <p:xfrm>
          <a:off x="2121" y="2118"/>
          <a:ext cx="2116" cy="2116"/>
        </p:xfrm>
        <a:graphic>
          <a:graphicData uri="http://schemas.openxmlformats.org/presentationml/2006/ole">
            <mc:AlternateContent xmlns:mc="http://schemas.openxmlformats.org/markup-compatibility/2006">
              <mc:Choice xmlns:v="urn:schemas-microsoft-com:vml" Requires="v">
                <p:oleObj spid="_x0000_s380293" name="think-cell Slide" r:id="rId5" imgW="383" imgH="385" progId="TCLayout.ActiveDocument.1">
                  <p:embed/>
                </p:oleObj>
              </mc:Choice>
              <mc:Fallback>
                <p:oleObj name="think-cell Slide" r:id="rId5" imgW="383" imgH="385" progId="TCLayout.ActiveDocument.1">
                  <p:embed/>
                  <p:pic>
                    <p:nvPicPr>
                      <p:cNvPr id="6" name="Object 5" hidden="1"/>
                      <p:cNvPicPr/>
                      <p:nvPr/>
                    </p:nvPicPr>
                    <p:blipFill>
                      <a:blip r:embed="rId6"/>
                      <a:stretch>
                        <a:fillRect/>
                      </a:stretch>
                    </p:blipFill>
                    <p:spPr>
                      <a:xfrm>
                        <a:off x="2121" y="2118"/>
                        <a:ext cx="2116" cy="2116"/>
                      </a:xfrm>
                      <a:prstGeom prst="rect">
                        <a:avLst/>
                      </a:prstGeom>
                    </p:spPr>
                  </p:pic>
                </p:oleObj>
              </mc:Fallback>
            </mc:AlternateContent>
          </a:graphicData>
        </a:graphic>
      </p:graphicFrame>
      <p:sp>
        <p:nvSpPr>
          <p:cNvPr id="3" name="Rectangle 2" hidden="1"/>
          <p:cNvSpPr/>
          <p:nvPr userDrawn="1">
            <p:custDataLst>
              <p:tags r:id="rId3"/>
            </p:custDataLst>
          </p:nvPr>
        </p:nvSpPr>
        <p:spPr bwMode="auto">
          <a:xfrm>
            <a:off x="1" y="0"/>
            <a:ext cx="195385" cy="158750"/>
          </a:xfrm>
          <a:prstGeom prst="rect">
            <a:avLst/>
          </a:prstGeom>
          <a:solidFill>
            <a:srgbClr val="FFFFFF"/>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23" rtl="0" eaLnBrk="1" latinLnBrk="0" hangingPunct="1">
              <a:lnSpc>
                <a:spcPct val="100000"/>
              </a:lnSpc>
              <a:spcBef>
                <a:spcPct val="0"/>
              </a:spcBef>
              <a:spcAft>
                <a:spcPct val="0"/>
              </a:spcAft>
              <a:buNone/>
            </a:pPr>
            <a:endParaRPr lang="en-US" sz="4201" b="0" i="0" kern="1200" baseline="0" dirty="0">
              <a:solidFill>
                <a:schemeClr val="tx1"/>
              </a:solidFill>
              <a:latin typeface="Lato Light" panose="020F0302020204030203"/>
              <a:ea typeface="+mj-ea"/>
              <a:cs typeface="Arial" panose="020B0604020202020204" pitchFamily="34" charset="0"/>
              <a:sym typeface="Lato Light" panose="020F0302020204030203"/>
            </a:endParaRPr>
          </a:p>
        </p:txBody>
      </p:sp>
      <p:sp>
        <p:nvSpPr>
          <p:cNvPr id="13" name="Rectangle 12"/>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sp>
        <p:nvSpPr>
          <p:cNvPr id="14" name="Text Placeholder 6"/>
          <p:cNvSpPr>
            <a:spLocks noGrp="1"/>
          </p:cNvSpPr>
          <p:nvPr>
            <p:ph type="body" sz="quarter" idx="14" hasCustomPrompt="1"/>
          </p:nvPr>
        </p:nvSpPr>
        <p:spPr>
          <a:xfrm>
            <a:off x="943691" y="6377453"/>
            <a:ext cx="8059634" cy="308033"/>
          </a:xfrm>
        </p:spPr>
        <p:txBody>
          <a:bodyPr wrap="square" anchor="b">
            <a:spAutoFit/>
          </a:bodyPr>
          <a:lstStyle>
            <a:lvl1pPr marL="0" indent="0">
              <a:buNone/>
              <a:defRPr sz="1001" baseline="0">
                <a:solidFill>
                  <a:srgbClr val="606060"/>
                </a:solidFill>
              </a:defRPr>
            </a:lvl1pPr>
          </a:lstStyle>
          <a:p>
            <a:pPr lvl="0"/>
            <a:r>
              <a:rPr lang="en-US" dirty="0"/>
              <a:t>This space is reserved for footnotes and sources only, and cannot be expanded beyond its current size.                                        Source: [Author/Publisher Name], [Report Name], [Year]</a:t>
            </a:r>
          </a:p>
        </p:txBody>
      </p:sp>
      <p:sp>
        <p:nvSpPr>
          <p:cNvPr id="20" name="Text Placeholder 6">
            <a:extLst>
              <a:ext uri="{FF2B5EF4-FFF2-40B4-BE49-F238E27FC236}">
                <a16:creationId xmlns:a16="http://schemas.microsoft.com/office/drawing/2014/main" id="{55EAF43E-BB4E-494E-9B58-0B592AF0D603}"/>
              </a:ext>
            </a:extLst>
          </p:cNvPr>
          <p:cNvSpPr>
            <a:spLocks noGrp="1"/>
          </p:cNvSpPr>
          <p:nvPr>
            <p:ph type="body" sz="quarter" idx="17" hasCustomPrompt="1"/>
          </p:nvPr>
        </p:nvSpPr>
        <p:spPr>
          <a:xfrm>
            <a:off x="80277" y="399740"/>
            <a:ext cx="468922" cy="184666"/>
          </a:xfrm>
        </p:spPr>
        <p:txBody>
          <a:bodyPr wrap="square" anchor="ctr">
            <a:spAutoFit/>
          </a:bodyPr>
          <a:lstStyle>
            <a:lvl1pPr marL="0" indent="0" algn="ctr">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dirty="0"/>
              <a:t>Text</a:t>
            </a:r>
          </a:p>
        </p:txBody>
      </p:sp>
      <p:sp>
        <p:nvSpPr>
          <p:cNvPr id="27" name="Title 1">
            <a:extLst>
              <a:ext uri="{FF2B5EF4-FFF2-40B4-BE49-F238E27FC236}">
                <a16:creationId xmlns:a16="http://schemas.microsoft.com/office/drawing/2014/main" id="{E3A34FF9-FE1C-45B0-AC0A-E8766416FD34}"/>
              </a:ext>
            </a:extLst>
          </p:cNvPr>
          <p:cNvSpPr>
            <a:spLocks noGrp="1"/>
          </p:cNvSpPr>
          <p:nvPr>
            <p:ph type="title" hasCustomPrompt="1"/>
          </p:nvPr>
        </p:nvSpPr>
        <p:spPr>
          <a:xfrm>
            <a:off x="943690" y="189164"/>
            <a:ext cx="10621127" cy="646459"/>
          </a:xfrm>
          <a:prstGeom prst="rect">
            <a:avLst/>
          </a:prstGeom>
        </p:spPr>
        <p:txBody>
          <a:bodyPr wrap="square">
            <a:spAutoFit/>
          </a:bodyPr>
          <a:lstStyle>
            <a:lvl1pPr>
              <a:defRPr sz="4201" b="0" i="0" baseline="0">
                <a:solidFill>
                  <a:srgbClr val="881946"/>
                </a:solidFill>
                <a:latin typeface="Lato Light" panose="020F0302020204030203" pitchFamily="34" charset="77"/>
              </a:defRPr>
            </a:lvl1pPr>
          </a:lstStyle>
          <a:p>
            <a:r>
              <a:rPr lang="en-US" dirty="0"/>
              <a:t>Headline </a:t>
            </a:r>
            <a:r>
              <a:rPr lang="en-US" dirty="0" err="1"/>
              <a:t>Lato</a:t>
            </a:r>
            <a:r>
              <a:rPr lang="en-US" dirty="0"/>
              <a:t> Light 42pt</a:t>
            </a:r>
          </a:p>
        </p:txBody>
      </p:sp>
      <p:sp>
        <p:nvSpPr>
          <p:cNvPr id="28" name="Text Placeholder 2">
            <a:extLst>
              <a:ext uri="{FF2B5EF4-FFF2-40B4-BE49-F238E27FC236}">
                <a16:creationId xmlns:a16="http://schemas.microsoft.com/office/drawing/2014/main" id="{67017454-FDF7-4B29-BC70-9D439588261B}"/>
              </a:ext>
            </a:extLst>
          </p:cNvPr>
          <p:cNvSpPr>
            <a:spLocks noGrp="1"/>
          </p:cNvSpPr>
          <p:nvPr>
            <p:ph idx="1" hasCustomPrompt="1"/>
          </p:nvPr>
        </p:nvSpPr>
        <p:spPr bwMode="gray">
          <a:xfrm>
            <a:off x="943690" y="1257300"/>
            <a:ext cx="10621127" cy="5067300"/>
          </a:xfrm>
          <a:prstGeom prst="rect">
            <a:avLst/>
          </a:prstGeom>
        </p:spPr>
        <p:txBody>
          <a:bodyPr vert="horz" wrap="square" lIns="0" tIns="0" rIns="0" bIns="0" rtlCol="0">
            <a:noAutofit/>
          </a:bodyPr>
          <a:lstStyle>
            <a:lvl1pPr marL="0" indent="0">
              <a:spcAft>
                <a:spcPts val="1477"/>
              </a:spcAft>
              <a:buFont typeface="Arial" panose="020B0604020202020204" pitchFamily="34" charset="0"/>
              <a:buNone/>
              <a:defRPr b="0" i="0">
                <a:solidFill>
                  <a:srgbClr val="606060"/>
                </a:solidFill>
                <a:latin typeface="Lato Light" panose="020F0302020204030203" pitchFamily="34" charset="77"/>
              </a:defRPr>
            </a:lvl1pPr>
            <a:lvl2pPr>
              <a:defRPr b="0" i="0">
                <a:latin typeface="Lato Light" panose="020F0302020204030203" pitchFamily="34" charset="77"/>
              </a:defRPr>
            </a:lvl2pPr>
            <a:lvl3pPr>
              <a:defRPr b="0" i="0">
                <a:latin typeface="Lato Light" panose="020F0302020204030203" pitchFamily="34" charset="77"/>
              </a:defRPr>
            </a:lvl3pPr>
            <a:lvl4pPr>
              <a:defRPr b="0" i="0">
                <a:latin typeface="Lato Light" panose="020F0302020204030203" pitchFamily="34" charset="77"/>
              </a:defRPr>
            </a:lvl4pPr>
            <a:lvl5pPr>
              <a:defRPr b="0" i="0">
                <a:latin typeface="Lato Light" panose="020F0302020204030203" pitchFamily="34" charset="77"/>
              </a:defRPr>
            </a:lvl5pPr>
          </a:lstStyle>
          <a:p>
            <a:pPr>
              <a:spcAft>
                <a:spcPts val="1200"/>
              </a:spcAft>
            </a:pPr>
            <a:r>
              <a:rPr lang="en-US" sz="1600" spc="300" dirty="0">
                <a:solidFill>
                  <a:srgbClr val="0889A8"/>
                </a:solidFill>
                <a:latin typeface="Lato" charset="0"/>
                <a:ea typeface="Lato" charset="0"/>
                <a:cs typeface="Lato" charset="0"/>
              </a:rPr>
              <a:t>TITLE LATO REGULAR 16pt ALL CAPS LOOSE CHARACTER SPACING</a:t>
            </a:r>
            <a:endParaRPr lang="en-US" sz="1600" i="1" spc="300" dirty="0">
              <a:latin typeface="Lato" charset="0"/>
              <a:ea typeface="Lato Light" charset="0"/>
              <a:cs typeface="Lato Light" charset="0"/>
            </a:endParaRPr>
          </a:p>
          <a:p>
            <a:r>
              <a:rPr lang="en-US" sz="1600" dirty="0">
                <a:solidFill>
                  <a:srgbClr val="918A87"/>
                </a:solidFill>
                <a:latin typeface="Lato Light" panose="020F0302020204030203" pitchFamily="34" charset="77"/>
                <a:ea typeface="Lato" charset="0"/>
                <a:cs typeface="Lato" charset="0"/>
              </a:rPr>
              <a:t>Body </a:t>
            </a:r>
            <a:r>
              <a:rPr lang="en-US" sz="1600" dirty="0" err="1">
                <a:solidFill>
                  <a:srgbClr val="918A87"/>
                </a:solidFill>
                <a:latin typeface="Lato Light" panose="020F0302020204030203" pitchFamily="34" charset="77"/>
                <a:ea typeface="Lato" charset="0"/>
                <a:cs typeface="Lato" charset="0"/>
              </a:rPr>
              <a:t>Lato</a:t>
            </a:r>
            <a:r>
              <a:rPr lang="en-US" sz="1600" dirty="0">
                <a:solidFill>
                  <a:srgbClr val="918A87"/>
                </a:solidFill>
                <a:latin typeface="Lato Light" panose="020F0302020204030203" pitchFamily="34" charset="77"/>
                <a:ea typeface="Lato" charset="0"/>
                <a:cs typeface="Lato" charset="0"/>
              </a:rPr>
              <a:t> Light 16pt</a:t>
            </a:r>
          </a:p>
        </p:txBody>
      </p:sp>
      <p:sp>
        <p:nvSpPr>
          <p:cNvPr id="17" name="Slide Number Placeholder 5">
            <a:extLst>
              <a:ext uri="{FF2B5EF4-FFF2-40B4-BE49-F238E27FC236}">
                <a16:creationId xmlns:a16="http://schemas.microsoft.com/office/drawing/2014/main" id="{15EBFE3B-7314-4F35-B863-0666841318E4}"/>
              </a:ext>
            </a:extLst>
          </p:cNvPr>
          <p:cNvSpPr>
            <a:spLocks noGrp="1"/>
          </p:cNvSpPr>
          <p:nvPr>
            <p:ph type="sldNum" sz="quarter" idx="4"/>
          </p:nvPr>
        </p:nvSpPr>
        <p:spPr bwMode="gray">
          <a:xfrm>
            <a:off x="11743978" y="6529802"/>
            <a:ext cx="280034" cy="154017"/>
          </a:xfrm>
          <a:prstGeom prst="rect">
            <a:avLst/>
          </a:prstGeom>
          <a:noFill/>
        </p:spPr>
        <p:txBody>
          <a:bodyPr vert="horz" wrap="square" lIns="0" tIns="0" rIns="0" bIns="0" rtlCol="0" anchor="ctr">
            <a:spAutoFit/>
          </a:bodyPr>
          <a:lstStyle>
            <a:lvl1pPr algn="ctr">
              <a:defRPr sz="1001">
                <a:solidFill>
                  <a:schemeClr val="tx1"/>
                </a:solidFill>
                <a:latin typeface="Lato" panose="020F0502020204030203" pitchFamily="34" charset="0"/>
                <a:cs typeface="Arial" pitchFamily="34" charset="0"/>
              </a:defRPr>
            </a:lvl1pPr>
          </a:lstStyle>
          <a:p>
            <a:fld id="{A90607E6-BCED-4FC1-A345-AB2A307AB80F}" type="slidenum">
              <a:rPr lang="en-US" smtClean="0"/>
              <a:pPr/>
              <a:t>‹#›</a:t>
            </a:fld>
            <a:endParaRPr lang="en-US" dirty="0"/>
          </a:p>
        </p:txBody>
      </p:sp>
      <p:grpSp>
        <p:nvGrpSpPr>
          <p:cNvPr id="18" name="Group 17">
            <a:extLst>
              <a:ext uri="{FF2B5EF4-FFF2-40B4-BE49-F238E27FC236}">
                <a16:creationId xmlns:a16="http://schemas.microsoft.com/office/drawing/2014/main" id="{2FCA9788-3E0D-4764-945B-203080730F8C}"/>
              </a:ext>
            </a:extLst>
          </p:cNvPr>
          <p:cNvGrpSpPr/>
          <p:nvPr userDrawn="1"/>
        </p:nvGrpSpPr>
        <p:grpSpPr>
          <a:xfrm>
            <a:off x="9418302" y="6359076"/>
            <a:ext cx="2186354" cy="498924"/>
            <a:chOff x="6861587" y="6359076"/>
            <a:chExt cx="1776413" cy="498924"/>
          </a:xfrm>
        </p:grpSpPr>
        <p:sp>
          <p:nvSpPr>
            <p:cNvPr id="21" name="Rectangle 20">
              <a:extLst>
                <a:ext uri="{FF2B5EF4-FFF2-40B4-BE49-F238E27FC236}">
                  <a16:creationId xmlns:a16="http://schemas.microsoft.com/office/drawing/2014/main" id="{10CB2E7E-89AC-47F8-9AE3-BF501F99D3F7}"/>
                </a:ext>
              </a:extLst>
            </p:cNvPr>
            <p:cNvSpPr>
              <a:spLocks/>
            </p:cNvSpPr>
            <p:nvPr userDrawn="1"/>
          </p:nvSpPr>
          <p:spPr>
            <a:xfrm>
              <a:off x="6861587" y="6359076"/>
              <a:ext cx="1776413"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pic>
          <p:nvPicPr>
            <p:cNvPr id="22" name="Picture 21" descr="A picture containing clipart&#10;&#10;Description generated with very high confidence">
              <a:extLst>
                <a:ext uri="{FF2B5EF4-FFF2-40B4-BE49-F238E27FC236}">
                  <a16:creationId xmlns:a16="http://schemas.microsoft.com/office/drawing/2014/main" id="{FA55650E-036C-445E-974C-B14FDF6F6F34}"/>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6979339" y="6486052"/>
              <a:ext cx="789308" cy="273890"/>
            </a:xfrm>
            <a:prstGeom prst="rect">
              <a:avLst/>
            </a:prstGeom>
          </p:spPr>
        </p:pic>
      </p:grpSp>
      <p:pic>
        <p:nvPicPr>
          <p:cNvPr id="15" name="Picture 14">
            <a:extLst>
              <a:ext uri="{FF2B5EF4-FFF2-40B4-BE49-F238E27FC236}">
                <a16:creationId xmlns:a16="http://schemas.microsoft.com/office/drawing/2014/main" id="{0BC7189A-2E99-4A0B-890E-13ECE13D83C7}"/>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483218" y="6462735"/>
            <a:ext cx="1285636" cy="261145"/>
          </a:xfrm>
          <a:prstGeom prst="rect">
            <a:avLst/>
          </a:prstGeom>
        </p:spPr>
      </p:pic>
    </p:spTree>
    <p:extLst>
      <p:ext uri="{BB962C8B-B14F-4D97-AF65-F5344CB8AC3E}">
        <p14:creationId xmlns:p14="http://schemas.microsoft.com/office/powerpoint/2010/main" val="260844906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oard logo Dalberg Desig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697291974"/>
              </p:ext>
            </p:extLst>
          </p:nvPr>
        </p:nvGraphicFramePr>
        <p:xfrm>
          <a:off x="2121" y="2118"/>
          <a:ext cx="2116" cy="2116"/>
        </p:xfrm>
        <a:graphic>
          <a:graphicData uri="http://schemas.openxmlformats.org/presentationml/2006/ole">
            <mc:AlternateContent xmlns:mc="http://schemas.openxmlformats.org/markup-compatibility/2006">
              <mc:Choice xmlns:v="urn:schemas-microsoft-com:vml" Requires="v">
                <p:oleObj spid="_x0000_s393539" name="think-cell Slide" r:id="rId5" imgW="383" imgH="385" progId="TCLayout.ActiveDocument.1">
                  <p:embed/>
                </p:oleObj>
              </mc:Choice>
              <mc:Fallback>
                <p:oleObj name="think-cell Slide" r:id="rId5" imgW="383" imgH="385" progId="TCLayout.ActiveDocument.1">
                  <p:embed/>
                  <p:pic>
                    <p:nvPicPr>
                      <p:cNvPr id="6" name="Object 5" hidden="1"/>
                      <p:cNvPicPr/>
                      <p:nvPr/>
                    </p:nvPicPr>
                    <p:blipFill>
                      <a:blip r:embed="rId6"/>
                      <a:stretch>
                        <a:fillRect/>
                      </a:stretch>
                    </p:blipFill>
                    <p:spPr>
                      <a:xfrm>
                        <a:off x="2121" y="2118"/>
                        <a:ext cx="2116" cy="2116"/>
                      </a:xfrm>
                      <a:prstGeom prst="rect">
                        <a:avLst/>
                      </a:prstGeom>
                    </p:spPr>
                  </p:pic>
                </p:oleObj>
              </mc:Fallback>
            </mc:AlternateContent>
          </a:graphicData>
        </a:graphic>
      </p:graphicFrame>
      <p:sp>
        <p:nvSpPr>
          <p:cNvPr id="3" name="Rectangle 2" hidden="1"/>
          <p:cNvSpPr/>
          <p:nvPr userDrawn="1">
            <p:custDataLst>
              <p:tags r:id="rId3"/>
            </p:custDataLst>
          </p:nvPr>
        </p:nvSpPr>
        <p:spPr bwMode="auto">
          <a:xfrm>
            <a:off x="1" y="0"/>
            <a:ext cx="195385" cy="158750"/>
          </a:xfrm>
          <a:prstGeom prst="rect">
            <a:avLst/>
          </a:prstGeom>
          <a:solidFill>
            <a:srgbClr val="FFFFFF"/>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23" rtl="0" eaLnBrk="1" latinLnBrk="0" hangingPunct="1">
              <a:lnSpc>
                <a:spcPct val="100000"/>
              </a:lnSpc>
              <a:spcBef>
                <a:spcPct val="0"/>
              </a:spcBef>
              <a:spcAft>
                <a:spcPct val="0"/>
              </a:spcAft>
              <a:buNone/>
            </a:pPr>
            <a:endParaRPr lang="en-US" sz="4201" b="0" i="0" kern="1200" baseline="0" dirty="0">
              <a:solidFill>
                <a:schemeClr val="tx1"/>
              </a:solidFill>
              <a:latin typeface="Lato Light" panose="020F0302020204030203"/>
              <a:ea typeface="+mj-ea"/>
              <a:cs typeface="Arial" panose="020B0604020202020204" pitchFamily="34" charset="0"/>
              <a:sym typeface="Lato Light" panose="020F0302020204030203"/>
            </a:endParaRPr>
          </a:p>
        </p:txBody>
      </p:sp>
      <p:sp>
        <p:nvSpPr>
          <p:cNvPr id="13" name="Rectangle 12"/>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sp>
        <p:nvSpPr>
          <p:cNvPr id="14" name="Text Placeholder 6"/>
          <p:cNvSpPr>
            <a:spLocks noGrp="1"/>
          </p:cNvSpPr>
          <p:nvPr>
            <p:ph type="body" sz="quarter" idx="14" hasCustomPrompt="1"/>
          </p:nvPr>
        </p:nvSpPr>
        <p:spPr>
          <a:xfrm>
            <a:off x="943691" y="6377453"/>
            <a:ext cx="8059634" cy="308033"/>
          </a:xfrm>
        </p:spPr>
        <p:txBody>
          <a:bodyPr wrap="square" anchor="b">
            <a:spAutoFit/>
          </a:bodyPr>
          <a:lstStyle>
            <a:lvl1pPr marL="0" indent="0">
              <a:buNone/>
              <a:defRPr sz="1001" baseline="0">
                <a:solidFill>
                  <a:srgbClr val="606060"/>
                </a:solidFill>
              </a:defRPr>
            </a:lvl1pPr>
          </a:lstStyle>
          <a:p>
            <a:pPr lvl="0"/>
            <a:r>
              <a:rPr lang="en-US" dirty="0"/>
              <a:t>This space is reserved for footnotes and sources only, and cannot be expanded beyond its current size.                                        Source: [Author/Publisher Name], [Report Name], [Year]</a:t>
            </a:r>
          </a:p>
        </p:txBody>
      </p:sp>
      <p:sp>
        <p:nvSpPr>
          <p:cNvPr id="20" name="Text Placeholder 6">
            <a:extLst>
              <a:ext uri="{FF2B5EF4-FFF2-40B4-BE49-F238E27FC236}">
                <a16:creationId xmlns:a16="http://schemas.microsoft.com/office/drawing/2014/main" id="{55EAF43E-BB4E-494E-9B58-0B592AF0D603}"/>
              </a:ext>
            </a:extLst>
          </p:cNvPr>
          <p:cNvSpPr>
            <a:spLocks noGrp="1"/>
          </p:cNvSpPr>
          <p:nvPr>
            <p:ph type="body" sz="quarter" idx="17" hasCustomPrompt="1"/>
          </p:nvPr>
        </p:nvSpPr>
        <p:spPr>
          <a:xfrm>
            <a:off x="80277" y="399740"/>
            <a:ext cx="468922" cy="184666"/>
          </a:xfrm>
        </p:spPr>
        <p:txBody>
          <a:bodyPr wrap="square" anchor="ctr">
            <a:spAutoFit/>
          </a:bodyPr>
          <a:lstStyle>
            <a:lvl1pPr marL="0" indent="0" algn="ctr">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dirty="0"/>
              <a:t>Text</a:t>
            </a:r>
          </a:p>
        </p:txBody>
      </p:sp>
      <p:sp>
        <p:nvSpPr>
          <p:cNvPr id="27" name="Title 1">
            <a:extLst>
              <a:ext uri="{FF2B5EF4-FFF2-40B4-BE49-F238E27FC236}">
                <a16:creationId xmlns:a16="http://schemas.microsoft.com/office/drawing/2014/main" id="{E3A34FF9-FE1C-45B0-AC0A-E8766416FD34}"/>
              </a:ext>
            </a:extLst>
          </p:cNvPr>
          <p:cNvSpPr>
            <a:spLocks noGrp="1"/>
          </p:cNvSpPr>
          <p:nvPr userDrawn="1">
            <p:ph type="title" hasCustomPrompt="1"/>
          </p:nvPr>
        </p:nvSpPr>
        <p:spPr>
          <a:xfrm>
            <a:off x="943690" y="189164"/>
            <a:ext cx="10621127" cy="646459"/>
          </a:xfrm>
          <a:prstGeom prst="rect">
            <a:avLst/>
          </a:prstGeom>
        </p:spPr>
        <p:txBody>
          <a:bodyPr wrap="square">
            <a:spAutoFit/>
          </a:bodyPr>
          <a:lstStyle>
            <a:lvl1pPr>
              <a:defRPr sz="4201" b="0" i="0" baseline="0">
                <a:solidFill>
                  <a:srgbClr val="881946"/>
                </a:solidFill>
                <a:latin typeface="Lato Light" panose="020F0302020204030203" pitchFamily="34" charset="77"/>
              </a:defRPr>
            </a:lvl1pPr>
          </a:lstStyle>
          <a:p>
            <a:r>
              <a:rPr lang="en-US" dirty="0"/>
              <a:t>Headline </a:t>
            </a:r>
            <a:r>
              <a:rPr lang="en-US" dirty="0" err="1"/>
              <a:t>Lato</a:t>
            </a:r>
            <a:r>
              <a:rPr lang="en-US" dirty="0"/>
              <a:t> Light 42pt</a:t>
            </a:r>
          </a:p>
        </p:txBody>
      </p:sp>
      <p:sp>
        <p:nvSpPr>
          <p:cNvPr id="28" name="Text Placeholder 2">
            <a:extLst>
              <a:ext uri="{FF2B5EF4-FFF2-40B4-BE49-F238E27FC236}">
                <a16:creationId xmlns:a16="http://schemas.microsoft.com/office/drawing/2014/main" id="{67017454-FDF7-4B29-BC70-9D439588261B}"/>
              </a:ext>
            </a:extLst>
          </p:cNvPr>
          <p:cNvSpPr>
            <a:spLocks noGrp="1"/>
          </p:cNvSpPr>
          <p:nvPr userDrawn="1">
            <p:ph idx="1" hasCustomPrompt="1"/>
          </p:nvPr>
        </p:nvSpPr>
        <p:spPr bwMode="gray">
          <a:xfrm>
            <a:off x="943690" y="1257300"/>
            <a:ext cx="10621127" cy="5067300"/>
          </a:xfrm>
          <a:prstGeom prst="rect">
            <a:avLst/>
          </a:prstGeom>
        </p:spPr>
        <p:txBody>
          <a:bodyPr vert="horz" wrap="square" lIns="0" tIns="0" rIns="0" bIns="0" rtlCol="0">
            <a:noAutofit/>
          </a:bodyPr>
          <a:lstStyle>
            <a:lvl1pPr marL="0" indent="0">
              <a:spcAft>
                <a:spcPts val="1477"/>
              </a:spcAft>
              <a:buFont typeface="Arial" panose="020B0604020202020204" pitchFamily="34" charset="0"/>
              <a:buNone/>
              <a:defRPr b="0" i="0">
                <a:solidFill>
                  <a:srgbClr val="606060"/>
                </a:solidFill>
                <a:latin typeface="Lato Light" panose="020F0302020204030203" pitchFamily="34" charset="77"/>
              </a:defRPr>
            </a:lvl1pPr>
            <a:lvl2pPr>
              <a:defRPr b="0" i="0">
                <a:latin typeface="Lato Light" panose="020F0302020204030203" pitchFamily="34" charset="77"/>
              </a:defRPr>
            </a:lvl2pPr>
            <a:lvl3pPr>
              <a:defRPr b="0" i="0">
                <a:latin typeface="Lato Light" panose="020F0302020204030203" pitchFamily="34" charset="77"/>
              </a:defRPr>
            </a:lvl3pPr>
            <a:lvl4pPr>
              <a:defRPr b="0" i="0">
                <a:latin typeface="Lato Light" panose="020F0302020204030203" pitchFamily="34" charset="77"/>
              </a:defRPr>
            </a:lvl4pPr>
            <a:lvl5pPr>
              <a:defRPr b="0" i="0">
                <a:latin typeface="Lato Light" panose="020F0302020204030203" pitchFamily="34" charset="77"/>
              </a:defRPr>
            </a:lvl5pPr>
          </a:lstStyle>
          <a:p>
            <a:pPr>
              <a:spcAft>
                <a:spcPts val="1200"/>
              </a:spcAft>
            </a:pPr>
            <a:r>
              <a:rPr lang="en-US" sz="1600" spc="300" dirty="0">
                <a:solidFill>
                  <a:srgbClr val="0889A8"/>
                </a:solidFill>
                <a:latin typeface="Lato" charset="0"/>
                <a:ea typeface="Lato" charset="0"/>
                <a:cs typeface="Lato" charset="0"/>
              </a:rPr>
              <a:t>TITLE LATO REGULAR 16pt ALL CAPS LOOSE CHARACTER SPACING</a:t>
            </a:r>
            <a:endParaRPr lang="en-US" sz="1600" i="1" spc="300" dirty="0">
              <a:latin typeface="Lato" charset="0"/>
              <a:ea typeface="Lato Light" charset="0"/>
              <a:cs typeface="Lato Light" charset="0"/>
            </a:endParaRPr>
          </a:p>
          <a:p>
            <a:r>
              <a:rPr lang="en-US" sz="1600" dirty="0">
                <a:solidFill>
                  <a:srgbClr val="918A87"/>
                </a:solidFill>
                <a:latin typeface="Lato Light" panose="020F0302020204030203" pitchFamily="34" charset="77"/>
                <a:ea typeface="Lato" charset="0"/>
                <a:cs typeface="Lato" charset="0"/>
              </a:rPr>
              <a:t>Body </a:t>
            </a:r>
            <a:r>
              <a:rPr lang="en-US" sz="1600" dirty="0" err="1">
                <a:solidFill>
                  <a:srgbClr val="918A87"/>
                </a:solidFill>
                <a:latin typeface="Lato Light" panose="020F0302020204030203" pitchFamily="34" charset="77"/>
                <a:ea typeface="Lato" charset="0"/>
                <a:cs typeface="Lato" charset="0"/>
              </a:rPr>
              <a:t>Lato</a:t>
            </a:r>
            <a:r>
              <a:rPr lang="en-US" sz="1600" dirty="0">
                <a:solidFill>
                  <a:srgbClr val="918A87"/>
                </a:solidFill>
                <a:latin typeface="Lato Light" panose="020F0302020204030203" pitchFamily="34" charset="77"/>
                <a:ea typeface="Lato" charset="0"/>
                <a:cs typeface="Lato" charset="0"/>
              </a:rPr>
              <a:t> Light 16pt</a:t>
            </a:r>
          </a:p>
        </p:txBody>
      </p:sp>
      <p:sp>
        <p:nvSpPr>
          <p:cNvPr id="18" name="Slide Number Placeholder 5">
            <a:extLst>
              <a:ext uri="{FF2B5EF4-FFF2-40B4-BE49-F238E27FC236}">
                <a16:creationId xmlns:a16="http://schemas.microsoft.com/office/drawing/2014/main" id="{74282E01-8476-472F-A6CB-39474622AE16}"/>
              </a:ext>
            </a:extLst>
          </p:cNvPr>
          <p:cNvSpPr>
            <a:spLocks noGrp="1"/>
          </p:cNvSpPr>
          <p:nvPr userDrawn="1">
            <p:ph type="sldNum" sz="quarter" idx="4"/>
          </p:nvPr>
        </p:nvSpPr>
        <p:spPr bwMode="gray">
          <a:xfrm>
            <a:off x="11743978" y="6529802"/>
            <a:ext cx="280034" cy="154017"/>
          </a:xfrm>
          <a:prstGeom prst="rect">
            <a:avLst/>
          </a:prstGeom>
          <a:noFill/>
        </p:spPr>
        <p:txBody>
          <a:bodyPr vert="horz" wrap="square" lIns="0" tIns="0" rIns="0" bIns="0" rtlCol="0" anchor="ctr">
            <a:spAutoFit/>
          </a:bodyPr>
          <a:lstStyle>
            <a:lvl1pPr algn="ctr">
              <a:defRPr sz="1001">
                <a:solidFill>
                  <a:schemeClr val="tx1"/>
                </a:solidFill>
                <a:latin typeface="Lato" panose="020F0502020204030203" pitchFamily="34" charset="0"/>
                <a:cs typeface="Arial" pitchFamily="34" charset="0"/>
              </a:defRPr>
            </a:lvl1pPr>
          </a:lstStyle>
          <a:p>
            <a:fld id="{A90607E6-BCED-4FC1-A345-AB2A307AB80F}" type="slidenum">
              <a:rPr lang="en-US" smtClean="0"/>
              <a:pPr/>
              <a:t>‹#›</a:t>
            </a:fld>
            <a:endParaRPr lang="en-US" dirty="0"/>
          </a:p>
        </p:txBody>
      </p:sp>
      <p:grpSp>
        <p:nvGrpSpPr>
          <p:cNvPr id="19" name="Group 18">
            <a:extLst>
              <a:ext uri="{FF2B5EF4-FFF2-40B4-BE49-F238E27FC236}">
                <a16:creationId xmlns:a16="http://schemas.microsoft.com/office/drawing/2014/main" id="{0D3EDBC0-C9C4-4C5A-8161-2CA40575E9C8}"/>
              </a:ext>
            </a:extLst>
          </p:cNvPr>
          <p:cNvGrpSpPr/>
          <p:nvPr userDrawn="1"/>
        </p:nvGrpSpPr>
        <p:grpSpPr>
          <a:xfrm>
            <a:off x="9403474" y="6359076"/>
            <a:ext cx="2186354" cy="498924"/>
            <a:chOff x="6861587" y="6359076"/>
            <a:chExt cx="1776413" cy="498924"/>
          </a:xfrm>
        </p:grpSpPr>
        <p:sp>
          <p:nvSpPr>
            <p:cNvPr id="21" name="Rectangle 20">
              <a:extLst>
                <a:ext uri="{FF2B5EF4-FFF2-40B4-BE49-F238E27FC236}">
                  <a16:creationId xmlns:a16="http://schemas.microsoft.com/office/drawing/2014/main" id="{E31BA769-9956-427A-BCC9-DDEC16F5B09C}"/>
                </a:ext>
              </a:extLst>
            </p:cNvPr>
            <p:cNvSpPr>
              <a:spLocks/>
            </p:cNvSpPr>
            <p:nvPr userDrawn="1"/>
          </p:nvSpPr>
          <p:spPr>
            <a:xfrm>
              <a:off x="6861587" y="6359076"/>
              <a:ext cx="1776413"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pic>
          <p:nvPicPr>
            <p:cNvPr id="23" name="Picture 22" descr="A picture containing clipart&#10;&#10;Description generated with very high confidence">
              <a:extLst>
                <a:ext uri="{FF2B5EF4-FFF2-40B4-BE49-F238E27FC236}">
                  <a16:creationId xmlns:a16="http://schemas.microsoft.com/office/drawing/2014/main" id="{4A44B0C3-9D93-4FD6-90B4-A8AAECAAF041}"/>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6979339" y="6486052"/>
              <a:ext cx="789308" cy="273890"/>
            </a:xfrm>
            <a:prstGeom prst="rect">
              <a:avLst/>
            </a:prstGeom>
          </p:spPr>
        </p:pic>
      </p:grpSp>
      <p:pic>
        <p:nvPicPr>
          <p:cNvPr id="15" name="Picture 14">
            <a:extLst>
              <a:ext uri="{FF2B5EF4-FFF2-40B4-BE49-F238E27FC236}">
                <a16:creationId xmlns:a16="http://schemas.microsoft.com/office/drawing/2014/main" id="{FC521810-AEA4-45B8-BD43-0953C9EB7967}"/>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474293" y="6458499"/>
            <a:ext cx="1285636" cy="261145"/>
          </a:xfrm>
          <a:prstGeom prst="rect">
            <a:avLst/>
          </a:prstGeom>
        </p:spPr>
      </p:pic>
    </p:spTree>
    <p:extLst>
      <p:ext uri="{BB962C8B-B14F-4D97-AF65-F5344CB8AC3E}">
        <p14:creationId xmlns:p14="http://schemas.microsoft.com/office/powerpoint/2010/main" val="89730455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oard logo Dalberg Research">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2121" y="2118"/>
          <a:ext cx="2116" cy="2116"/>
        </p:xfrm>
        <a:graphic>
          <a:graphicData uri="http://schemas.openxmlformats.org/presentationml/2006/ole">
            <mc:AlternateContent xmlns:mc="http://schemas.openxmlformats.org/markup-compatibility/2006">
              <mc:Choice xmlns:v="urn:schemas-microsoft-com:vml" Requires="v">
                <p:oleObj spid="_x0000_s394563" name="think-cell Slide" r:id="rId5" imgW="383" imgH="385" progId="TCLayout.ActiveDocument.1">
                  <p:embed/>
                </p:oleObj>
              </mc:Choice>
              <mc:Fallback>
                <p:oleObj name="think-cell Slide" r:id="rId5" imgW="383" imgH="385" progId="TCLayout.ActiveDocument.1">
                  <p:embed/>
                  <p:pic>
                    <p:nvPicPr>
                      <p:cNvPr id="6" name="Object 5" hidden="1"/>
                      <p:cNvPicPr/>
                      <p:nvPr/>
                    </p:nvPicPr>
                    <p:blipFill>
                      <a:blip r:embed="rId6"/>
                      <a:stretch>
                        <a:fillRect/>
                      </a:stretch>
                    </p:blipFill>
                    <p:spPr>
                      <a:xfrm>
                        <a:off x="2121" y="2118"/>
                        <a:ext cx="2116" cy="2116"/>
                      </a:xfrm>
                      <a:prstGeom prst="rect">
                        <a:avLst/>
                      </a:prstGeom>
                    </p:spPr>
                  </p:pic>
                </p:oleObj>
              </mc:Fallback>
            </mc:AlternateContent>
          </a:graphicData>
        </a:graphic>
      </p:graphicFrame>
      <p:sp>
        <p:nvSpPr>
          <p:cNvPr id="3" name="Rectangle 2" hidden="1"/>
          <p:cNvSpPr/>
          <p:nvPr userDrawn="1">
            <p:custDataLst>
              <p:tags r:id="rId3"/>
            </p:custDataLst>
          </p:nvPr>
        </p:nvSpPr>
        <p:spPr bwMode="auto">
          <a:xfrm>
            <a:off x="1" y="0"/>
            <a:ext cx="195385" cy="158750"/>
          </a:xfrm>
          <a:prstGeom prst="rect">
            <a:avLst/>
          </a:prstGeom>
          <a:solidFill>
            <a:srgbClr val="FFFFFF"/>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23" rtl="0" eaLnBrk="1" latinLnBrk="0" hangingPunct="1">
              <a:lnSpc>
                <a:spcPct val="100000"/>
              </a:lnSpc>
              <a:spcBef>
                <a:spcPct val="0"/>
              </a:spcBef>
              <a:spcAft>
                <a:spcPct val="0"/>
              </a:spcAft>
              <a:buNone/>
            </a:pPr>
            <a:endParaRPr lang="en-US" sz="1401" b="0" i="0" kern="1200" baseline="0" dirty="0">
              <a:solidFill>
                <a:schemeClr val="tx1"/>
              </a:solidFill>
              <a:latin typeface="Lato"/>
              <a:ea typeface="+mn-ea"/>
              <a:cs typeface="+mn-cs"/>
              <a:sym typeface="Lato"/>
            </a:endParaRPr>
          </a:p>
        </p:txBody>
      </p:sp>
      <p:sp>
        <p:nvSpPr>
          <p:cNvPr id="13" name="Rectangle 12"/>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sp>
        <p:nvSpPr>
          <p:cNvPr id="14" name="Text Placeholder 6"/>
          <p:cNvSpPr>
            <a:spLocks noGrp="1"/>
          </p:cNvSpPr>
          <p:nvPr>
            <p:ph type="body" sz="quarter" idx="14" hasCustomPrompt="1"/>
          </p:nvPr>
        </p:nvSpPr>
        <p:spPr>
          <a:xfrm>
            <a:off x="943691" y="6377453"/>
            <a:ext cx="8059634" cy="308033"/>
          </a:xfrm>
        </p:spPr>
        <p:txBody>
          <a:bodyPr wrap="square" anchor="b">
            <a:spAutoFit/>
          </a:bodyPr>
          <a:lstStyle>
            <a:lvl1pPr marL="0" indent="0">
              <a:buNone/>
              <a:defRPr sz="1001" baseline="0">
                <a:solidFill>
                  <a:srgbClr val="606060"/>
                </a:solidFill>
              </a:defRPr>
            </a:lvl1pPr>
          </a:lstStyle>
          <a:p>
            <a:pPr lvl="0"/>
            <a:r>
              <a:rPr lang="en-US" dirty="0"/>
              <a:t>This space is reserved for footnotes and sources only, and cannot be expanded beyond its current size.                                        Source: [Author/Publisher Name], [Report Name], [Year]</a:t>
            </a:r>
          </a:p>
        </p:txBody>
      </p:sp>
      <p:sp>
        <p:nvSpPr>
          <p:cNvPr id="20" name="Text Placeholder 6">
            <a:extLst>
              <a:ext uri="{FF2B5EF4-FFF2-40B4-BE49-F238E27FC236}">
                <a16:creationId xmlns:a16="http://schemas.microsoft.com/office/drawing/2014/main" id="{55EAF43E-BB4E-494E-9B58-0B592AF0D603}"/>
              </a:ext>
            </a:extLst>
          </p:cNvPr>
          <p:cNvSpPr>
            <a:spLocks noGrp="1"/>
          </p:cNvSpPr>
          <p:nvPr>
            <p:ph type="body" sz="quarter" idx="17" hasCustomPrompt="1"/>
          </p:nvPr>
        </p:nvSpPr>
        <p:spPr>
          <a:xfrm>
            <a:off x="80277" y="399740"/>
            <a:ext cx="468922" cy="184666"/>
          </a:xfrm>
        </p:spPr>
        <p:txBody>
          <a:bodyPr wrap="square" anchor="ctr">
            <a:spAutoFit/>
          </a:bodyPr>
          <a:lstStyle>
            <a:lvl1pPr marL="0" indent="0" algn="ctr">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dirty="0"/>
              <a:t>Text</a:t>
            </a:r>
          </a:p>
        </p:txBody>
      </p:sp>
      <p:pic>
        <p:nvPicPr>
          <p:cNvPr id="16" name="Picture 15">
            <a:extLst>
              <a:ext uri="{FF2B5EF4-FFF2-40B4-BE49-F238E27FC236}">
                <a16:creationId xmlns:a16="http://schemas.microsoft.com/office/drawing/2014/main" id="{F1F129EE-FE3C-4445-BC28-89FA071D359F}"/>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9549846" y="6511928"/>
            <a:ext cx="878369" cy="215333"/>
          </a:xfrm>
          <a:prstGeom prst="rect">
            <a:avLst/>
          </a:prstGeom>
        </p:spPr>
      </p:pic>
      <p:sp>
        <p:nvSpPr>
          <p:cNvPr id="27" name="Title 1">
            <a:extLst>
              <a:ext uri="{FF2B5EF4-FFF2-40B4-BE49-F238E27FC236}">
                <a16:creationId xmlns:a16="http://schemas.microsoft.com/office/drawing/2014/main" id="{E3A34FF9-FE1C-45B0-AC0A-E8766416FD34}"/>
              </a:ext>
            </a:extLst>
          </p:cNvPr>
          <p:cNvSpPr>
            <a:spLocks noGrp="1"/>
          </p:cNvSpPr>
          <p:nvPr userDrawn="1">
            <p:ph type="title" hasCustomPrompt="1"/>
          </p:nvPr>
        </p:nvSpPr>
        <p:spPr>
          <a:xfrm>
            <a:off x="943690" y="189164"/>
            <a:ext cx="10621127" cy="646459"/>
          </a:xfrm>
          <a:prstGeom prst="rect">
            <a:avLst/>
          </a:prstGeom>
        </p:spPr>
        <p:txBody>
          <a:bodyPr wrap="square">
            <a:spAutoFit/>
          </a:bodyPr>
          <a:lstStyle>
            <a:lvl1pPr>
              <a:defRPr sz="4201" b="0" i="0" baseline="0">
                <a:solidFill>
                  <a:srgbClr val="881946"/>
                </a:solidFill>
                <a:latin typeface="Lato Light" panose="020F0302020204030203" pitchFamily="34" charset="77"/>
              </a:defRPr>
            </a:lvl1pPr>
          </a:lstStyle>
          <a:p>
            <a:r>
              <a:rPr lang="en-US" dirty="0"/>
              <a:t>Headline </a:t>
            </a:r>
            <a:r>
              <a:rPr lang="en-US" dirty="0" err="1"/>
              <a:t>Lato</a:t>
            </a:r>
            <a:r>
              <a:rPr lang="en-US" dirty="0"/>
              <a:t> Light 42pt</a:t>
            </a:r>
          </a:p>
        </p:txBody>
      </p:sp>
      <p:sp>
        <p:nvSpPr>
          <p:cNvPr id="28" name="Text Placeholder 2">
            <a:extLst>
              <a:ext uri="{FF2B5EF4-FFF2-40B4-BE49-F238E27FC236}">
                <a16:creationId xmlns:a16="http://schemas.microsoft.com/office/drawing/2014/main" id="{67017454-FDF7-4B29-BC70-9D439588261B}"/>
              </a:ext>
            </a:extLst>
          </p:cNvPr>
          <p:cNvSpPr>
            <a:spLocks noGrp="1"/>
          </p:cNvSpPr>
          <p:nvPr userDrawn="1">
            <p:ph idx="1" hasCustomPrompt="1"/>
          </p:nvPr>
        </p:nvSpPr>
        <p:spPr bwMode="gray">
          <a:xfrm>
            <a:off x="943690" y="1257300"/>
            <a:ext cx="10621127" cy="5067300"/>
          </a:xfrm>
          <a:prstGeom prst="rect">
            <a:avLst/>
          </a:prstGeom>
        </p:spPr>
        <p:txBody>
          <a:bodyPr vert="horz" wrap="square" lIns="0" tIns="0" rIns="0" bIns="0" rtlCol="0">
            <a:noAutofit/>
          </a:bodyPr>
          <a:lstStyle>
            <a:lvl1pPr marL="0" indent="0">
              <a:spcAft>
                <a:spcPts val="1477"/>
              </a:spcAft>
              <a:buFont typeface="Arial" panose="020B0604020202020204" pitchFamily="34" charset="0"/>
              <a:buNone/>
              <a:defRPr b="0" i="0">
                <a:solidFill>
                  <a:srgbClr val="606060"/>
                </a:solidFill>
                <a:latin typeface="Lato Light" panose="020F0302020204030203" pitchFamily="34" charset="77"/>
              </a:defRPr>
            </a:lvl1pPr>
            <a:lvl2pPr>
              <a:defRPr b="0" i="0">
                <a:latin typeface="Lato Light" panose="020F0302020204030203" pitchFamily="34" charset="77"/>
              </a:defRPr>
            </a:lvl2pPr>
            <a:lvl3pPr>
              <a:defRPr b="0" i="0">
                <a:latin typeface="Lato Light" panose="020F0302020204030203" pitchFamily="34" charset="77"/>
              </a:defRPr>
            </a:lvl3pPr>
            <a:lvl4pPr>
              <a:defRPr b="0" i="0">
                <a:latin typeface="Lato Light" panose="020F0302020204030203" pitchFamily="34" charset="77"/>
              </a:defRPr>
            </a:lvl4pPr>
            <a:lvl5pPr>
              <a:defRPr b="0" i="0">
                <a:latin typeface="Lato Light" panose="020F0302020204030203" pitchFamily="34" charset="77"/>
              </a:defRPr>
            </a:lvl5pPr>
          </a:lstStyle>
          <a:p>
            <a:pPr>
              <a:spcAft>
                <a:spcPts val="1200"/>
              </a:spcAft>
            </a:pPr>
            <a:r>
              <a:rPr lang="en-US" sz="1600" spc="300" dirty="0">
                <a:solidFill>
                  <a:srgbClr val="0889A8"/>
                </a:solidFill>
                <a:latin typeface="Lato" charset="0"/>
                <a:ea typeface="Lato" charset="0"/>
                <a:cs typeface="Lato" charset="0"/>
              </a:rPr>
              <a:t>TITLE LATO REGULAR 16pt ALL CAPS LOOSE CHARACTER SPACING</a:t>
            </a:r>
            <a:endParaRPr lang="en-US" sz="1600" i="1" spc="300" dirty="0">
              <a:latin typeface="Lato" charset="0"/>
              <a:ea typeface="Lato Light" charset="0"/>
              <a:cs typeface="Lato Light" charset="0"/>
            </a:endParaRPr>
          </a:p>
          <a:p>
            <a:r>
              <a:rPr lang="en-US" sz="1600" dirty="0">
                <a:solidFill>
                  <a:srgbClr val="918A87"/>
                </a:solidFill>
                <a:latin typeface="Lato Light" panose="020F0302020204030203" pitchFamily="34" charset="77"/>
                <a:ea typeface="Lato" charset="0"/>
                <a:cs typeface="Lato" charset="0"/>
              </a:rPr>
              <a:t>Body </a:t>
            </a:r>
            <a:r>
              <a:rPr lang="en-US" sz="1600" dirty="0" err="1">
                <a:solidFill>
                  <a:srgbClr val="918A87"/>
                </a:solidFill>
                <a:latin typeface="Lato Light" panose="020F0302020204030203" pitchFamily="34" charset="77"/>
                <a:ea typeface="Lato" charset="0"/>
                <a:cs typeface="Lato" charset="0"/>
              </a:rPr>
              <a:t>Lato</a:t>
            </a:r>
            <a:r>
              <a:rPr lang="en-US" sz="1600" dirty="0">
                <a:solidFill>
                  <a:srgbClr val="918A87"/>
                </a:solidFill>
                <a:latin typeface="Lato Light" panose="020F0302020204030203" pitchFamily="34" charset="77"/>
                <a:ea typeface="Lato" charset="0"/>
                <a:cs typeface="Lato" charset="0"/>
              </a:rPr>
              <a:t> Light 16pt</a:t>
            </a:r>
          </a:p>
        </p:txBody>
      </p:sp>
      <p:pic>
        <p:nvPicPr>
          <p:cNvPr id="18" name="Picture 17">
            <a:extLst>
              <a:ext uri="{FF2B5EF4-FFF2-40B4-BE49-F238E27FC236}">
                <a16:creationId xmlns:a16="http://schemas.microsoft.com/office/drawing/2014/main" id="{934C52B0-3F8B-4CFE-B2FC-D2EDD9F78BB3}"/>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0408414" y="6461640"/>
            <a:ext cx="1285636" cy="261145"/>
          </a:xfrm>
          <a:prstGeom prst="rect">
            <a:avLst/>
          </a:prstGeom>
        </p:spPr>
      </p:pic>
      <p:sp>
        <p:nvSpPr>
          <p:cNvPr id="17" name="Slide Number Placeholder 5">
            <a:extLst>
              <a:ext uri="{FF2B5EF4-FFF2-40B4-BE49-F238E27FC236}">
                <a16:creationId xmlns:a16="http://schemas.microsoft.com/office/drawing/2014/main" id="{E65555D3-029B-4B6E-9FD2-35F290C321F3}"/>
              </a:ext>
            </a:extLst>
          </p:cNvPr>
          <p:cNvSpPr>
            <a:spLocks noGrp="1"/>
          </p:cNvSpPr>
          <p:nvPr userDrawn="1">
            <p:ph type="sldNum" sz="quarter" idx="4"/>
          </p:nvPr>
        </p:nvSpPr>
        <p:spPr bwMode="gray">
          <a:xfrm>
            <a:off x="11743978" y="6529802"/>
            <a:ext cx="280034" cy="154017"/>
          </a:xfrm>
          <a:prstGeom prst="rect">
            <a:avLst/>
          </a:prstGeom>
          <a:noFill/>
        </p:spPr>
        <p:txBody>
          <a:bodyPr vert="horz" wrap="square" lIns="0" tIns="0" rIns="0" bIns="0" rtlCol="0" anchor="ctr">
            <a:spAutoFit/>
          </a:bodyPr>
          <a:lstStyle>
            <a:lvl1pPr algn="ctr">
              <a:defRPr sz="1001">
                <a:solidFill>
                  <a:schemeClr val="tx1"/>
                </a:solidFill>
                <a:latin typeface="Lato" panose="020F0502020204030203" pitchFamily="34" charset="0"/>
                <a:cs typeface="Arial" pitchFamily="34" charset="0"/>
              </a:defRPr>
            </a:lvl1pPr>
          </a:lstStyle>
          <a:p>
            <a:fld id="{A90607E6-BCED-4FC1-A345-AB2A307AB80F}" type="slidenum">
              <a:rPr lang="en-US" smtClean="0"/>
              <a:pPr/>
              <a:t>‹#›</a:t>
            </a:fld>
            <a:endParaRPr lang="en-US" dirty="0"/>
          </a:p>
        </p:txBody>
      </p:sp>
      <p:grpSp>
        <p:nvGrpSpPr>
          <p:cNvPr id="19" name="Group 18">
            <a:extLst>
              <a:ext uri="{FF2B5EF4-FFF2-40B4-BE49-F238E27FC236}">
                <a16:creationId xmlns:a16="http://schemas.microsoft.com/office/drawing/2014/main" id="{81914278-8A42-4EB4-AF82-6C931072CB36}"/>
              </a:ext>
            </a:extLst>
          </p:cNvPr>
          <p:cNvGrpSpPr/>
          <p:nvPr userDrawn="1"/>
        </p:nvGrpSpPr>
        <p:grpSpPr>
          <a:xfrm>
            <a:off x="9412883" y="6359076"/>
            <a:ext cx="2186354" cy="498924"/>
            <a:chOff x="6861587" y="6359076"/>
            <a:chExt cx="1776413" cy="498924"/>
          </a:xfrm>
        </p:grpSpPr>
        <p:sp>
          <p:nvSpPr>
            <p:cNvPr id="21" name="Rectangle 20">
              <a:extLst>
                <a:ext uri="{FF2B5EF4-FFF2-40B4-BE49-F238E27FC236}">
                  <a16:creationId xmlns:a16="http://schemas.microsoft.com/office/drawing/2014/main" id="{3C04A972-739B-4E7C-8C4A-5C071C41D35E}"/>
                </a:ext>
              </a:extLst>
            </p:cNvPr>
            <p:cNvSpPr>
              <a:spLocks/>
            </p:cNvSpPr>
            <p:nvPr userDrawn="1"/>
          </p:nvSpPr>
          <p:spPr>
            <a:xfrm>
              <a:off x="6861587" y="6359076"/>
              <a:ext cx="1776413"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pic>
          <p:nvPicPr>
            <p:cNvPr id="23" name="Picture 22" descr="A picture containing clipart&#10;&#10;Description generated with very high confidence">
              <a:extLst>
                <a:ext uri="{FF2B5EF4-FFF2-40B4-BE49-F238E27FC236}">
                  <a16:creationId xmlns:a16="http://schemas.microsoft.com/office/drawing/2014/main" id="{BD1B8067-A9A8-4D66-9244-52CEBCD12834}"/>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6979339" y="6486052"/>
              <a:ext cx="789308" cy="273890"/>
            </a:xfrm>
            <a:prstGeom prst="rect">
              <a:avLst/>
            </a:prstGeom>
          </p:spPr>
        </p:pic>
      </p:grpSp>
      <p:pic>
        <p:nvPicPr>
          <p:cNvPr id="24" name="Picture 23">
            <a:extLst>
              <a:ext uri="{FF2B5EF4-FFF2-40B4-BE49-F238E27FC236}">
                <a16:creationId xmlns:a16="http://schemas.microsoft.com/office/drawing/2014/main" id="{FB96EADF-62E9-4F95-A01F-15DE696D587D}"/>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0479871" y="6453973"/>
            <a:ext cx="1285636" cy="261145"/>
          </a:xfrm>
          <a:prstGeom prst="rect">
            <a:avLst/>
          </a:prstGeom>
        </p:spPr>
      </p:pic>
    </p:spTree>
    <p:extLst>
      <p:ext uri="{BB962C8B-B14F-4D97-AF65-F5344CB8AC3E}">
        <p14:creationId xmlns:p14="http://schemas.microsoft.com/office/powerpoint/2010/main" val="382064666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oard logo Dalberg Data Insigh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2121" y="2118"/>
          <a:ext cx="2116" cy="2116"/>
        </p:xfrm>
        <a:graphic>
          <a:graphicData uri="http://schemas.openxmlformats.org/presentationml/2006/ole">
            <mc:AlternateContent xmlns:mc="http://schemas.openxmlformats.org/markup-compatibility/2006">
              <mc:Choice xmlns:v="urn:schemas-microsoft-com:vml" Requires="v">
                <p:oleObj spid="_x0000_s395586" name="think-cell Slide" r:id="rId5" imgW="383" imgH="385" progId="TCLayout.ActiveDocument.1">
                  <p:embed/>
                </p:oleObj>
              </mc:Choice>
              <mc:Fallback>
                <p:oleObj name="think-cell Slide" r:id="rId5" imgW="383" imgH="385" progId="TCLayout.ActiveDocument.1">
                  <p:embed/>
                  <p:pic>
                    <p:nvPicPr>
                      <p:cNvPr id="6" name="Object 5" hidden="1"/>
                      <p:cNvPicPr/>
                      <p:nvPr/>
                    </p:nvPicPr>
                    <p:blipFill>
                      <a:blip r:embed="rId6"/>
                      <a:stretch>
                        <a:fillRect/>
                      </a:stretch>
                    </p:blipFill>
                    <p:spPr>
                      <a:xfrm>
                        <a:off x="2121" y="2118"/>
                        <a:ext cx="2116" cy="2116"/>
                      </a:xfrm>
                      <a:prstGeom prst="rect">
                        <a:avLst/>
                      </a:prstGeom>
                    </p:spPr>
                  </p:pic>
                </p:oleObj>
              </mc:Fallback>
            </mc:AlternateContent>
          </a:graphicData>
        </a:graphic>
      </p:graphicFrame>
      <p:sp>
        <p:nvSpPr>
          <p:cNvPr id="3" name="Rectangle 2" hidden="1"/>
          <p:cNvSpPr/>
          <p:nvPr userDrawn="1">
            <p:custDataLst>
              <p:tags r:id="rId3"/>
            </p:custDataLst>
          </p:nvPr>
        </p:nvSpPr>
        <p:spPr bwMode="auto">
          <a:xfrm>
            <a:off x="1" y="0"/>
            <a:ext cx="195385" cy="158750"/>
          </a:xfrm>
          <a:prstGeom prst="rect">
            <a:avLst/>
          </a:prstGeom>
          <a:solidFill>
            <a:srgbClr val="FFFFFF"/>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23" rtl="0" eaLnBrk="1" latinLnBrk="0" hangingPunct="1">
              <a:lnSpc>
                <a:spcPct val="100000"/>
              </a:lnSpc>
              <a:spcBef>
                <a:spcPct val="0"/>
              </a:spcBef>
              <a:spcAft>
                <a:spcPct val="0"/>
              </a:spcAft>
              <a:buNone/>
            </a:pPr>
            <a:endParaRPr lang="en-US" sz="1401" b="0" i="0" kern="1200" baseline="0" dirty="0">
              <a:solidFill>
                <a:schemeClr val="tx1"/>
              </a:solidFill>
              <a:latin typeface="Lato"/>
              <a:ea typeface="+mn-ea"/>
              <a:cs typeface="+mn-cs"/>
              <a:sym typeface="Lato"/>
            </a:endParaRPr>
          </a:p>
        </p:txBody>
      </p:sp>
      <p:sp>
        <p:nvSpPr>
          <p:cNvPr id="13" name="Rectangle 12"/>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sp>
        <p:nvSpPr>
          <p:cNvPr id="14" name="Text Placeholder 6"/>
          <p:cNvSpPr>
            <a:spLocks noGrp="1"/>
          </p:cNvSpPr>
          <p:nvPr>
            <p:ph type="body" sz="quarter" idx="14" hasCustomPrompt="1"/>
          </p:nvPr>
        </p:nvSpPr>
        <p:spPr>
          <a:xfrm>
            <a:off x="943691" y="6377453"/>
            <a:ext cx="8059634" cy="308033"/>
          </a:xfrm>
        </p:spPr>
        <p:txBody>
          <a:bodyPr wrap="square" anchor="b">
            <a:spAutoFit/>
          </a:bodyPr>
          <a:lstStyle>
            <a:lvl1pPr marL="0" indent="0">
              <a:buNone/>
              <a:defRPr sz="1001" baseline="0">
                <a:solidFill>
                  <a:srgbClr val="606060"/>
                </a:solidFill>
              </a:defRPr>
            </a:lvl1pPr>
          </a:lstStyle>
          <a:p>
            <a:pPr lvl="0"/>
            <a:r>
              <a:rPr lang="en-US" dirty="0"/>
              <a:t>This space is reserved for footnotes and sources only, and cannot be expanded beyond its current size.                                        Source: [Author/Publisher Name], [Report Name], [Year]</a:t>
            </a:r>
          </a:p>
        </p:txBody>
      </p:sp>
      <p:sp>
        <p:nvSpPr>
          <p:cNvPr id="20" name="Text Placeholder 6">
            <a:extLst>
              <a:ext uri="{FF2B5EF4-FFF2-40B4-BE49-F238E27FC236}">
                <a16:creationId xmlns:a16="http://schemas.microsoft.com/office/drawing/2014/main" id="{55EAF43E-BB4E-494E-9B58-0B592AF0D603}"/>
              </a:ext>
            </a:extLst>
          </p:cNvPr>
          <p:cNvSpPr>
            <a:spLocks noGrp="1"/>
          </p:cNvSpPr>
          <p:nvPr>
            <p:ph type="body" sz="quarter" idx="17" hasCustomPrompt="1"/>
          </p:nvPr>
        </p:nvSpPr>
        <p:spPr>
          <a:xfrm>
            <a:off x="80277" y="399740"/>
            <a:ext cx="468922" cy="184666"/>
          </a:xfrm>
        </p:spPr>
        <p:txBody>
          <a:bodyPr wrap="square" anchor="ctr">
            <a:spAutoFit/>
          </a:bodyPr>
          <a:lstStyle>
            <a:lvl1pPr marL="0" indent="0" algn="ctr">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dirty="0"/>
              <a:t>Text</a:t>
            </a:r>
          </a:p>
        </p:txBody>
      </p:sp>
      <p:sp>
        <p:nvSpPr>
          <p:cNvPr id="27" name="Title 1">
            <a:extLst>
              <a:ext uri="{FF2B5EF4-FFF2-40B4-BE49-F238E27FC236}">
                <a16:creationId xmlns:a16="http://schemas.microsoft.com/office/drawing/2014/main" id="{E3A34FF9-FE1C-45B0-AC0A-E8766416FD34}"/>
              </a:ext>
            </a:extLst>
          </p:cNvPr>
          <p:cNvSpPr>
            <a:spLocks noGrp="1"/>
          </p:cNvSpPr>
          <p:nvPr>
            <p:ph type="title" hasCustomPrompt="1"/>
          </p:nvPr>
        </p:nvSpPr>
        <p:spPr>
          <a:xfrm>
            <a:off x="943690" y="189164"/>
            <a:ext cx="10621127" cy="646459"/>
          </a:xfrm>
          <a:prstGeom prst="rect">
            <a:avLst/>
          </a:prstGeom>
        </p:spPr>
        <p:txBody>
          <a:bodyPr wrap="square">
            <a:spAutoFit/>
          </a:bodyPr>
          <a:lstStyle>
            <a:lvl1pPr>
              <a:defRPr sz="4201" b="0" i="0" baseline="0">
                <a:solidFill>
                  <a:srgbClr val="881946"/>
                </a:solidFill>
                <a:latin typeface="Lato Light" panose="020F0302020204030203" pitchFamily="34" charset="77"/>
              </a:defRPr>
            </a:lvl1pPr>
          </a:lstStyle>
          <a:p>
            <a:r>
              <a:rPr lang="en-US" dirty="0"/>
              <a:t>Headline </a:t>
            </a:r>
            <a:r>
              <a:rPr lang="en-US" dirty="0" err="1"/>
              <a:t>Lato</a:t>
            </a:r>
            <a:r>
              <a:rPr lang="en-US" dirty="0"/>
              <a:t> Light 42pt</a:t>
            </a:r>
          </a:p>
        </p:txBody>
      </p:sp>
      <p:sp>
        <p:nvSpPr>
          <p:cNvPr id="28" name="Text Placeholder 2">
            <a:extLst>
              <a:ext uri="{FF2B5EF4-FFF2-40B4-BE49-F238E27FC236}">
                <a16:creationId xmlns:a16="http://schemas.microsoft.com/office/drawing/2014/main" id="{67017454-FDF7-4B29-BC70-9D439588261B}"/>
              </a:ext>
            </a:extLst>
          </p:cNvPr>
          <p:cNvSpPr>
            <a:spLocks noGrp="1"/>
          </p:cNvSpPr>
          <p:nvPr>
            <p:ph idx="1" hasCustomPrompt="1"/>
          </p:nvPr>
        </p:nvSpPr>
        <p:spPr bwMode="gray">
          <a:xfrm>
            <a:off x="943690" y="1257300"/>
            <a:ext cx="10621127" cy="5067300"/>
          </a:xfrm>
          <a:prstGeom prst="rect">
            <a:avLst/>
          </a:prstGeom>
        </p:spPr>
        <p:txBody>
          <a:bodyPr vert="horz" wrap="square" lIns="0" tIns="0" rIns="0" bIns="0" rtlCol="0">
            <a:noAutofit/>
          </a:bodyPr>
          <a:lstStyle>
            <a:lvl1pPr marL="0" indent="0">
              <a:spcAft>
                <a:spcPts val="1477"/>
              </a:spcAft>
              <a:buFont typeface="Arial" panose="020B0604020202020204" pitchFamily="34" charset="0"/>
              <a:buNone/>
              <a:defRPr b="0" i="0">
                <a:solidFill>
                  <a:srgbClr val="606060"/>
                </a:solidFill>
                <a:latin typeface="Lato Light" panose="020F0302020204030203" pitchFamily="34" charset="77"/>
              </a:defRPr>
            </a:lvl1pPr>
            <a:lvl2pPr>
              <a:defRPr b="0" i="0">
                <a:latin typeface="Lato Light" panose="020F0302020204030203" pitchFamily="34" charset="77"/>
              </a:defRPr>
            </a:lvl2pPr>
            <a:lvl3pPr>
              <a:defRPr b="0" i="0">
                <a:latin typeface="Lato Light" panose="020F0302020204030203" pitchFamily="34" charset="77"/>
              </a:defRPr>
            </a:lvl3pPr>
            <a:lvl4pPr>
              <a:defRPr b="0" i="0">
                <a:latin typeface="Lato Light" panose="020F0302020204030203" pitchFamily="34" charset="77"/>
              </a:defRPr>
            </a:lvl4pPr>
            <a:lvl5pPr>
              <a:defRPr b="0" i="0">
                <a:latin typeface="Lato Light" panose="020F0302020204030203" pitchFamily="34" charset="77"/>
              </a:defRPr>
            </a:lvl5pPr>
          </a:lstStyle>
          <a:p>
            <a:pPr>
              <a:spcAft>
                <a:spcPts val="1200"/>
              </a:spcAft>
            </a:pPr>
            <a:r>
              <a:rPr lang="en-US" sz="1600" spc="300" dirty="0">
                <a:solidFill>
                  <a:srgbClr val="0889A8"/>
                </a:solidFill>
                <a:latin typeface="Lato" charset="0"/>
                <a:ea typeface="Lato" charset="0"/>
                <a:cs typeface="Lato" charset="0"/>
              </a:rPr>
              <a:t>TITLE LATO REGULAR 16pt ALL CAPS LOOSE CHARACTER SPACING</a:t>
            </a:r>
            <a:endParaRPr lang="en-US" sz="1600" i="1" spc="300" dirty="0">
              <a:latin typeface="Lato" charset="0"/>
              <a:ea typeface="Lato Light" charset="0"/>
              <a:cs typeface="Lato Light" charset="0"/>
            </a:endParaRPr>
          </a:p>
          <a:p>
            <a:r>
              <a:rPr lang="en-US" sz="1600" dirty="0">
                <a:solidFill>
                  <a:srgbClr val="918A87"/>
                </a:solidFill>
                <a:latin typeface="Lato Light" panose="020F0302020204030203" pitchFamily="34" charset="77"/>
                <a:ea typeface="Lato" charset="0"/>
                <a:cs typeface="Lato" charset="0"/>
              </a:rPr>
              <a:t>Body </a:t>
            </a:r>
            <a:r>
              <a:rPr lang="en-US" sz="1600" dirty="0" err="1">
                <a:solidFill>
                  <a:srgbClr val="918A87"/>
                </a:solidFill>
                <a:latin typeface="Lato Light" panose="020F0302020204030203" pitchFamily="34" charset="77"/>
                <a:ea typeface="Lato" charset="0"/>
                <a:cs typeface="Lato" charset="0"/>
              </a:rPr>
              <a:t>Lato</a:t>
            </a:r>
            <a:r>
              <a:rPr lang="en-US" sz="1600" dirty="0">
                <a:solidFill>
                  <a:srgbClr val="918A87"/>
                </a:solidFill>
                <a:latin typeface="Lato Light" panose="020F0302020204030203" pitchFamily="34" charset="77"/>
                <a:ea typeface="Lato" charset="0"/>
                <a:cs typeface="Lato" charset="0"/>
              </a:rPr>
              <a:t> Light 16pt</a:t>
            </a:r>
          </a:p>
        </p:txBody>
      </p:sp>
      <p:pic>
        <p:nvPicPr>
          <p:cNvPr id="18" name="Picture 17">
            <a:extLst>
              <a:ext uri="{FF2B5EF4-FFF2-40B4-BE49-F238E27FC236}">
                <a16:creationId xmlns:a16="http://schemas.microsoft.com/office/drawing/2014/main" id="{934C52B0-3F8B-4CFE-B2FC-D2EDD9F78BB3}"/>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444142" y="6461640"/>
            <a:ext cx="1285636" cy="261145"/>
          </a:xfrm>
          <a:prstGeom prst="rect">
            <a:avLst/>
          </a:prstGeom>
        </p:spPr>
      </p:pic>
      <p:pic>
        <p:nvPicPr>
          <p:cNvPr id="19" name="Picture 18">
            <a:extLst>
              <a:ext uri="{FF2B5EF4-FFF2-40B4-BE49-F238E27FC236}">
                <a16:creationId xmlns:a16="http://schemas.microsoft.com/office/drawing/2014/main" id="{B252D815-F7BE-4B0C-B840-4484B6A47840}"/>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9227228" y="6511928"/>
            <a:ext cx="878369" cy="215333"/>
          </a:xfrm>
          <a:prstGeom prst="rect">
            <a:avLst/>
          </a:prstGeom>
        </p:spPr>
      </p:pic>
      <p:pic>
        <p:nvPicPr>
          <p:cNvPr id="21" name="Picture 20">
            <a:extLst>
              <a:ext uri="{FF2B5EF4-FFF2-40B4-BE49-F238E27FC236}">
                <a16:creationId xmlns:a16="http://schemas.microsoft.com/office/drawing/2014/main" id="{C29BB140-B5C5-41D7-AD65-66D59E23F98D}"/>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10097471" y="6463070"/>
            <a:ext cx="1305486" cy="265176"/>
          </a:xfrm>
          <a:prstGeom prst="rect">
            <a:avLst/>
          </a:prstGeom>
        </p:spPr>
      </p:pic>
      <p:sp>
        <p:nvSpPr>
          <p:cNvPr id="15" name="Slide Number Placeholder 5">
            <a:extLst>
              <a:ext uri="{FF2B5EF4-FFF2-40B4-BE49-F238E27FC236}">
                <a16:creationId xmlns:a16="http://schemas.microsoft.com/office/drawing/2014/main" id="{EB5ACD69-3EFA-47AC-8AFD-BD63B6DD2967}"/>
              </a:ext>
            </a:extLst>
          </p:cNvPr>
          <p:cNvSpPr>
            <a:spLocks noGrp="1"/>
          </p:cNvSpPr>
          <p:nvPr>
            <p:ph type="sldNum" sz="quarter" idx="4"/>
          </p:nvPr>
        </p:nvSpPr>
        <p:spPr bwMode="gray">
          <a:xfrm>
            <a:off x="11743978" y="6529802"/>
            <a:ext cx="280034" cy="154017"/>
          </a:xfrm>
          <a:prstGeom prst="rect">
            <a:avLst/>
          </a:prstGeom>
          <a:noFill/>
        </p:spPr>
        <p:txBody>
          <a:bodyPr vert="horz" wrap="square" lIns="0" tIns="0" rIns="0" bIns="0" rtlCol="0" anchor="ctr">
            <a:spAutoFit/>
          </a:bodyPr>
          <a:lstStyle>
            <a:lvl1pPr algn="ctr">
              <a:defRPr sz="1001">
                <a:solidFill>
                  <a:schemeClr val="tx1"/>
                </a:solidFill>
                <a:latin typeface="Lato" panose="020F0502020204030203" pitchFamily="34" charset="0"/>
                <a:cs typeface="Arial" pitchFamily="34" charset="0"/>
              </a:defRPr>
            </a:lvl1pPr>
          </a:lstStyle>
          <a:p>
            <a:fld id="{A90607E6-BCED-4FC1-A345-AB2A307AB80F}" type="slidenum">
              <a:rPr lang="en-US" smtClean="0"/>
              <a:pPr/>
              <a:t>‹#›</a:t>
            </a:fld>
            <a:endParaRPr lang="en-US" dirty="0"/>
          </a:p>
        </p:txBody>
      </p:sp>
      <p:grpSp>
        <p:nvGrpSpPr>
          <p:cNvPr id="16" name="Group 15">
            <a:extLst>
              <a:ext uri="{FF2B5EF4-FFF2-40B4-BE49-F238E27FC236}">
                <a16:creationId xmlns:a16="http://schemas.microsoft.com/office/drawing/2014/main" id="{8117C66C-2D99-46E8-8368-B73EAB643567}"/>
              </a:ext>
            </a:extLst>
          </p:cNvPr>
          <p:cNvGrpSpPr/>
          <p:nvPr userDrawn="1"/>
        </p:nvGrpSpPr>
        <p:grpSpPr>
          <a:xfrm>
            <a:off x="9298214" y="6359076"/>
            <a:ext cx="2292158" cy="498924"/>
            <a:chOff x="6775623" y="6359076"/>
            <a:chExt cx="1862378" cy="498924"/>
          </a:xfrm>
        </p:grpSpPr>
        <p:sp>
          <p:nvSpPr>
            <p:cNvPr id="22" name="Rectangle 21">
              <a:extLst>
                <a:ext uri="{FF2B5EF4-FFF2-40B4-BE49-F238E27FC236}">
                  <a16:creationId xmlns:a16="http://schemas.microsoft.com/office/drawing/2014/main" id="{A84B4059-0688-4CE8-AAE2-43FAA34C5EF6}"/>
                </a:ext>
              </a:extLst>
            </p:cNvPr>
            <p:cNvSpPr>
              <a:spLocks/>
            </p:cNvSpPr>
            <p:nvPr userDrawn="1"/>
          </p:nvSpPr>
          <p:spPr>
            <a:xfrm>
              <a:off x="6775623" y="6359076"/>
              <a:ext cx="1862378"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pic>
          <p:nvPicPr>
            <p:cNvPr id="23" name="Picture 22">
              <a:extLst>
                <a:ext uri="{FF2B5EF4-FFF2-40B4-BE49-F238E27FC236}">
                  <a16:creationId xmlns:a16="http://schemas.microsoft.com/office/drawing/2014/main" id="{962DFF04-B50D-43E1-B2FA-7A7674BF7BE4}"/>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6815239" y="6511925"/>
              <a:ext cx="713675" cy="215333"/>
            </a:xfrm>
            <a:prstGeom prst="rect">
              <a:avLst/>
            </a:prstGeom>
          </p:spPr>
        </p:pic>
      </p:grpSp>
      <p:pic>
        <p:nvPicPr>
          <p:cNvPr id="17" name="Picture 16">
            <a:extLst>
              <a:ext uri="{FF2B5EF4-FFF2-40B4-BE49-F238E27FC236}">
                <a16:creationId xmlns:a16="http://schemas.microsoft.com/office/drawing/2014/main" id="{BBD919C9-5762-41BA-AC7D-BC067F0AD568}"/>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10222520" y="6463070"/>
            <a:ext cx="1305486" cy="265176"/>
          </a:xfrm>
          <a:prstGeom prst="rect">
            <a:avLst/>
          </a:prstGeom>
        </p:spPr>
      </p:pic>
    </p:spTree>
    <p:extLst>
      <p:ext uri="{BB962C8B-B14F-4D97-AF65-F5344CB8AC3E}">
        <p14:creationId xmlns:p14="http://schemas.microsoft.com/office/powerpoint/2010/main" val="19581590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EE1AA8C-E15D-A44A-9406-A5219CE72065}"/>
              </a:ext>
            </a:extLst>
          </p:cNvPr>
          <p:cNvSpPr/>
          <p:nvPr userDrawn="1"/>
        </p:nvSpPr>
        <p:spPr>
          <a:xfrm>
            <a:off x="4" y="0"/>
            <a:ext cx="12192000" cy="6858000"/>
          </a:xfrm>
          <a:prstGeom prst="rect">
            <a:avLst/>
          </a:prstGeom>
          <a:solidFill>
            <a:srgbClr val="F3B11C">
              <a:alpha val="94902"/>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algn="l" defTabSz="914423" rtl="0" eaLnBrk="1" latinLnBrk="0" hangingPunct="1">
              <a:lnSpc>
                <a:spcPct val="100000"/>
              </a:lnSpc>
              <a:spcBef>
                <a:spcPts val="0"/>
              </a:spcBef>
            </a:pPr>
            <a:endParaRPr lang="en-US" sz="1600" kern="1200" dirty="0">
              <a:solidFill>
                <a:schemeClr val="tx1"/>
              </a:solidFill>
              <a:ea typeface="+mn-ea"/>
              <a:cs typeface="Arial" pitchFamily="34" charset="0"/>
            </a:endParaRPr>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36704730"/>
              </p:ext>
            </p:extLst>
          </p:nvPr>
        </p:nvGraphicFramePr>
        <p:xfrm>
          <a:off x="5" y="6"/>
          <a:ext cx="211668" cy="158751"/>
        </p:xfrm>
        <a:graphic>
          <a:graphicData uri="http://schemas.openxmlformats.org/presentationml/2006/ole">
            <mc:AlternateContent xmlns:mc="http://schemas.openxmlformats.org/markup-compatibility/2006">
              <mc:Choice xmlns:v="urn:schemas-microsoft-com:vml" Requires="v">
                <p:oleObj spid="_x0000_s266752" name="think-cell Slide" r:id="rId4" imgW="383" imgH="385" progId="TCLayout.ActiveDocument.1">
                  <p:embed/>
                </p:oleObj>
              </mc:Choice>
              <mc:Fallback>
                <p:oleObj name="think-cell Slide" r:id="rId4" imgW="383" imgH="385" progId="TCLayout.ActiveDocument.1">
                  <p:embed/>
                  <p:pic>
                    <p:nvPicPr>
                      <p:cNvPr id="3" name="Object 2" hidden="1"/>
                      <p:cNvPicPr/>
                      <p:nvPr/>
                    </p:nvPicPr>
                    <p:blipFill>
                      <a:blip r:embed="rId5"/>
                      <a:stretch>
                        <a:fillRect/>
                      </a:stretch>
                    </p:blipFill>
                    <p:spPr>
                      <a:xfrm>
                        <a:off x="5" y="6"/>
                        <a:ext cx="211668" cy="158751"/>
                      </a:xfrm>
                      <a:prstGeom prst="rect">
                        <a:avLst/>
                      </a:prstGeom>
                    </p:spPr>
                  </p:pic>
                </p:oleObj>
              </mc:Fallback>
            </mc:AlternateContent>
          </a:graphicData>
        </a:graphic>
      </p:graphicFrame>
      <p:sp>
        <p:nvSpPr>
          <p:cNvPr id="22" name="Subtitle 2">
            <a:extLst>
              <a:ext uri="{FF2B5EF4-FFF2-40B4-BE49-F238E27FC236}">
                <a16:creationId xmlns:a16="http://schemas.microsoft.com/office/drawing/2014/main" id="{0FEF2971-18CA-A447-B977-0E8BA063D874}"/>
              </a:ext>
            </a:extLst>
          </p:cNvPr>
          <p:cNvSpPr>
            <a:spLocks noGrp="1"/>
          </p:cNvSpPr>
          <p:nvPr>
            <p:ph type="subTitle" idx="1" hasCustomPrompt="1"/>
          </p:nvPr>
        </p:nvSpPr>
        <p:spPr bwMode="gray">
          <a:xfrm>
            <a:off x="3481899" y="3993161"/>
            <a:ext cx="6564923" cy="215572"/>
          </a:xfrm>
        </p:spPr>
        <p:txBody>
          <a:bodyPr wrap="square" lIns="0" tIns="0" rIns="0" bIns="0" anchor="t">
            <a:spAutoFit/>
          </a:bodyPr>
          <a:lstStyle>
            <a:lvl1pPr marL="0" indent="0" algn="l">
              <a:spcAft>
                <a:spcPts val="0"/>
              </a:spcAft>
              <a:buNone/>
              <a:defRPr sz="1401" b="0" cap="all" spc="300" baseline="0">
                <a:solidFill>
                  <a:schemeClr val="bg1"/>
                </a:solidFill>
                <a:latin typeface="+mn-lt"/>
                <a:cs typeface="Arial" pitchFamily="34" charset="0"/>
              </a:defRPr>
            </a:lvl1pPr>
            <a:lvl2pPr marL="536447" indent="0" algn="ctr">
              <a:buNone/>
              <a:defRPr sz="2300"/>
            </a:lvl2pPr>
            <a:lvl3pPr marL="1072893" indent="0" algn="ctr">
              <a:buNone/>
              <a:defRPr sz="2100"/>
            </a:lvl3pPr>
            <a:lvl4pPr marL="1609339" indent="0" algn="ctr">
              <a:buNone/>
              <a:defRPr sz="1900"/>
            </a:lvl4pPr>
            <a:lvl5pPr marL="2145784" indent="0" algn="ctr">
              <a:buNone/>
              <a:defRPr sz="1900"/>
            </a:lvl5pPr>
            <a:lvl6pPr marL="2682231" indent="0" algn="ctr">
              <a:buNone/>
              <a:defRPr sz="1900"/>
            </a:lvl6pPr>
            <a:lvl7pPr marL="3218677" indent="0" algn="ctr">
              <a:buNone/>
              <a:defRPr sz="1900"/>
            </a:lvl7pPr>
            <a:lvl8pPr marL="3755123" indent="0" algn="ctr">
              <a:buNone/>
              <a:defRPr sz="1900"/>
            </a:lvl8pPr>
            <a:lvl9pPr marL="4291569" indent="0" algn="ctr">
              <a:buNone/>
              <a:defRPr sz="1900"/>
            </a:lvl9pPr>
          </a:lstStyle>
          <a:p>
            <a:r>
              <a:rPr lang="en-US" dirty="0"/>
              <a:t>Sub-title and date</a:t>
            </a:r>
          </a:p>
        </p:txBody>
      </p:sp>
      <p:sp>
        <p:nvSpPr>
          <p:cNvPr id="23" name="Text Placeholder 6">
            <a:extLst>
              <a:ext uri="{FF2B5EF4-FFF2-40B4-BE49-F238E27FC236}">
                <a16:creationId xmlns:a16="http://schemas.microsoft.com/office/drawing/2014/main" id="{21B53F68-7CEB-4F4B-A468-2B1D397F0E75}"/>
              </a:ext>
            </a:extLst>
          </p:cNvPr>
          <p:cNvSpPr>
            <a:spLocks noGrp="1"/>
          </p:cNvSpPr>
          <p:nvPr>
            <p:ph type="body" sz="quarter" idx="18" hasCustomPrompt="1"/>
          </p:nvPr>
        </p:nvSpPr>
        <p:spPr>
          <a:xfrm>
            <a:off x="3481902" y="2757285"/>
            <a:ext cx="8082916" cy="646459"/>
          </a:xfrm>
        </p:spPr>
        <p:txBody>
          <a:bodyPr wrap="square" lIns="0" tIns="0" rIns="0" bIns="0" anchor="b">
            <a:spAutoFit/>
          </a:bodyPr>
          <a:lstStyle>
            <a:lvl1pPr marL="0" indent="0">
              <a:buFont typeface="Arial" panose="020B0604020202020204" pitchFamily="34" charset="0"/>
              <a:buNone/>
              <a:defRPr sz="4201" b="0" baseline="0">
                <a:solidFill>
                  <a:schemeClr val="bg1"/>
                </a:solidFill>
                <a:latin typeface="Lato Light" panose="020F0302020204030203" pitchFamily="34" charset="0"/>
              </a:defRPr>
            </a:lvl1pPr>
          </a:lstStyle>
          <a:p>
            <a:pPr lvl="0"/>
            <a:r>
              <a:rPr lang="en-US" dirty="0"/>
              <a:t>Title is </a:t>
            </a:r>
            <a:r>
              <a:rPr lang="en-US" dirty="0" err="1"/>
              <a:t>Lato</a:t>
            </a:r>
            <a:r>
              <a:rPr lang="en-US" dirty="0"/>
              <a:t> Light 42 point</a:t>
            </a:r>
          </a:p>
        </p:txBody>
      </p:sp>
      <p:cxnSp>
        <p:nvCxnSpPr>
          <p:cNvPr id="24" name="Line">
            <a:extLst>
              <a:ext uri="{FF2B5EF4-FFF2-40B4-BE49-F238E27FC236}">
                <a16:creationId xmlns:a16="http://schemas.microsoft.com/office/drawing/2014/main" id="{E277333D-8D22-DE4D-BED7-4452956ECF14}"/>
              </a:ext>
            </a:extLst>
          </p:cNvPr>
          <p:cNvCxnSpPr>
            <a:cxnSpLocks/>
          </p:cNvCxnSpPr>
          <p:nvPr userDrawn="1"/>
        </p:nvCxnSpPr>
        <p:spPr>
          <a:xfrm>
            <a:off x="3481899" y="3709468"/>
            <a:ext cx="562708" cy="0"/>
          </a:xfrm>
          <a:prstGeom prst="line">
            <a:avLst/>
          </a:prstGeom>
          <a:ln w="28575">
            <a:solidFill>
              <a:srgbClr val="881846"/>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36EC3E5E-8C80-C44A-AD67-64D64758C168}"/>
              </a:ext>
            </a:extLst>
          </p:cNvPr>
          <p:cNvSpPr/>
          <p:nvPr userDrawn="1"/>
        </p:nvSpPr>
        <p:spPr>
          <a:xfrm>
            <a:off x="1" y="1695091"/>
            <a:ext cx="2250831" cy="3474237"/>
          </a:xfrm>
          <a:prstGeom prst="rect">
            <a:avLst/>
          </a:pr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30" indent="-174630" algn="l" defTabSz="914423" rtl="0" eaLnBrk="1" latinLnBrk="0" hangingPunct="1">
              <a:lnSpc>
                <a:spcPct val="100000"/>
              </a:lnSpc>
              <a:spcBef>
                <a:spcPts val="0"/>
              </a:spcBef>
              <a:buFont typeface="Arial" panose="020B0604020202020204" pitchFamily="34" charset="0"/>
              <a:buChar char="•"/>
            </a:pPr>
            <a:endParaRPr lang="en-US" sz="1600" kern="1200" dirty="0" err="1">
              <a:solidFill>
                <a:schemeClr val="tx1"/>
              </a:solidFill>
              <a:latin typeface="+mj-lt"/>
              <a:ea typeface="+mn-ea"/>
              <a:cs typeface="Arial" pitchFamily="34" charset="0"/>
            </a:endParaRPr>
          </a:p>
        </p:txBody>
      </p:sp>
      <p:sp>
        <p:nvSpPr>
          <p:cNvPr id="10" name="Text Placeholder 3">
            <a:extLst>
              <a:ext uri="{FF2B5EF4-FFF2-40B4-BE49-F238E27FC236}">
                <a16:creationId xmlns:a16="http://schemas.microsoft.com/office/drawing/2014/main" id="{81A3603C-679D-4F76-BE5B-3D88C80F5137}"/>
              </a:ext>
            </a:extLst>
          </p:cNvPr>
          <p:cNvSpPr>
            <a:spLocks noGrp="1"/>
          </p:cNvSpPr>
          <p:nvPr>
            <p:ph type="body" sz="quarter" idx="19" hasCustomPrompt="1"/>
          </p:nvPr>
        </p:nvSpPr>
        <p:spPr>
          <a:xfrm>
            <a:off x="8409354" y="914404"/>
            <a:ext cx="2571262" cy="1254125"/>
          </a:xfrm>
        </p:spPr>
        <p:txBody>
          <a:bodyPr/>
          <a:lstStyle>
            <a:lvl1pPr marL="0" indent="0">
              <a:buNone/>
              <a:defRPr i="1">
                <a:solidFill>
                  <a:schemeClr val="bg1"/>
                </a:solidFill>
              </a:defRPr>
            </a:lvl1pPr>
          </a:lstStyle>
          <a:p>
            <a:pPr lvl="0"/>
            <a:r>
              <a:rPr lang="en-ZA" dirty="0"/>
              <a:t>To insert photo overlay, refer to instructions at end of deck</a:t>
            </a:r>
          </a:p>
        </p:txBody>
      </p:sp>
      <p:pic>
        <p:nvPicPr>
          <p:cNvPr id="12" name="Picture 11" descr="A picture containing clipart&#10;&#10;Description generated with very high confidence">
            <a:extLst>
              <a:ext uri="{FF2B5EF4-FFF2-40B4-BE49-F238E27FC236}">
                <a16:creationId xmlns:a16="http://schemas.microsoft.com/office/drawing/2014/main" id="{732931CE-92A4-4387-861A-5BBD536C00E8}"/>
              </a:ext>
            </a:extLst>
          </p:cNvPr>
          <p:cNvPicPr>
            <a:picLocks/>
          </p:cNvPicPr>
          <p:nvPr userDrawn="1"/>
        </p:nvPicPr>
        <p:blipFill>
          <a:blip r:embed="rId6" cstate="email">
            <a:extLst>
              <a:ext uri="{28A0092B-C50C-407E-A947-70E740481C1C}">
                <a14:useLocalDpi xmlns:a14="http://schemas.microsoft.com/office/drawing/2010/main"/>
              </a:ext>
            </a:extLst>
          </a:blip>
          <a:stretch>
            <a:fillRect/>
          </a:stretch>
        </p:blipFill>
        <p:spPr>
          <a:xfrm>
            <a:off x="291240" y="3121216"/>
            <a:ext cx="1317631" cy="457200"/>
          </a:xfrm>
          <a:prstGeom prst="rect">
            <a:avLst/>
          </a:prstGeom>
        </p:spPr>
      </p:pic>
    </p:spTree>
    <p:extLst>
      <p:ext uri="{BB962C8B-B14F-4D97-AF65-F5344CB8AC3E}">
        <p14:creationId xmlns:p14="http://schemas.microsoft.com/office/powerpoint/2010/main" val="4101561082"/>
      </p:ext>
    </p:extLst>
  </p:cSld>
  <p:clrMapOvr>
    <a:masterClrMapping/>
  </p:clrMapOvr>
  <p:extLst>
    <p:ext uri="{DCECCB84-F9BA-43D5-87BE-67443E8EF086}">
      <p15:sldGuideLst xmlns:p15="http://schemas.microsoft.com/office/powerpoint/2012/main">
        <p15:guide id="1" pos="236" userDrawn="1">
          <p15:clr>
            <a:srgbClr val="FBAE40"/>
          </p15:clr>
        </p15:guide>
        <p15:guide id="2" orient="horz" pos="2160" userDrawn="1">
          <p15:clr>
            <a:srgbClr val="FBAE40"/>
          </p15:clr>
        </p15:guide>
        <p15:guide id="3" orient="horz" pos="2298" userDrawn="1">
          <p15:clr>
            <a:srgbClr val="FBAE40"/>
          </p15:clr>
        </p15:guide>
        <p15:guide id="4" orient="horz" pos="2432" userDrawn="1">
          <p15:clr>
            <a:srgbClr val="FBAE40"/>
          </p15:clr>
        </p15:guide>
        <p15:guide id="5" orient="horz" pos="2568" userDrawn="1">
          <p15:clr>
            <a:srgbClr val="FBAE40"/>
          </p15:clr>
        </p15:guide>
        <p15:guide id="6" orient="horz" pos="2702" userDrawn="1">
          <p15:clr>
            <a:srgbClr val="FBAE40"/>
          </p15:clr>
        </p15:guide>
        <p15:guide id="7" orient="horz" pos="284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oard logo Dalberg Capital">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591698077"/>
              </p:ext>
            </p:extLst>
          </p:nvPr>
        </p:nvGraphicFramePr>
        <p:xfrm>
          <a:off x="2121" y="2118"/>
          <a:ext cx="2116" cy="2116"/>
        </p:xfrm>
        <a:graphic>
          <a:graphicData uri="http://schemas.openxmlformats.org/presentationml/2006/ole">
            <mc:AlternateContent xmlns:mc="http://schemas.openxmlformats.org/markup-compatibility/2006">
              <mc:Choice xmlns:v="urn:schemas-microsoft-com:vml" Requires="v">
                <p:oleObj spid="_x0000_s396611" name="think-cell Slide" r:id="rId5" imgW="383" imgH="385" progId="TCLayout.ActiveDocument.1">
                  <p:embed/>
                </p:oleObj>
              </mc:Choice>
              <mc:Fallback>
                <p:oleObj name="think-cell Slide" r:id="rId5" imgW="383" imgH="385" progId="TCLayout.ActiveDocument.1">
                  <p:embed/>
                  <p:pic>
                    <p:nvPicPr>
                      <p:cNvPr id="6" name="Object 5" hidden="1"/>
                      <p:cNvPicPr/>
                      <p:nvPr/>
                    </p:nvPicPr>
                    <p:blipFill>
                      <a:blip r:embed="rId6"/>
                      <a:stretch>
                        <a:fillRect/>
                      </a:stretch>
                    </p:blipFill>
                    <p:spPr>
                      <a:xfrm>
                        <a:off x="2121" y="2118"/>
                        <a:ext cx="2116" cy="2116"/>
                      </a:xfrm>
                      <a:prstGeom prst="rect">
                        <a:avLst/>
                      </a:prstGeom>
                    </p:spPr>
                  </p:pic>
                </p:oleObj>
              </mc:Fallback>
            </mc:AlternateContent>
          </a:graphicData>
        </a:graphic>
      </p:graphicFrame>
      <p:sp>
        <p:nvSpPr>
          <p:cNvPr id="3" name="Rectangle 2" hidden="1"/>
          <p:cNvSpPr/>
          <p:nvPr userDrawn="1">
            <p:custDataLst>
              <p:tags r:id="rId3"/>
            </p:custDataLst>
          </p:nvPr>
        </p:nvSpPr>
        <p:spPr bwMode="auto">
          <a:xfrm>
            <a:off x="1" y="0"/>
            <a:ext cx="195385" cy="158750"/>
          </a:xfrm>
          <a:prstGeom prst="rect">
            <a:avLst/>
          </a:prstGeom>
          <a:solidFill>
            <a:srgbClr val="FFFFFF"/>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23" rtl="0" eaLnBrk="1" latinLnBrk="0" hangingPunct="1">
              <a:lnSpc>
                <a:spcPct val="100000"/>
              </a:lnSpc>
              <a:spcBef>
                <a:spcPct val="0"/>
              </a:spcBef>
              <a:spcAft>
                <a:spcPct val="0"/>
              </a:spcAft>
              <a:buNone/>
            </a:pPr>
            <a:endParaRPr lang="en-US" sz="4201" b="0" i="0" kern="1200" baseline="0" dirty="0">
              <a:solidFill>
                <a:schemeClr val="tx1"/>
              </a:solidFill>
              <a:latin typeface="Lato Light" panose="020F0302020204030203"/>
              <a:ea typeface="+mj-ea"/>
              <a:cs typeface="Arial" panose="020B0604020202020204" pitchFamily="34" charset="0"/>
              <a:sym typeface="Lato Light" panose="020F0302020204030203"/>
            </a:endParaRPr>
          </a:p>
        </p:txBody>
      </p:sp>
      <p:sp>
        <p:nvSpPr>
          <p:cNvPr id="13" name="Rectangle 12"/>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sp>
        <p:nvSpPr>
          <p:cNvPr id="14" name="Text Placeholder 6"/>
          <p:cNvSpPr>
            <a:spLocks noGrp="1"/>
          </p:cNvSpPr>
          <p:nvPr>
            <p:ph type="body" sz="quarter" idx="14" hasCustomPrompt="1"/>
          </p:nvPr>
        </p:nvSpPr>
        <p:spPr>
          <a:xfrm>
            <a:off x="943691" y="6377453"/>
            <a:ext cx="8059634" cy="308033"/>
          </a:xfrm>
        </p:spPr>
        <p:txBody>
          <a:bodyPr wrap="square" anchor="b">
            <a:spAutoFit/>
          </a:bodyPr>
          <a:lstStyle>
            <a:lvl1pPr marL="0" indent="0">
              <a:buNone/>
              <a:defRPr sz="1001" baseline="0">
                <a:solidFill>
                  <a:srgbClr val="606060"/>
                </a:solidFill>
              </a:defRPr>
            </a:lvl1pPr>
          </a:lstStyle>
          <a:p>
            <a:pPr lvl="0"/>
            <a:r>
              <a:rPr lang="en-US" dirty="0"/>
              <a:t>This space is reserved for footnotes and sources only, and cannot be expanded beyond its current size.                                        Source: [Author/Publisher Name], [Report Name], [Year]</a:t>
            </a:r>
          </a:p>
        </p:txBody>
      </p:sp>
      <p:sp>
        <p:nvSpPr>
          <p:cNvPr id="20" name="Text Placeholder 6">
            <a:extLst>
              <a:ext uri="{FF2B5EF4-FFF2-40B4-BE49-F238E27FC236}">
                <a16:creationId xmlns:a16="http://schemas.microsoft.com/office/drawing/2014/main" id="{55EAF43E-BB4E-494E-9B58-0B592AF0D603}"/>
              </a:ext>
            </a:extLst>
          </p:cNvPr>
          <p:cNvSpPr>
            <a:spLocks noGrp="1"/>
          </p:cNvSpPr>
          <p:nvPr>
            <p:ph type="body" sz="quarter" idx="17" hasCustomPrompt="1"/>
          </p:nvPr>
        </p:nvSpPr>
        <p:spPr>
          <a:xfrm>
            <a:off x="80277" y="399740"/>
            <a:ext cx="468922" cy="184666"/>
          </a:xfrm>
        </p:spPr>
        <p:txBody>
          <a:bodyPr wrap="square" anchor="ctr">
            <a:spAutoFit/>
          </a:bodyPr>
          <a:lstStyle>
            <a:lvl1pPr marL="0" indent="0" algn="ctr">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dirty="0"/>
              <a:t>Text</a:t>
            </a:r>
          </a:p>
        </p:txBody>
      </p:sp>
      <p:sp>
        <p:nvSpPr>
          <p:cNvPr id="27" name="Title 1">
            <a:extLst>
              <a:ext uri="{FF2B5EF4-FFF2-40B4-BE49-F238E27FC236}">
                <a16:creationId xmlns:a16="http://schemas.microsoft.com/office/drawing/2014/main" id="{E3A34FF9-FE1C-45B0-AC0A-E8766416FD34}"/>
              </a:ext>
            </a:extLst>
          </p:cNvPr>
          <p:cNvSpPr>
            <a:spLocks noGrp="1"/>
          </p:cNvSpPr>
          <p:nvPr userDrawn="1">
            <p:ph type="title" hasCustomPrompt="1"/>
          </p:nvPr>
        </p:nvSpPr>
        <p:spPr>
          <a:xfrm>
            <a:off x="943690" y="189164"/>
            <a:ext cx="10621127" cy="646459"/>
          </a:xfrm>
          <a:prstGeom prst="rect">
            <a:avLst/>
          </a:prstGeom>
        </p:spPr>
        <p:txBody>
          <a:bodyPr wrap="square">
            <a:spAutoFit/>
          </a:bodyPr>
          <a:lstStyle>
            <a:lvl1pPr>
              <a:defRPr sz="4201" b="0" i="0" baseline="0">
                <a:solidFill>
                  <a:srgbClr val="881946"/>
                </a:solidFill>
                <a:latin typeface="Lato Light" panose="020F0302020204030203" pitchFamily="34" charset="77"/>
              </a:defRPr>
            </a:lvl1pPr>
          </a:lstStyle>
          <a:p>
            <a:r>
              <a:rPr lang="en-US" dirty="0"/>
              <a:t>Headline </a:t>
            </a:r>
            <a:r>
              <a:rPr lang="en-US" dirty="0" err="1"/>
              <a:t>Lato</a:t>
            </a:r>
            <a:r>
              <a:rPr lang="en-US" dirty="0"/>
              <a:t> Light 42pt</a:t>
            </a:r>
          </a:p>
        </p:txBody>
      </p:sp>
      <p:sp>
        <p:nvSpPr>
          <p:cNvPr id="28" name="Text Placeholder 2">
            <a:extLst>
              <a:ext uri="{FF2B5EF4-FFF2-40B4-BE49-F238E27FC236}">
                <a16:creationId xmlns:a16="http://schemas.microsoft.com/office/drawing/2014/main" id="{67017454-FDF7-4B29-BC70-9D439588261B}"/>
              </a:ext>
            </a:extLst>
          </p:cNvPr>
          <p:cNvSpPr>
            <a:spLocks noGrp="1"/>
          </p:cNvSpPr>
          <p:nvPr userDrawn="1">
            <p:ph idx="1" hasCustomPrompt="1"/>
          </p:nvPr>
        </p:nvSpPr>
        <p:spPr bwMode="gray">
          <a:xfrm>
            <a:off x="943690" y="1257300"/>
            <a:ext cx="10621127" cy="5067300"/>
          </a:xfrm>
          <a:prstGeom prst="rect">
            <a:avLst/>
          </a:prstGeom>
        </p:spPr>
        <p:txBody>
          <a:bodyPr vert="horz" wrap="square" lIns="0" tIns="0" rIns="0" bIns="0" rtlCol="0">
            <a:noAutofit/>
          </a:bodyPr>
          <a:lstStyle>
            <a:lvl1pPr marL="0" indent="0">
              <a:spcAft>
                <a:spcPts val="1477"/>
              </a:spcAft>
              <a:buFont typeface="Arial" panose="020B0604020202020204" pitchFamily="34" charset="0"/>
              <a:buNone/>
              <a:defRPr b="0" i="0">
                <a:solidFill>
                  <a:srgbClr val="606060"/>
                </a:solidFill>
                <a:latin typeface="Lato Light" panose="020F0302020204030203" pitchFamily="34" charset="77"/>
              </a:defRPr>
            </a:lvl1pPr>
            <a:lvl2pPr>
              <a:defRPr b="0" i="0">
                <a:latin typeface="Lato Light" panose="020F0302020204030203" pitchFamily="34" charset="77"/>
              </a:defRPr>
            </a:lvl2pPr>
            <a:lvl3pPr>
              <a:defRPr b="0" i="0">
                <a:latin typeface="Lato Light" panose="020F0302020204030203" pitchFamily="34" charset="77"/>
              </a:defRPr>
            </a:lvl3pPr>
            <a:lvl4pPr>
              <a:defRPr b="0" i="0">
                <a:latin typeface="Lato Light" panose="020F0302020204030203" pitchFamily="34" charset="77"/>
              </a:defRPr>
            </a:lvl4pPr>
            <a:lvl5pPr>
              <a:defRPr b="0" i="0">
                <a:latin typeface="Lato Light" panose="020F0302020204030203" pitchFamily="34" charset="77"/>
              </a:defRPr>
            </a:lvl5pPr>
          </a:lstStyle>
          <a:p>
            <a:pPr>
              <a:spcAft>
                <a:spcPts val="1200"/>
              </a:spcAft>
            </a:pPr>
            <a:r>
              <a:rPr lang="en-US" sz="1600" spc="300" dirty="0">
                <a:solidFill>
                  <a:srgbClr val="0889A8"/>
                </a:solidFill>
                <a:latin typeface="Lato" charset="0"/>
                <a:ea typeface="Lato" charset="0"/>
                <a:cs typeface="Lato" charset="0"/>
              </a:rPr>
              <a:t>TITLE LATO REGULAR 16pt ALL CAPS LOOSE CHARACTER SPACING</a:t>
            </a:r>
            <a:endParaRPr lang="en-US" sz="1600" i="1" spc="300" dirty="0">
              <a:latin typeface="Lato" charset="0"/>
              <a:ea typeface="Lato Light" charset="0"/>
              <a:cs typeface="Lato Light" charset="0"/>
            </a:endParaRPr>
          </a:p>
          <a:p>
            <a:r>
              <a:rPr lang="en-US" sz="1600" dirty="0">
                <a:solidFill>
                  <a:srgbClr val="918A87"/>
                </a:solidFill>
                <a:latin typeface="Lato Light" panose="020F0302020204030203" pitchFamily="34" charset="77"/>
                <a:ea typeface="Lato" charset="0"/>
                <a:cs typeface="Lato" charset="0"/>
              </a:rPr>
              <a:t>Body </a:t>
            </a:r>
            <a:r>
              <a:rPr lang="en-US" sz="1600" dirty="0" err="1">
                <a:solidFill>
                  <a:srgbClr val="918A87"/>
                </a:solidFill>
                <a:latin typeface="Lato Light" panose="020F0302020204030203" pitchFamily="34" charset="77"/>
                <a:ea typeface="Lato" charset="0"/>
                <a:cs typeface="Lato" charset="0"/>
              </a:rPr>
              <a:t>Lato</a:t>
            </a:r>
            <a:r>
              <a:rPr lang="en-US" sz="1600" dirty="0">
                <a:solidFill>
                  <a:srgbClr val="918A87"/>
                </a:solidFill>
                <a:latin typeface="Lato Light" panose="020F0302020204030203" pitchFamily="34" charset="77"/>
                <a:ea typeface="Lato" charset="0"/>
                <a:cs typeface="Lato" charset="0"/>
              </a:rPr>
              <a:t> Light 16pt</a:t>
            </a:r>
          </a:p>
        </p:txBody>
      </p:sp>
      <p:sp>
        <p:nvSpPr>
          <p:cNvPr id="17" name="Slide Number Placeholder 5">
            <a:extLst>
              <a:ext uri="{FF2B5EF4-FFF2-40B4-BE49-F238E27FC236}">
                <a16:creationId xmlns:a16="http://schemas.microsoft.com/office/drawing/2014/main" id="{D6453A6A-332D-4471-B678-0459D360A441}"/>
              </a:ext>
            </a:extLst>
          </p:cNvPr>
          <p:cNvSpPr>
            <a:spLocks noGrp="1"/>
          </p:cNvSpPr>
          <p:nvPr userDrawn="1">
            <p:ph type="sldNum" sz="quarter" idx="4"/>
          </p:nvPr>
        </p:nvSpPr>
        <p:spPr bwMode="gray">
          <a:xfrm>
            <a:off x="11743978" y="6529802"/>
            <a:ext cx="280034" cy="154017"/>
          </a:xfrm>
          <a:prstGeom prst="rect">
            <a:avLst/>
          </a:prstGeom>
          <a:noFill/>
        </p:spPr>
        <p:txBody>
          <a:bodyPr vert="horz" wrap="square" lIns="0" tIns="0" rIns="0" bIns="0" rtlCol="0" anchor="ctr">
            <a:spAutoFit/>
          </a:bodyPr>
          <a:lstStyle>
            <a:lvl1pPr algn="ctr">
              <a:defRPr sz="1001">
                <a:solidFill>
                  <a:schemeClr val="tx1"/>
                </a:solidFill>
                <a:latin typeface="Lato" panose="020F0502020204030203" pitchFamily="34" charset="0"/>
                <a:cs typeface="Arial" pitchFamily="34" charset="0"/>
              </a:defRPr>
            </a:lvl1pPr>
          </a:lstStyle>
          <a:p>
            <a:fld id="{A90607E6-BCED-4FC1-A345-AB2A307AB80F}" type="slidenum">
              <a:rPr lang="en-US" smtClean="0"/>
              <a:pPr/>
              <a:t>‹#›</a:t>
            </a:fld>
            <a:endParaRPr lang="en-US" dirty="0"/>
          </a:p>
        </p:txBody>
      </p:sp>
      <p:grpSp>
        <p:nvGrpSpPr>
          <p:cNvPr id="18" name="Group 17">
            <a:extLst>
              <a:ext uri="{FF2B5EF4-FFF2-40B4-BE49-F238E27FC236}">
                <a16:creationId xmlns:a16="http://schemas.microsoft.com/office/drawing/2014/main" id="{1D95F290-7B2F-4C30-B909-1020451F9B3D}"/>
              </a:ext>
            </a:extLst>
          </p:cNvPr>
          <p:cNvGrpSpPr/>
          <p:nvPr userDrawn="1"/>
        </p:nvGrpSpPr>
        <p:grpSpPr>
          <a:xfrm>
            <a:off x="9403474" y="6359076"/>
            <a:ext cx="2186354" cy="498924"/>
            <a:chOff x="6861587" y="6359076"/>
            <a:chExt cx="1776413" cy="498924"/>
          </a:xfrm>
        </p:grpSpPr>
        <p:sp>
          <p:nvSpPr>
            <p:cNvPr id="19" name="Rectangle 18">
              <a:extLst>
                <a:ext uri="{FF2B5EF4-FFF2-40B4-BE49-F238E27FC236}">
                  <a16:creationId xmlns:a16="http://schemas.microsoft.com/office/drawing/2014/main" id="{6AAFA7B0-C4B9-4EB5-B36A-77E61F925A55}"/>
                </a:ext>
              </a:extLst>
            </p:cNvPr>
            <p:cNvSpPr>
              <a:spLocks/>
            </p:cNvSpPr>
            <p:nvPr userDrawn="1"/>
          </p:nvSpPr>
          <p:spPr>
            <a:xfrm>
              <a:off x="6861587" y="6359076"/>
              <a:ext cx="1776413"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pic>
          <p:nvPicPr>
            <p:cNvPr id="23" name="Picture 22" descr="A picture containing clipart&#10;&#10;Description generated with very high confidence">
              <a:extLst>
                <a:ext uri="{FF2B5EF4-FFF2-40B4-BE49-F238E27FC236}">
                  <a16:creationId xmlns:a16="http://schemas.microsoft.com/office/drawing/2014/main" id="{88649688-B89C-4E24-ADA8-6CDEB0E63BDD}"/>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6979339" y="6486052"/>
              <a:ext cx="789308" cy="273890"/>
            </a:xfrm>
            <a:prstGeom prst="rect">
              <a:avLst/>
            </a:prstGeom>
          </p:spPr>
        </p:pic>
      </p:grpSp>
      <p:pic>
        <p:nvPicPr>
          <p:cNvPr id="15" name="Picture 14">
            <a:extLst>
              <a:ext uri="{FF2B5EF4-FFF2-40B4-BE49-F238E27FC236}">
                <a16:creationId xmlns:a16="http://schemas.microsoft.com/office/drawing/2014/main" id="{B10B8C59-F800-49FE-AE2C-9B360EF55ED6}"/>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497412" y="6470135"/>
            <a:ext cx="1285636" cy="261145"/>
          </a:xfrm>
          <a:prstGeom prst="rect">
            <a:avLst/>
          </a:prstGeom>
        </p:spPr>
      </p:pic>
    </p:spTree>
    <p:extLst>
      <p:ext uri="{BB962C8B-B14F-4D97-AF65-F5344CB8AC3E}">
        <p14:creationId xmlns:p14="http://schemas.microsoft.com/office/powerpoint/2010/main" val="350042213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oard logo multiple businesse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436000727"/>
              </p:ext>
            </p:extLst>
          </p:nvPr>
        </p:nvGraphicFramePr>
        <p:xfrm>
          <a:off x="2121" y="2118"/>
          <a:ext cx="2116" cy="2116"/>
        </p:xfrm>
        <a:graphic>
          <a:graphicData uri="http://schemas.openxmlformats.org/presentationml/2006/ole">
            <mc:AlternateContent xmlns:mc="http://schemas.openxmlformats.org/markup-compatibility/2006">
              <mc:Choice xmlns:v="urn:schemas-microsoft-com:vml" Requires="v">
                <p:oleObj spid="_x0000_s381318" name="think-cell Slide" r:id="rId5" imgW="383" imgH="385" progId="TCLayout.ActiveDocument.1">
                  <p:embed/>
                </p:oleObj>
              </mc:Choice>
              <mc:Fallback>
                <p:oleObj name="think-cell Slide" r:id="rId5" imgW="383" imgH="385" progId="TCLayout.ActiveDocument.1">
                  <p:embed/>
                  <p:pic>
                    <p:nvPicPr>
                      <p:cNvPr id="6" name="Object 5" hidden="1"/>
                      <p:cNvPicPr/>
                      <p:nvPr/>
                    </p:nvPicPr>
                    <p:blipFill>
                      <a:blip r:embed="rId6"/>
                      <a:stretch>
                        <a:fillRect/>
                      </a:stretch>
                    </p:blipFill>
                    <p:spPr>
                      <a:xfrm>
                        <a:off x="2121" y="2118"/>
                        <a:ext cx="2116" cy="2116"/>
                      </a:xfrm>
                      <a:prstGeom prst="rect">
                        <a:avLst/>
                      </a:prstGeom>
                    </p:spPr>
                  </p:pic>
                </p:oleObj>
              </mc:Fallback>
            </mc:AlternateContent>
          </a:graphicData>
        </a:graphic>
      </p:graphicFrame>
      <p:sp>
        <p:nvSpPr>
          <p:cNvPr id="3" name="Rectangle 2" hidden="1"/>
          <p:cNvSpPr/>
          <p:nvPr userDrawn="1">
            <p:custDataLst>
              <p:tags r:id="rId3"/>
            </p:custDataLst>
          </p:nvPr>
        </p:nvSpPr>
        <p:spPr bwMode="auto">
          <a:xfrm>
            <a:off x="1" y="0"/>
            <a:ext cx="195385" cy="158750"/>
          </a:xfrm>
          <a:prstGeom prst="rect">
            <a:avLst/>
          </a:prstGeom>
          <a:solidFill>
            <a:srgbClr val="FFFFFF"/>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23" rtl="0" eaLnBrk="1" latinLnBrk="0" hangingPunct="1">
              <a:lnSpc>
                <a:spcPct val="100000"/>
              </a:lnSpc>
              <a:spcBef>
                <a:spcPct val="0"/>
              </a:spcBef>
              <a:spcAft>
                <a:spcPct val="0"/>
              </a:spcAft>
              <a:buNone/>
            </a:pPr>
            <a:endParaRPr lang="en-US" sz="4201" b="0" i="0" kern="1200" baseline="0" dirty="0">
              <a:solidFill>
                <a:schemeClr val="tx1"/>
              </a:solidFill>
              <a:latin typeface="Lato Light" panose="020F0302020204030203"/>
              <a:ea typeface="+mj-ea"/>
              <a:cs typeface="Arial" panose="020B0604020202020204" pitchFamily="34" charset="0"/>
              <a:sym typeface="Lato Light" panose="020F0302020204030203"/>
            </a:endParaRPr>
          </a:p>
        </p:txBody>
      </p:sp>
      <p:sp>
        <p:nvSpPr>
          <p:cNvPr id="13" name="Rectangle 12"/>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sp>
        <p:nvSpPr>
          <p:cNvPr id="14" name="Text Placeholder 6"/>
          <p:cNvSpPr>
            <a:spLocks noGrp="1"/>
          </p:cNvSpPr>
          <p:nvPr>
            <p:ph type="body" sz="quarter" idx="14" hasCustomPrompt="1"/>
          </p:nvPr>
        </p:nvSpPr>
        <p:spPr>
          <a:xfrm>
            <a:off x="943691" y="6377453"/>
            <a:ext cx="8059634" cy="308033"/>
          </a:xfrm>
        </p:spPr>
        <p:txBody>
          <a:bodyPr wrap="square" anchor="b">
            <a:spAutoFit/>
          </a:bodyPr>
          <a:lstStyle>
            <a:lvl1pPr marL="0" indent="0">
              <a:buNone/>
              <a:defRPr sz="1001" baseline="0">
                <a:solidFill>
                  <a:srgbClr val="606060"/>
                </a:solidFill>
              </a:defRPr>
            </a:lvl1pPr>
          </a:lstStyle>
          <a:p>
            <a:pPr lvl="0"/>
            <a:r>
              <a:rPr lang="en-US" dirty="0"/>
              <a:t>This space is reserved for footnotes and sources only, and cannot be expanded beyond its current size.                                        Source: [Author/Publisher Name], [Report Name], [Year]</a:t>
            </a:r>
          </a:p>
        </p:txBody>
      </p:sp>
      <p:sp>
        <p:nvSpPr>
          <p:cNvPr id="20" name="Text Placeholder 6">
            <a:extLst>
              <a:ext uri="{FF2B5EF4-FFF2-40B4-BE49-F238E27FC236}">
                <a16:creationId xmlns:a16="http://schemas.microsoft.com/office/drawing/2014/main" id="{55EAF43E-BB4E-494E-9B58-0B592AF0D603}"/>
              </a:ext>
            </a:extLst>
          </p:cNvPr>
          <p:cNvSpPr>
            <a:spLocks noGrp="1"/>
          </p:cNvSpPr>
          <p:nvPr>
            <p:ph type="body" sz="quarter" idx="17" hasCustomPrompt="1"/>
          </p:nvPr>
        </p:nvSpPr>
        <p:spPr>
          <a:xfrm>
            <a:off x="80277" y="399740"/>
            <a:ext cx="468922" cy="184666"/>
          </a:xfrm>
        </p:spPr>
        <p:txBody>
          <a:bodyPr wrap="square" anchor="ctr">
            <a:spAutoFit/>
          </a:bodyPr>
          <a:lstStyle>
            <a:lvl1pPr marL="0" indent="0" algn="ctr">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dirty="0"/>
              <a:t>Text</a:t>
            </a:r>
          </a:p>
        </p:txBody>
      </p:sp>
      <p:sp>
        <p:nvSpPr>
          <p:cNvPr id="33" name="Title 1">
            <a:extLst>
              <a:ext uri="{FF2B5EF4-FFF2-40B4-BE49-F238E27FC236}">
                <a16:creationId xmlns:a16="http://schemas.microsoft.com/office/drawing/2014/main" id="{B89E9EA9-B4A0-43F0-A5C0-96D7006A179D}"/>
              </a:ext>
            </a:extLst>
          </p:cNvPr>
          <p:cNvSpPr>
            <a:spLocks noGrp="1"/>
          </p:cNvSpPr>
          <p:nvPr>
            <p:ph type="title" hasCustomPrompt="1"/>
          </p:nvPr>
        </p:nvSpPr>
        <p:spPr>
          <a:xfrm>
            <a:off x="943690" y="189164"/>
            <a:ext cx="10621127" cy="646459"/>
          </a:xfrm>
          <a:prstGeom prst="rect">
            <a:avLst/>
          </a:prstGeom>
        </p:spPr>
        <p:txBody>
          <a:bodyPr wrap="square">
            <a:spAutoFit/>
          </a:bodyPr>
          <a:lstStyle>
            <a:lvl1pPr>
              <a:defRPr sz="4201" b="0" i="0" baseline="0">
                <a:solidFill>
                  <a:srgbClr val="881946"/>
                </a:solidFill>
                <a:latin typeface="Lato Light" panose="020F0302020204030203" pitchFamily="34" charset="77"/>
              </a:defRPr>
            </a:lvl1pPr>
          </a:lstStyle>
          <a:p>
            <a:r>
              <a:rPr lang="en-US" dirty="0"/>
              <a:t>Headline </a:t>
            </a:r>
            <a:r>
              <a:rPr lang="en-US" dirty="0" err="1"/>
              <a:t>Lato</a:t>
            </a:r>
            <a:r>
              <a:rPr lang="en-US" dirty="0"/>
              <a:t> Light 42pt</a:t>
            </a:r>
          </a:p>
        </p:txBody>
      </p:sp>
      <p:sp>
        <p:nvSpPr>
          <p:cNvPr id="34" name="Text Placeholder 2">
            <a:extLst>
              <a:ext uri="{FF2B5EF4-FFF2-40B4-BE49-F238E27FC236}">
                <a16:creationId xmlns:a16="http://schemas.microsoft.com/office/drawing/2014/main" id="{7429C279-A679-4C75-A07B-63CFCC27FAB4}"/>
              </a:ext>
            </a:extLst>
          </p:cNvPr>
          <p:cNvSpPr>
            <a:spLocks noGrp="1"/>
          </p:cNvSpPr>
          <p:nvPr>
            <p:ph idx="1" hasCustomPrompt="1"/>
          </p:nvPr>
        </p:nvSpPr>
        <p:spPr bwMode="gray">
          <a:xfrm>
            <a:off x="943690" y="1257300"/>
            <a:ext cx="10621127" cy="5067300"/>
          </a:xfrm>
          <a:prstGeom prst="rect">
            <a:avLst/>
          </a:prstGeom>
        </p:spPr>
        <p:txBody>
          <a:bodyPr vert="horz" wrap="square" lIns="0" tIns="0" rIns="0" bIns="0" rtlCol="0">
            <a:noAutofit/>
          </a:bodyPr>
          <a:lstStyle>
            <a:lvl1pPr marL="0" indent="0">
              <a:spcAft>
                <a:spcPts val="1477"/>
              </a:spcAft>
              <a:buFont typeface="Arial" panose="020B0604020202020204" pitchFamily="34" charset="0"/>
              <a:buNone/>
              <a:defRPr b="0" i="0">
                <a:solidFill>
                  <a:srgbClr val="606060"/>
                </a:solidFill>
                <a:latin typeface="Lato Light" panose="020F0302020204030203" pitchFamily="34" charset="77"/>
              </a:defRPr>
            </a:lvl1pPr>
            <a:lvl2pPr>
              <a:defRPr b="0" i="0">
                <a:latin typeface="Lato Light" panose="020F0302020204030203" pitchFamily="34" charset="77"/>
              </a:defRPr>
            </a:lvl2pPr>
            <a:lvl3pPr>
              <a:defRPr b="0" i="0">
                <a:latin typeface="Lato Light" panose="020F0302020204030203" pitchFamily="34" charset="77"/>
              </a:defRPr>
            </a:lvl3pPr>
            <a:lvl4pPr>
              <a:defRPr b="0" i="0">
                <a:latin typeface="Lato Light" panose="020F0302020204030203" pitchFamily="34" charset="77"/>
              </a:defRPr>
            </a:lvl4pPr>
            <a:lvl5pPr>
              <a:defRPr b="0" i="0">
                <a:latin typeface="Lato Light" panose="020F0302020204030203" pitchFamily="34" charset="77"/>
              </a:defRPr>
            </a:lvl5pPr>
          </a:lstStyle>
          <a:p>
            <a:pPr>
              <a:spcAft>
                <a:spcPts val="1200"/>
              </a:spcAft>
            </a:pPr>
            <a:r>
              <a:rPr lang="en-US" sz="1600" spc="300" dirty="0">
                <a:solidFill>
                  <a:srgbClr val="0889A8"/>
                </a:solidFill>
                <a:latin typeface="Lato" charset="0"/>
                <a:ea typeface="Lato" charset="0"/>
                <a:cs typeface="Lato" charset="0"/>
              </a:rPr>
              <a:t>TITLE LATO REGULAR 16pt ALL CAPS LOOSE CHARACTER SPACING</a:t>
            </a:r>
            <a:endParaRPr lang="en-US" sz="1600" i="1" spc="300" dirty="0">
              <a:latin typeface="Lato" charset="0"/>
              <a:ea typeface="Lato Light" charset="0"/>
              <a:cs typeface="Lato Light" charset="0"/>
            </a:endParaRPr>
          </a:p>
          <a:p>
            <a:r>
              <a:rPr lang="en-US" sz="1600" dirty="0">
                <a:solidFill>
                  <a:srgbClr val="918A87"/>
                </a:solidFill>
                <a:latin typeface="Lato Light" panose="020F0302020204030203" pitchFamily="34" charset="77"/>
                <a:ea typeface="Lato" charset="0"/>
                <a:cs typeface="Lato" charset="0"/>
              </a:rPr>
              <a:t>Body </a:t>
            </a:r>
            <a:r>
              <a:rPr lang="en-US" sz="1600" dirty="0" err="1">
                <a:solidFill>
                  <a:srgbClr val="918A87"/>
                </a:solidFill>
                <a:latin typeface="Lato Light" panose="020F0302020204030203" pitchFamily="34" charset="77"/>
                <a:ea typeface="Lato" charset="0"/>
                <a:cs typeface="Lato" charset="0"/>
              </a:rPr>
              <a:t>Lato</a:t>
            </a:r>
            <a:r>
              <a:rPr lang="en-US" sz="1600" dirty="0">
                <a:solidFill>
                  <a:srgbClr val="918A87"/>
                </a:solidFill>
                <a:latin typeface="Lato Light" panose="020F0302020204030203" pitchFamily="34" charset="77"/>
                <a:ea typeface="Lato" charset="0"/>
                <a:cs typeface="Lato" charset="0"/>
              </a:rPr>
              <a:t> Light 16pt</a:t>
            </a:r>
          </a:p>
        </p:txBody>
      </p:sp>
      <p:sp>
        <p:nvSpPr>
          <p:cNvPr id="7" name="Text Placeholder 6">
            <a:extLst>
              <a:ext uri="{FF2B5EF4-FFF2-40B4-BE49-F238E27FC236}">
                <a16:creationId xmlns:a16="http://schemas.microsoft.com/office/drawing/2014/main" id="{C411F9F9-46F1-4796-9AB6-FD1BB9B3BF95}"/>
              </a:ext>
            </a:extLst>
          </p:cNvPr>
          <p:cNvSpPr>
            <a:spLocks noGrp="1"/>
          </p:cNvSpPr>
          <p:nvPr>
            <p:ph type="body" sz="quarter" idx="18" hasCustomPrompt="1"/>
          </p:nvPr>
        </p:nvSpPr>
        <p:spPr>
          <a:xfrm>
            <a:off x="8270631" y="5442861"/>
            <a:ext cx="2977662" cy="654731"/>
          </a:xfrm>
          <a:prstGeom prst="wedgeRectCallout">
            <a:avLst>
              <a:gd name="adj1" fmla="val 21162"/>
              <a:gd name="adj2" fmla="val 67720"/>
            </a:avLst>
          </a:prstGeom>
        </p:spPr>
        <p:txBody>
          <a:bodyPr/>
          <a:lstStyle>
            <a:lvl1pPr marL="0" indent="0">
              <a:buNone/>
              <a:defRPr/>
            </a:lvl1pPr>
          </a:lstStyle>
          <a:p>
            <a:pPr lvl="0"/>
            <a:r>
              <a:rPr lang="en-US" dirty="0"/>
              <a:t>Delete businesses as necessary in the Master View </a:t>
            </a:r>
            <a:endParaRPr lang="en-ZA" dirty="0"/>
          </a:p>
        </p:txBody>
      </p:sp>
      <p:sp>
        <p:nvSpPr>
          <p:cNvPr id="19" name="Slide Number Placeholder 5">
            <a:extLst>
              <a:ext uri="{FF2B5EF4-FFF2-40B4-BE49-F238E27FC236}">
                <a16:creationId xmlns:a16="http://schemas.microsoft.com/office/drawing/2014/main" id="{F0F88CD9-D096-46EB-B781-CC57C486670E}"/>
              </a:ext>
            </a:extLst>
          </p:cNvPr>
          <p:cNvSpPr>
            <a:spLocks noGrp="1"/>
          </p:cNvSpPr>
          <p:nvPr>
            <p:ph type="sldNum" sz="quarter" idx="4"/>
          </p:nvPr>
        </p:nvSpPr>
        <p:spPr bwMode="gray">
          <a:xfrm>
            <a:off x="11743978" y="6529802"/>
            <a:ext cx="280034" cy="154017"/>
          </a:xfrm>
          <a:prstGeom prst="rect">
            <a:avLst/>
          </a:prstGeom>
          <a:noFill/>
        </p:spPr>
        <p:txBody>
          <a:bodyPr vert="horz" wrap="square" lIns="0" tIns="0" rIns="0" bIns="0" rtlCol="0" anchor="ctr">
            <a:spAutoFit/>
          </a:bodyPr>
          <a:lstStyle>
            <a:lvl1pPr algn="ctr">
              <a:defRPr sz="1001">
                <a:solidFill>
                  <a:schemeClr val="tx1"/>
                </a:solidFill>
                <a:latin typeface="Lato" panose="020F0502020204030203" pitchFamily="34" charset="0"/>
                <a:cs typeface="Arial" pitchFamily="34" charset="0"/>
              </a:defRPr>
            </a:lvl1pPr>
          </a:lstStyle>
          <a:p>
            <a:fld id="{A90607E6-BCED-4FC1-A345-AB2A307AB80F}" type="slidenum">
              <a:rPr lang="en-US" smtClean="0"/>
              <a:pPr/>
              <a:t>‹#›</a:t>
            </a:fld>
            <a:endParaRPr lang="en-US" dirty="0"/>
          </a:p>
        </p:txBody>
      </p:sp>
      <p:sp>
        <p:nvSpPr>
          <p:cNvPr id="22" name="Rectangle 21">
            <a:extLst>
              <a:ext uri="{FF2B5EF4-FFF2-40B4-BE49-F238E27FC236}">
                <a16:creationId xmlns:a16="http://schemas.microsoft.com/office/drawing/2014/main" id="{BF58A9F3-3462-482D-880C-33282FE6BE46}"/>
              </a:ext>
            </a:extLst>
          </p:cNvPr>
          <p:cNvSpPr>
            <a:spLocks/>
          </p:cNvSpPr>
          <p:nvPr userDrawn="1"/>
        </p:nvSpPr>
        <p:spPr>
          <a:xfrm>
            <a:off x="9486384" y="6359076"/>
            <a:ext cx="2139461" cy="823346"/>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pic>
        <p:nvPicPr>
          <p:cNvPr id="35" name="Picture 34" descr="A picture containing clipart&#10;&#10;Description generated with very high confidence">
            <a:extLst>
              <a:ext uri="{FF2B5EF4-FFF2-40B4-BE49-F238E27FC236}">
                <a16:creationId xmlns:a16="http://schemas.microsoft.com/office/drawing/2014/main" id="{239E0B48-FCC6-455E-BD58-9B11CADBE788}"/>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9591116" y="6486052"/>
            <a:ext cx="971456" cy="273890"/>
          </a:xfrm>
          <a:prstGeom prst="rect">
            <a:avLst/>
          </a:prstGeom>
        </p:spPr>
      </p:pic>
      <p:pic>
        <p:nvPicPr>
          <p:cNvPr id="21" name="Picture 20">
            <a:extLst>
              <a:ext uri="{FF2B5EF4-FFF2-40B4-BE49-F238E27FC236}">
                <a16:creationId xmlns:a16="http://schemas.microsoft.com/office/drawing/2014/main" id="{7EC57B48-A4D3-499C-AE4E-6AF7FABCD366}"/>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620554" y="7011746"/>
            <a:ext cx="840250" cy="170676"/>
          </a:xfrm>
          <a:prstGeom prst="rect">
            <a:avLst/>
          </a:prstGeom>
        </p:spPr>
      </p:pic>
      <p:pic>
        <p:nvPicPr>
          <p:cNvPr id="25" name="Picture 24">
            <a:extLst>
              <a:ext uri="{FF2B5EF4-FFF2-40B4-BE49-F238E27FC236}">
                <a16:creationId xmlns:a16="http://schemas.microsoft.com/office/drawing/2014/main" id="{81CF9642-2A9E-452E-B1C5-B1CEDB70A712}"/>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0620554" y="6636755"/>
            <a:ext cx="840250" cy="170676"/>
          </a:xfrm>
          <a:prstGeom prst="rect">
            <a:avLst/>
          </a:prstGeom>
        </p:spPr>
      </p:pic>
      <p:pic>
        <p:nvPicPr>
          <p:cNvPr id="26" name="Picture 25">
            <a:extLst>
              <a:ext uri="{FF2B5EF4-FFF2-40B4-BE49-F238E27FC236}">
                <a16:creationId xmlns:a16="http://schemas.microsoft.com/office/drawing/2014/main" id="{F5FF6C5B-82C1-4AEF-8214-5AF66605163C}"/>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0620554" y="6519172"/>
            <a:ext cx="840250" cy="170676"/>
          </a:xfrm>
          <a:prstGeom prst="rect">
            <a:avLst/>
          </a:prstGeom>
        </p:spPr>
      </p:pic>
      <p:pic>
        <p:nvPicPr>
          <p:cNvPr id="27" name="Picture 26">
            <a:extLst>
              <a:ext uri="{FF2B5EF4-FFF2-40B4-BE49-F238E27FC236}">
                <a16:creationId xmlns:a16="http://schemas.microsoft.com/office/drawing/2014/main" id="{05B8CF6F-1150-4AC1-B508-E9F1C649F922}"/>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10620554" y="6894380"/>
            <a:ext cx="840250" cy="170676"/>
          </a:xfrm>
          <a:prstGeom prst="rect">
            <a:avLst/>
          </a:prstGeom>
        </p:spPr>
      </p:pic>
      <p:pic>
        <p:nvPicPr>
          <p:cNvPr id="28" name="Picture 27">
            <a:extLst>
              <a:ext uri="{FF2B5EF4-FFF2-40B4-BE49-F238E27FC236}">
                <a16:creationId xmlns:a16="http://schemas.microsoft.com/office/drawing/2014/main" id="{1D0BCAD1-83B3-4DCA-953E-2B874F7A5986}"/>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10620554" y="6401589"/>
            <a:ext cx="840250" cy="170676"/>
          </a:xfrm>
          <a:prstGeom prst="rect">
            <a:avLst/>
          </a:prstGeom>
        </p:spPr>
      </p:pic>
    </p:spTree>
    <p:extLst>
      <p:ext uri="{BB962C8B-B14F-4D97-AF65-F5344CB8AC3E}">
        <p14:creationId xmlns:p14="http://schemas.microsoft.com/office/powerpoint/2010/main" val="4497189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blue_client logo">
    <p:bg>
      <p:bgPr>
        <a:solidFill>
          <a:schemeClr val="bg1"/>
        </a:solidFill>
        <a:effectLst/>
      </p:bgPr>
    </p:bg>
    <p:spTree>
      <p:nvGrpSpPr>
        <p:cNvPr id="1" name=""/>
        <p:cNvGrpSpPr/>
        <p:nvPr/>
      </p:nvGrpSpPr>
      <p:grpSpPr>
        <a:xfrm>
          <a:off x="0" y="0"/>
          <a:ext cx="0" cy="0"/>
          <a:chOff x="0" y="0"/>
          <a:chExt cx="0" cy="0"/>
        </a:xfrm>
      </p:grpSpPr>
      <p:pic>
        <p:nvPicPr>
          <p:cNvPr id="7" name="PHOTO">
            <a:extLst>
              <a:ext uri="{FF2B5EF4-FFF2-40B4-BE49-F238E27FC236}">
                <a16:creationId xmlns:a16="http://schemas.microsoft.com/office/drawing/2014/main" id="{DF6BBDFA-831E-294E-AE6C-3C15E63945CC}"/>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95A56A69-0F22-8E45-A819-2CCCFDD53A64}"/>
              </a:ext>
            </a:extLst>
          </p:cNvPr>
          <p:cNvSpPr/>
          <p:nvPr userDrawn="1"/>
        </p:nvSpPr>
        <p:spPr>
          <a:xfrm>
            <a:off x="0" y="3"/>
            <a:ext cx="12192000" cy="6858000"/>
          </a:xfrm>
          <a:prstGeom prst="rect">
            <a:avLst/>
          </a:prstGeom>
          <a:solidFill>
            <a:srgbClr val="0889A8">
              <a:alpha val="89804"/>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algn="l" defTabSz="914423" rtl="0" eaLnBrk="1" latinLnBrk="0" hangingPunct="1">
              <a:lnSpc>
                <a:spcPct val="100000"/>
              </a:lnSpc>
              <a:spcBef>
                <a:spcPts val="0"/>
              </a:spcBef>
            </a:pPr>
            <a:endParaRPr lang="en-US" sz="1600" kern="1200" dirty="0">
              <a:solidFill>
                <a:schemeClr val="tx1"/>
              </a:solidFill>
              <a:ea typeface="+mn-ea"/>
              <a:cs typeface="Arial" pitchFamily="34" charset="0"/>
            </a:endParaRPr>
          </a:p>
        </p:txBody>
      </p:sp>
      <p:sp>
        <p:nvSpPr>
          <p:cNvPr id="4" name="Rectangle 3">
            <a:extLst>
              <a:ext uri="{FF2B5EF4-FFF2-40B4-BE49-F238E27FC236}">
                <a16:creationId xmlns:a16="http://schemas.microsoft.com/office/drawing/2014/main" id="{5C85070F-B826-0945-8FE1-66C969558BFD}"/>
              </a:ext>
            </a:extLst>
          </p:cNvPr>
          <p:cNvSpPr/>
          <p:nvPr userDrawn="1"/>
        </p:nvSpPr>
        <p:spPr>
          <a:xfrm>
            <a:off x="0" y="6165851"/>
            <a:ext cx="12192000" cy="69215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algn="l" defTabSz="914423" rtl="0" eaLnBrk="1" latinLnBrk="0" hangingPunct="1">
              <a:lnSpc>
                <a:spcPct val="100000"/>
              </a:lnSpc>
              <a:spcBef>
                <a:spcPts val="0"/>
              </a:spcBef>
            </a:pPr>
            <a:endParaRPr lang="en-US" sz="1600" kern="1200" dirty="0">
              <a:solidFill>
                <a:schemeClr val="tx1"/>
              </a:solidFill>
              <a:ea typeface="+mn-ea"/>
              <a:cs typeface="Arial" pitchFamily="34" charset="0"/>
            </a:endParaRPr>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48885744"/>
              </p:ext>
            </p:extLst>
          </p:nvPr>
        </p:nvGraphicFramePr>
        <p:xfrm>
          <a:off x="5" y="6"/>
          <a:ext cx="211668" cy="158751"/>
        </p:xfrm>
        <a:graphic>
          <a:graphicData uri="http://schemas.openxmlformats.org/presentationml/2006/ole">
            <mc:AlternateContent xmlns:mc="http://schemas.openxmlformats.org/markup-compatibility/2006">
              <mc:Choice xmlns:v="urn:schemas-microsoft-com:vml" Requires="v">
                <p:oleObj spid="_x0000_s336347" name="think-cell Slide" r:id="rId5" imgW="383" imgH="385" progId="TCLayout.ActiveDocument.1">
                  <p:embed/>
                </p:oleObj>
              </mc:Choice>
              <mc:Fallback>
                <p:oleObj name="think-cell Slide" r:id="rId5" imgW="383" imgH="385" progId="TCLayout.ActiveDocument.1">
                  <p:embed/>
                  <p:pic>
                    <p:nvPicPr>
                      <p:cNvPr id="3" name="Object 2"/>
                      <p:cNvPicPr/>
                      <p:nvPr/>
                    </p:nvPicPr>
                    <p:blipFill>
                      <a:blip r:embed="rId6"/>
                      <a:stretch>
                        <a:fillRect/>
                      </a:stretch>
                    </p:blipFill>
                    <p:spPr>
                      <a:xfrm>
                        <a:off x="5" y="6"/>
                        <a:ext cx="211668" cy="158751"/>
                      </a:xfrm>
                      <a:prstGeom prst="rect">
                        <a:avLst/>
                      </a:prstGeom>
                    </p:spPr>
                  </p:pic>
                </p:oleObj>
              </mc:Fallback>
            </mc:AlternateContent>
          </a:graphicData>
        </a:graphic>
      </p:graphicFrame>
      <p:sp>
        <p:nvSpPr>
          <p:cNvPr id="25" name="Subtitle 2"/>
          <p:cNvSpPr>
            <a:spLocks noGrp="1"/>
          </p:cNvSpPr>
          <p:nvPr>
            <p:ph type="subTitle" idx="1" hasCustomPrompt="1"/>
          </p:nvPr>
        </p:nvSpPr>
        <p:spPr bwMode="gray">
          <a:xfrm>
            <a:off x="3481899" y="3505482"/>
            <a:ext cx="6564923" cy="215572"/>
          </a:xfrm>
        </p:spPr>
        <p:txBody>
          <a:bodyPr wrap="square" lIns="0" tIns="0" rIns="0" bIns="0" anchor="t">
            <a:spAutoFit/>
          </a:bodyPr>
          <a:lstStyle>
            <a:lvl1pPr marL="0" indent="0" algn="l">
              <a:spcAft>
                <a:spcPts val="0"/>
              </a:spcAft>
              <a:buNone/>
              <a:defRPr sz="1401" b="0" cap="all" spc="300" baseline="0">
                <a:solidFill>
                  <a:schemeClr val="bg1"/>
                </a:solidFill>
                <a:latin typeface="+mn-lt"/>
                <a:cs typeface="Arial" pitchFamily="34" charset="0"/>
              </a:defRPr>
            </a:lvl1pPr>
            <a:lvl2pPr marL="536447" indent="0" algn="ctr">
              <a:buNone/>
              <a:defRPr sz="2300"/>
            </a:lvl2pPr>
            <a:lvl3pPr marL="1072893" indent="0" algn="ctr">
              <a:buNone/>
              <a:defRPr sz="2100"/>
            </a:lvl3pPr>
            <a:lvl4pPr marL="1609339" indent="0" algn="ctr">
              <a:buNone/>
              <a:defRPr sz="1900"/>
            </a:lvl4pPr>
            <a:lvl5pPr marL="2145784" indent="0" algn="ctr">
              <a:buNone/>
              <a:defRPr sz="1900"/>
            </a:lvl5pPr>
            <a:lvl6pPr marL="2682231" indent="0" algn="ctr">
              <a:buNone/>
              <a:defRPr sz="1900"/>
            </a:lvl6pPr>
            <a:lvl7pPr marL="3218677" indent="0" algn="ctr">
              <a:buNone/>
              <a:defRPr sz="1900"/>
            </a:lvl7pPr>
            <a:lvl8pPr marL="3755123" indent="0" algn="ctr">
              <a:buNone/>
              <a:defRPr sz="1900"/>
            </a:lvl8pPr>
            <a:lvl9pPr marL="4291569" indent="0" algn="ctr">
              <a:buNone/>
              <a:defRPr sz="1900"/>
            </a:lvl9pPr>
          </a:lstStyle>
          <a:p>
            <a:r>
              <a:rPr lang="en-US" dirty="0"/>
              <a:t>Sub-title and date</a:t>
            </a:r>
          </a:p>
        </p:txBody>
      </p:sp>
      <p:sp>
        <p:nvSpPr>
          <p:cNvPr id="21" name="Text Placeholder 6"/>
          <p:cNvSpPr>
            <a:spLocks noGrp="1"/>
          </p:cNvSpPr>
          <p:nvPr>
            <p:ph type="body" sz="quarter" idx="18" hasCustomPrompt="1"/>
          </p:nvPr>
        </p:nvSpPr>
        <p:spPr>
          <a:xfrm>
            <a:off x="3481902" y="2269605"/>
            <a:ext cx="8082916" cy="646459"/>
          </a:xfrm>
        </p:spPr>
        <p:txBody>
          <a:bodyPr wrap="square" lIns="0" tIns="0" rIns="0" bIns="0" anchor="b">
            <a:spAutoFit/>
          </a:bodyPr>
          <a:lstStyle>
            <a:lvl1pPr marL="0" indent="0">
              <a:buFont typeface="Arial" panose="020B0604020202020204" pitchFamily="34" charset="0"/>
              <a:buNone/>
              <a:defRPr sz="4201" b="0" baseline="0">
                <a:solidFill>
                  <a:schemeClr val="bg1"/>
                </a:solidFill>
                <a:latin typeface="Lato Light" panose="020F0302020204030203" pitchFamily="34" charset="0"/>
              </a:defRPr>
            </a:lvl1pPr>
          </a:lstStyle>
          <a:p>
            <a:pPr lvl="0"/>
            <a:r>
              <a:rPr lang="en-US" dirty="0"/>
              <a:t>Title is </a:t>
            </a:r>
            <a:r>
              <a:rPr lang="en-US" dirty="0" err="1"/>
              <a:t>Lato</a:t>
            </a:r>
            <a:r>
              <a:rPr lang="en-US" dirty="0"/>
              <a:t> Light 42 point</a:t>
            </a:r>
          </a:p>
        </p:txBody>
      </p:sp>
      <p:sp>
        <p:nvSpPr>
          <p:cNvPr id="2" name="Rectangle 1"/>
          <p:cNvSpPr/>
          <p:nvPr userDrawn="1"/>
        </p:nvSpPr>
        <p:spPr>
          <a:xfrm>
            <a:off x="1" y="1373993"/>
            <a:ext cx="2250831" cy="3474237"/>
          </a:xfrm>
          <a:prstGeom prst="rect">
            <a:avLst/>
          </a:pr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30" indent="-174630" algn="l" defTabSz="914423" rtl="0" eaLnBrk="1" latinLnBrk="0" hangingPunct="1">
              <a:lnSpc>
                <a:spcPct val="100000"/>
              </a:lnSpc>
              <a:spcBef>
                <a:spcPts val="0"/>
              </a:spcBef>
              <a:buFont typeface="Arial" panose="020B0604020202020204" pitchFamily="34" charset="0"/>
              <a:buChar char="•"/>
            </a:pPr>
            <a:endParaRPr lang="en-US" sz="1600" kern="1200" dirty="0" err="1">
              <a:solidFill>
                <a:schemeClr val="tx1"/>
              </a:solidFill>
              <a:latin typeface="+mj-lt"/>
              <a:ea typeface="+mn-ea"/>
              <a:cs typeface="Arial" pitchFamily="34" charset="0"/>
            </a:endParaRPr>
          </a:p>
        </p:txBody>
      </p:sp>
      <p:cxnSp>
        <p:nvCxnSpPr>
          <p:cNvPr id="13" name="Line"/>
          <p:cNvCxnSpPr>
            <a:cxnSpLocks/>
          </p:cNvCxnSpPr>
          <p:nvPr userDrawn="1"/>
        </p:nvCxnSpPr>
        <p:spPr>
          <a:xfrm>
            <a:off x="3481899" y="3221788"/>
            <a:ext cx="562708" cy="0"/>
          </a:xfrm>
          <a:prstGeom prst="line">
            <a:avLst/>
          </a:prstGeom>
          <a:ln w="28575">
            <a:solidFill>
              <a:srgbClr val="881846"/>
            </a:solidFill>
          </a:ln>
        </p:spPr>
        <p:style>
          <a:lnRef idx="1">
            <a:schemeClr val="accent1"/>
          </a:lnRef>
          <a:fillRef idx="0">
            <a:schemeClr val="accent1"/>
          </a:fillRef>
          <a:effectRef idx="0">
            <a:schemeClr val="accent1"/>
          </a:effectRef>
          <a:fontRef idx="minor">
            <a:schemeClr val="tx1"/>
          </a:fontRef>
        </p:style>
      </p:cxnSp>
      <p:sp>
        <p:nvSpPr>
          <p:cNvPr id="41" name="Picture Placeholder 4"/>
          <p:cNvSpPr>
            <a:spLocks noGrp="1"/>
          </p:cNvSpPr>
          <p:nvPr>
            <p:ph type="pic" sz="quarter" idx="19" hasCustomPrompt="1"/>
          </p:nvPr>
        </p:nvSpPr>
        <p:spPr>
          <a:xfrm>
            <a:off x="4269588" y="6321805"/>
            <a:ext cx="3652828" cy="399402"/>
          </a:xfrm>
        </p:spPr>
        <p:txBody>
          <a:bodyPr anchor="ctr">
            <a:noAutofit/>
          </a:bodyPr>
          <a:lstStyle>
            <a:lvl1pPr marL="0" indent="0" algn="ctr">
              <a:buNone/>
              <a:defRPr>
                <a:solidFill>
                  <a:srgbClr val="606060"/>
                </a:solidFill>
              </a:defRPr>
            </a:lvl1pPr>
          </a:lstStyle>
          <a:p>
            <a:r>
              <a:rPr lang="en-US" dirty="0"/>
              <a:t>Add client logo</a:t>
            </a:r>
          </a:p>
        </p:txBody>
      </p:sp>
      <p:pic>
        <p:nvPicPr>
          <p:cNvPr id="14" name="Picture 13" descr="A picture containing clipart&#10;&#10;Description generated with very high confidence">
            <a:extLst>
              <a:ext uri="{FF2B5EF4-FFF2-40B4-BE49-F238E27FC236}">
                <a16:creationId xmlns:a16="http://schemas.microsoft.com/office/drawing/2014/main" id="{A799183C-5D1C-46B5-B4DA-ECBD443DEC9D}"/>
              </a:ext>
            </a:extLst>
          </p:cNvPr>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291240" y="2815276"/>
            <a:ext cx="1317631" cy="457200"/>
          </a:xfrm>
          <a:prstGeom prst="rect">
            <a:avLst/>
          </a:prstGeom>
        </p:spPr>
      </p:pic>
    </p:spTree>
    <p:extLst>
      <p:ext uri="{BB962C8B-B14F-4D97-AF65-F5344CB8AC3E}">
        <p14:creationId xmlns:p14="http://schemas.microsoft.com/office/powerpoint/2010/main" val="1591008866"/>
      </p:ext>
    </p:extLst>
  </p:cSld>
  <p:clrMapOvr>
    <a:masterClrMapping/>
  </p:clrMapOvr>
  <p:extLst>
    <p:ext uri="{DCECCB84-F9BA-43D5-87BE-67443E8EF086}">
      <p15:sldGuideLst xmlns:p15="http://schemas.microsoft.com/office/powerpoint/2012/main">
        <p15:guide id="1" pos="236" userDrawn="1">
          <p15:clr>
            <a:srgbClr val="FBAE40"/>
          </p15:clr>
        </p15:guide>
        <p15:guide id="2" orient="horz" pos="2106" userDrawn="1">
          <p15:clr>
            <a:srgbClr val="FBAE40"/>
          </p15:clr>
        </p15:guide>
        <p15:guide id="3" orient="horz" pos="1968" userDrawn="1">
          <p15:clr>
            <a:srgbClr val="FBAE40"/>
          </p15:clr>
        </p15:guide>
        <p15:guide id="4" pos="886" userDrawn="1">
          <p15:clr>
            <a:srgbClr val="FBAE40"/>
          </p15:clr>
        </p15:guide>
        <p15:guide id="5" orient="horz" pos="2376" userDrawn="1">
          <p15:clr>
            <a:srgbClr val="FBAE40"/>
          </p15:clr>
        </p15:guide>
        <p15:guide id="6" orient="horz" pos="2240" userDrawn="1">
          <p15:clr>
            <a:srgbClr val="FBAE40"/>
          </p15:clr>
        </p15:guide>
        <p15:guide id="7" orient="horz" pos="2510" userDrawn="1">
          <p15:clr>
            <a:srgbClr val="FBAE40"/>
          </p15:clr>
        </p15:guide>
        <p15:guide id="8" orient="horz" pos="2646"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grey_client logo">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5A56A69-0F22-8E45-A819-2CCCFDD53A64}"/>
              </a:ext>
            </a:extLst>
          </p:cNvPr>
          <p:cNvSpPr/>
          <p:nvPr userDrawn="1"/>
        </p:nvSpPr>
        <p:spPr>
          <a:xfrm>
            <a:off x="1150" y="3"/>
            <a:ext cx="12192000" cy="6858000"/>
          </a:xfrm>
          <a:prstGeom prst="rect">
            <a:avLst/>
          </a:prstGeom>
          <a:solidFill>
            <a:srgbClr val="918A87">
              <a:alpha val="89804"/>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algn="l" defTabSz="914423" rtl="0" eaLnBrk="1" latinLnBrk="0" hangingPunct="1">
              <a:lnSpc>
                <a:spcPct val="100000"/>
              </a:lnSpc>
              <a:spcBef>
                <a:spcPts val="0"/>
              </a:spcBef>
            </a:pPr>
            <a:endParaRPr lang="en-US" sz="1600" kern="1200" dirty="0">
              <a:solidFill>
                <a:schemeClr val="tx1"/>
              </a:solidFill>
              <a:ea typeface="+mn-ea"/>
              <a:cs typeface="Arial" pitchFamily="34" charset="0"/>
            </a:endParaRPr>
          </a:p>
        </p:txBody>
      </p:sp>
      <p:sp>
        <p:nvSpPr>
          <p:cNvPr id="4" name="Rectangle 3">
            <a:extLst>
              <a:ext uri="{FF2B5EF4-FFF2-40B4-BE49-F238E27FC236}">
                <a16:creationId xmlns:a16="http://schemas.microsoft.com/office/drawing/2014/main" id="{5C85070F-B826-0945-8FE1-66C969558BFD}"/>
              </a:ext>
            </a:extLst>
          </p:cNvPr>
          <p:cNvSpPr/>
          <p:nvPr userDrawn="1"/>
        </p:nvSpPr>
        <p:spPr>
          <a:xfrm>
            <a:off x="0" y="6165851"/>
            <a:ext cx="12192000" cy="69215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algn="l" defTabSz="914423" rtl="0" eaLnBrk="1" latinLnBrk="0" hangingPunct="1">
              <a:lnSpc>
                <a:spcPct val="100000"/>
              </a:lnSpc>
              <a:spcBef>
                <a:spcPts val="0"/>
              </a:spcBef>
            </a:pPr>
            <a:endParaRPr lang="en-US" sz="1600" kern="1200" dirty="0">
              <a:solidFill>
                <a:schemeClr val="tx1"/>
              </a:solidFill>
              <a:ea typeface="+mn-ea"/>
              <a:cs typeface="Arial" pitchFamily="34" charset="0"/>
            </a:endParaRPr>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89509894"/>
              </p:ext>
            </p:extLst>
          </p:nvPr>
        </p:nvGraphicFramePr>
        <p:xfrm>
          <a:off x="5" y="6"/>
          <a:ext cx="211668" cy="158751"/>
        </p:xfrm>
        <a:graphic>
          <a:graphicData uri="http://schemas.openxmlformats.org/presentationml/2006/ole">
            <mc:AlternateContent xmlns:mc="http://schemas.openxmlformats.org/markup-compatibility/2006">
              <mc:Choice xmlns:v="urn:schemas-microsoft-com:vml" Requires="v">
                <p:oleObj spid="_x0000_s362962" name="think-cell Slide" r:id="rId4" imgW="383" imgH="385" progId="TCLayout.ActiveDocument.1">
                  <p:embed/>
                </p:oleObj>
              </mc:Choice>
              <mc:Fallback>
                <p:oleObj name="think-cell Slide" r:id="rId4" imgW="383" imgH="385" progId="TCLayout.ActiveDocument.1">
                  <p:embed/>
                  <p:pic>
                    <p:nvPicPr>
                      <p:cNvPr id="3" name="Object 2"/>
                      <p:cNvPicPr/>
                      <p:nvPr/>
                    </p:nvPicPr>
                    <p:blipFill>
                      <a:blip r:embed="rId5"/>
                      <a:stretch>
                        <a:fillRect/>
                      </a:stretch>
                    </p:blipFill>
                    <p:spPr>
                      <a:xfrm>
                        <a:off x="5" y="6"/>
                        <a:ext cx="211668" cy="158751"/>
                      </a:xfrm>
                      <a:prstGeom prst="rect">
                        <a:avLst/>
                      </a:prstGeom>
                    </p:spPr>
                  </p:pic>
                </p:oleObj>
              </mc:Fallback>
            </mc:AlternateContent>
          </a:graphicData>
        </a:graphic>
      </p:graphicFrame>
      <p:sp>
        <p:nvSpPr>
          <p:cNvPr id="25" name="Subtitle 2"/>
          <p:cNvSpPr>
            <a:spLocks noGrp="1"/>
          </p:cNvSpPr>
          <p:nvPr>
            <p:ph type="subTitle" idx="1" hasCustomPrompt="1"/>
          </p:nvPr>
        </p:nvSpPr>
        <p:spPr bwMode="gray">
          <a:xfrm>
            <a:off x="3481899" y="3505482"/>
            <a:ext cx="6564923" cy="215572"/>
          </a:xfrm>
        </p:spPr>
        <p:txBody>
          <a:bodyPr wrap="square" lIns="0" tIns="0" rIns="0" bIns="0" anchor="t">
            <a:spAutoFit/>
          </a:bodyPr>
          <a:lstStyle>
            <a:lvl1pPr marL="0" indent="0" algn="l">
              <a:spcAft>
                <a:spcPts val="0"/>
              </a:spcAft>
              <a:buNone/>
              <a:defRPr sz="1401" b="0" cap="all" spc="300" baseline="0">
                <a:solidFill>
                  <a:schemeClr val="bg1"/>
                </a:solidFill>
                <a:latin typeface="+mn-lt"/>
                <a:cs typeface="Arial" pitchFamily="34" charset="0"/>
              </a:defRPr>
            </a:lvl1pPr>
            <a:lvl2pPr marL="536447" indent="0" algn="ctr">
              <a:buNone/>
              <a:defRPr sz="2300"/>
            </a:lvl2pPr>
            <a:lvl3pPr marL="1072893" indent="0" algn="ctr">
              <a:buNone/>
              <a:defRPr sz="2100"/>
            </a:lvl3pPr>
            <a:lvl4pPr marL="1609339" indent="0" algn="ctr">
              <a:buNone/>
              <a:defRPr sz="1900"/>
            </a:lvl4pPr>
            <a:lvl5pPr marL="2145784" indent="0" algn="ctr">
              <a:buNone/>
              <a:defRPr sz="1900"/>
            </a:lvl5pPr>
            <a:lvl6pPr marL="2682231" indent="0" algn="ctr">
              <a:buNone/>
              <a:defRPr sz="1900"/>
            </a:lvl6pPr>
            <a:lvl7pPr marL="3218677" indent="0" algn="ctr">
              <a:buNone/>
              <a:defRPr sz="1900"/>
            </a:lvl7pPr>
            <a:lvl8pPr marL="3755123" indent="0" algn="ctr">
              <a:buNone/>
              <a:defRPr sz="1900"/>
            </a:lvl8pPr>
            <a:lvl9pPr marL="4291569" indent="0" algn="ctr">
              <a:buNone/>
              <a:defRPr sz="1900"/>
            </a:lvl9pPr>
          </a:lstStyle>
          <a:p>
            <a:r>
              <a:rPr lang="en-US" dirty="0"/>
              <a:t>Sub-title and date</a:t>
            </a:r>
          </a:p>
        </p:txBody>
      </p:sp>
      <p:sp>
        <p:nvSpPr>
          <p:cNvPr id="21" name="Text Placeholder 6"/>
          <p:cNvSpPr>
            <a:spLocks noGrp="1"/>
          </p:cNvSpPr>
          <p:nvPr>
            <p:ph type="body" sz="quarter" idx="18" hasCustomPrompt="1"/>
          </p:nvPr>
        </p:nvSpPr>
        <p:spPr>
          <a:xfrm>
            <a:off x="3481902" y="2269605"/>
            <a:ext cx="8082916" cy="646459"/>
          </a:xfrm>
        </p:spPr>
        <p:txBody>
          <a:bodyPr wrap="square" lIns="0" tIns="0" rIns="0" bIns="0" anchor="b">
            <a:spAutoFit/>
          </a:bodyPr>
          <a:lstStyle>
            <a:lvl1pPr marL="0" indent="0">
              <a:buFont typeface="Arial" panose="020B0604020202020204" pitchFamily="34" charset="0"/>
              <a:buNone/>
              <a:defRPr sz="4201" b="0" baseline="0">
                <a:solidFill>
                  <a:schemeClr val="bg1"/>
                </a:solidFill>
                <a:latin typeface="Lato Light" panose="020F0302020204030203" pitchFamily="34" charset="0"/>
              </a:defRPr>
            </a:lvl1pPr>
          </a:lstStyle>
          <a:p>
            <a:pPr lvl="0"/>
            <a:r>
              <a:rPr lang="en-US" dirty="0"/>
              <a:t>Title is </a:t>
            </a:r>
            <a:r>
              <a:rPr lang="en-US" dirty="0" err="1"/>
              <a:t>Lato</a:t>
            </a:r>
            <a:r>
              <a:rPr lang="en-US" dirty="0"/>
              <a:t> Light 42 point</a:t>
            </a:r>
          </a:p>
        </p:txBody>
      </p:sp>
      <p:sp>
        <p:nvSpPr>
          <p:cNvPr id="2" name="Rectangle 1"/>
          <p:cNvSpPr/>
          <p:nvPr userDrawn="1"/>
        </p:nvSpPr>
        <p:spPr>
          <a:xfrm>
            <a:off x="1" y="1373993"/>
            <a:ext cx="2250831" cy="3474237"/>
          </a:xfrm>
          <a:prstGeom prst="rect">
            <a:avLst/>
          </a:pr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30" indent="-174630" algn="l" defTabSz="914423" rtl="0" eaLnBrk="1" latinLnBrk="0" hangingPunct="1">
              <a:lnSpc>
                <a:spcPct val="100000"/>
              </a:lnSpc>
              <a:spcBef>
                <a:spcPts val="0"/>
              </a:spcBef>
              <a:buFont typeface="Arial" panose="020B0604020202020204" pitchFamily="34" charset="0"/>
              <a:buChar char="•"/>
            </a:pPr>
            <a:endParaRPr lang="en-US" sz="1600" kern="1200" dirty="0" err="1">
              <a:solidFill>
                <a:schemeClr val="tx1"/>
              </a:solidFill>
              <a:latin typeface="+mj-lt"/>
              <a:ea typeface="+mn-ea"/>
              <a:cs typeface="Arial" pitchFamily="34" charset="0"/>
            </a:endParaRPr>
          </a:p>
        </p:txBody>
      </p:sp>
      <p:cxnSp>
        <p:nvCxnSpPr>
          <p:cNvPr id="13" name="Line"/>
          <p:cNvCxnSpPr>
            <a:cxnSpLocks/>
          </p:cNvCxnSpPr>
          <p:nvPr userDrawn="1"/>
        </p:nvCxnSpPr>
        <p:spPr>
          <a:xfrm>
            <a:off x="3481899" y="3221788"/>
            <a:ext cx="562708" cy="0"/>
          </a:xfrm>
          <a:prstGeom prst="line">
            <a:avLst/>
          </a:prstGeom>
          <a:ln w="28575">
            <a:solidFill>
              <a:srgbClr val="881846"/>
            </a:solidFill>
          </a:ln>
        </p:spPr>
        <p:style>
          <a:lnRef idx="1">
            <a:schemeClr val="accent1"/>
          </a:lnRef>
          <a:fillRef idx="0">
            <a:schemeClr val="accent1"/>
          </a:fillRef>
          <a:effectRef idx="0">
            <a:schemeClr val="accent1"/>
          </a:effectRef>
          <a:fontRef idx="minor">
            <a:schemeClr val="tx1"/>
          </a:fontRef>
        </p:style>
      </p:cxnSp>
      <p:sp>
        <p:nvSpPr>
          <p:cNvPr id="41" name="Picture Placeholder 4"/>
          <p:cNvSpPr>
            <a:spLocks noGrp="1"/>
          </p:cNvSpPr>
          <p:nvPr>
            <p:ph type="pic" sz="quarter" idx="19" hasCustomPrompt="1"/>
          </p:nvPr>
        </p:nvSpPr>
        <p:spPr>
          <a:xfrm>
            <a:off x="4269588" y="6321805"/>
            <a:ext cx="3652828" cy="399402"/>
          </a:xfrm>
        </p:spPr>
        <p:txBody>
          <a:bodyPr anchor="ctr">
            <a:noAutofit/>
          </a:bodyPr>
          <a:lstStyle>
            <a:lvl1pPr marL="0" indent="0" algn="ctr">
              <a:buNone/>
              <a:defRPr>
                <a:solidFill>
                  <a:srgbClr val="606060"/>
                </a:solidFill>
              </a:defRPr>
            </a:lvl1pPr>
          </a:lstStyle>
          <a:p>
            <a:r>
              <a:rPr lang="en-US" dirty="0"/>
              <a:t>Add client logo</a:t>
            </a:r>
          </a:p>
        </p:txBody>
      </p:sp>
      <p:sp>
        <p:nvSpPr>
          <p:cNvPr id="12" name="Text Placeholder 3">
            <a:extLst>
              <a:ext uri="{FF2B5EF4-FFF2-40B4-BE49-F238E27FC236}">
                <a16:creationId xmlns:a16="http://schemas.microsoft.com/office/drawing/2014/main" id="{261F2143-AFC9-4299-91D1-E53766CD3C52}"/>
              </a:ext>
            </a:extLst>
          </p:cNvPr>
          <p:cNvSpPr>
            <a:spLocks noGrp="1"/>
          </p:cNvSpPr>
          <p:nvPr>
            <p:ph type="body" sz="quarter" idx="20" hasCustomPrompt="1"/>
          </p:nvPr>
        </p:nvSpPr>
        <p:spPr>
          <a:xfrm>
            <a:off x="8409354" y="914404"/>
            <a:ext cx="2571262" cy="1254125"/>
          </a:xfrm>
        </p:spPr>
        <p:txBody>
          <a:bodyPr/>
          <a:lstStyle>
            <a:lvl1pPr marL="0" indent="0">
              <a:buNone/>
              <a:defRPr i="1">
                <a:solidFill>
                  <a:schemeClr val="bg1"/>
                </a:solidFill>
              </a:defRPr>
            </a:lvl1pPr>
          </a:lstStyle>
          <a:p>
            <a:pPr lvl="0"/>
            <a:r>
              <a:rPr lang="en-ZA" dirty="0"/>
              <a:t>To insert photo overlay, refer to instructions at end of deck</a:t>
            </a:r>
          </a:p>
        </p:txBody>
      </p:sp>
      <p:pic>
        <p:nvPicPr>
          <p:cNvPr id="15" name="Picture 14" descr="A picture containing clipart&#10;&#10;Description generated with very high confidence">
            <a:extLst>
              <a:ext uri="{FF2B5EF4-FFF2-40B4-BE49-F238E27FC236}">
                <a16:creationId xmlns:a16="http://schemas.microsoft.com/office/drawing/2014/main" id="{EFF5C9B3-D792-4AAF-AEDB-2FCDBD2A05A9}"/>
              </a:ext>
            </a:extLst>
          </p:cNvPr>
          <p:cNvPicPr>
            <a:picLocks/>
          </p:cNvPicPr>
          <p:nvPr userDrawn="1"/>
        </p:nvPicPr>
        <p:blipFill>
          <a:blip r:embed="rId6" cstate="email">
            <a:extLst>
              <a:ext uri="{28A0092B-C50C-407E-A947-70E740481C1C}">
                <a14:useLocalDpi xmlns:a14="http://schemas.microsoft.com/office/drawing/2010/main"/>
              </a:ext>
            </a:extLst>
          </a:blip>
          <a:stretch>
            <a:fillRect/>
          </a:stretch>
        </p:blipFill>
        <p:spPr>
          <a:xfrm>
            <a:off x="291240" y="2815276"/>
            <a:ext cx="1317631" cy="457200"/>
          </a:xfrm>
          <a:prstGeom prst="rect">
            <a:avLst/>
          </a:prstGeom>
        </p:spPr>
      </p:pic>
    </p:spTree>
    <p:extLst>
      <p:ext uri="{BB962C8B-B14F-4D97-AF65-F5344CB8AC3E}">
        <p14:creationId xmlns:p14="http://schemas.microsoft.com/office/powerpoint/2010/main" val="1433848062"/>
      </p:ext>
    </p:extLst>
  </p:cSld>
  <p:clrMapOvr>
    <a:masterClrMapping/>
  </p:clrMapOvr>
  <p:extLst>
    <p:ext uri="{DCECCB84-F9BA-43D5-87BE-67443E8EF086}">
      <p15:sldGuideLst xmlns:p15="http://schemas.microsoft.com/office/powerpoint/2012/main">
        <p15:guide id="1" pos="236" userDrawn="1">
          <p15:clr>
            <a:srgbClr val="FBAE40"/>
          </p15:clr>
        </p15:guide>
        <p15:guide id="2" orient="horz" pos="2106" userDrawn="1">
          <p15:clr>
            <a:srgbClr val="FBAE40"/>
          </p15:clr>
        </p15:guide>
        <p15:guide id="3" orient="horz" pos="1968" userDrawn="1">
          <p15:clr>
            <a:srgbClr val="FBAE40"/>
          </p15:clr>
        </p15:guide>
        <p15:guide id="4" pos="886" userDrawn="1">
          <p15:clr>
            <a:srgbClr val="FBAE40"/>
          </p15:clr>
        </p15:guide>
        <p15:guide id="5" orient="horz" pos="2376" userDrawn="1">
          <p15:clr>
            <a:srgbClr val="FBAE40"/>
          </p15:clr>
        </p15:guide>
        <p15:guide id="6" orient="horz" pos="2240" userDrawn="1">
          <p15:clr>
            <a:srgbClr val="FBAE40"/>
          </p15:clr>
        </p15:guide>
        <p15:guide id="7" orient="horz" pos="2510" userDrawn="1">
          <p15:clr>
            <a:srgbClr val="FBAE40"/>
          </p15:clr>
        </p15:guide>
        <p15:guide id="8" orient="horz" pos="2646"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yellow_client logo">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5A56A69-0F22-8E45-A819-2CCCFDD53A64}"/>
              </a:ext>
            </a:extLst>
          </p:cNvPr>
          <p:cNvSpPr/>
          <p:nvPr userDrawn="1"/>
        </p:nvSpPr>
        <p:spPr>
          <a:xfrm>
            <a:off x="4" y="-8884"/>
            <a:ext cx="12192000" cy="6858000"/>
          </a:xfrm>
          <a:prstGeom prst="rect">
            <a:avLst/>
          </a:prstGeom>
          <a:solidFill>
            <a:srgbClr val="F3B11C">
              <a:alpha val="89804"/>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algn="l" defTabSz="914423" rtl="0" eaLnBrk="1" latinLnBrk="0" hangingPunct="1">
              <a:lnSpc>
                <a:spcPct val="100000"/>
              </a:lnSpc>
              <a:spcBef>
                <a:spcPts val="0"/>
              </a:spcBef>
            </a:pPr>
            <a:endParaRPr lang="en-US" sz="1600" kern="1200" dirty="0">
              <a:solidFill>
                <a:schemeClr val="tx1"/>
              </a:solidFill>
              <a:ea typeface="+mn-ea"/>
              <a:cs typeface="Arial" pitchFamily="34" charset="0"/>
            </a:endParaRPr>
          </a:p>
        </p:txBody>
      </p:sp>
      <p:sp>
        <p:nvSpPr>
          <p:cNvPr id="4" name="Rectangle 3">
            <a:extLst>
              <a:ext uri="{FF2B5EF4-FFF2-40B4-BE49-F238E27FC236}">
                <a16:creationId xmlns:a16="http://schemas.microsoft.com/office/drawing/2014/main" id="{5C85070F-B826-0945-8FE1-66C969558BFD}"/>
              </a:ext>
            </a:extLst>
          </p:cNvPr>
          <p:cNvSpPr/>
          <p:nvPr userDrawn="1"/>
        </p:nvSpPr>
        <p:spPr>
          <a:xfrm>
            <a:off x="0" y="6165851"/>
            <a:ext cx="12192000" cy="69215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algn="l" defTabSz="914423" rtl="0" eaLnBrk="1" latinLnBrk="0" hangingPunct="1">
              <a:lnSpc>
                <a:spcPct val="100000"/>
              </a:lnSpc>
              <a:spcBef>
                <a:spcPts val="0"/>
              </a:spcBef>
            </a:pPr>
            <a:endParaRPr lang="en-US" sz="1600" kern="1200" dirty="0">
              <a:solidFill>
                <a:schemeClr val="tx1"/>
              </a:solidFill>
              <a:ea typeface="+mn-ea"/>
              <a:cs typeface="Arial" pitchFamily="34" charset="0"/>
            </a:endParaRPr>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17181602"/>
              </p:ext>
            </p:extLst>
          </p:nvPr>
        </p:nvGraphicFramePr>
        <p:xfrm>
          <a:off x="5" y="6"/>
          <a:ext cx="211668" cy="158751"/>
        </p:xfrm>
        <a:graphic>
          <a:graphicData uri="http://schemas.openxmlformats.org/presentationml/2006/ole">
            <mc:AlternateContent xmlns:mc="http://schemas.openxmlformats.org/markup-compatibility/2006">
              <mc:Choice xmlns:v="urn:schemas-microsoft-com:vml" Requires="v">
                <p:oleObj spid="_x0000_s363986" name="think-cell Slide" r:id="rId4" imgW="383" imgH="385" progId="TCLayout.ActiveDocument.1">
                  <p:embed/>
                </p:oleObj>
              </mc:Choice>
              <mc:Fallback>
                <p:oleObj name="think-cell Slide" r:id="rId4" imgW="383" imgH="385" progId="TCLayout.ActiveDocument.1">
                  <p:embed/>
                  <p:pic>
                    <p:nvPicPr>
                      <p:cNvPr id="3" name="Object 2"/>
                      <p:cNvPicPr/>
                      <p:nvPr/>
                    </p:nvPicPr>
                    <p:blipFill>
                      <a:blip r:embed="rId5"/>
                      <a:stretch>
                        <a:fillRect/>
                      </a:stretch>
                    </p:blipFill>
                    <p:spPr>
                      <a:xfrm>
                        <a:off x="5" y="6"/>
                        <a:ext cx="211668" cy="158751"/>
                      </a:xfrm>
                      <a:prstGeom prst="rect">
                        <a:avLst/>
                      </a:prstGeom>
                    </p:spPr>
                  </p:pic>
                </p:oleObj>
              </mc:Fallback>
            </mc:AlternateContent>
          </a:graphicData>
        </a:graphic>
      </p:graphicFrame>
      <p:sp>
        <p:nvSpPr>
          <p:cNvPr id="25" name="Subtitle 2"/>
          <p:cNvSpPr>
            <a:spLocks noGrp="1"/>
          </p:cNvSpPr>
          <p:nvPr>
            <p:ph type="subTitle" idx="1" hasCustomPrompt="1"/>
          </p:nvPr>
        </p:nvSpPr>
        <p:spPr bwMode="gray">
          <a:xfrm>
            <a:off x="3481899" y="3505482"/>
            <a:ext cx="6564923" cy="215572"/>
          </a:xfrm>
        </p:spPr>
        <p:txBody>
          <a:bodyPr wrap="square" lIns="0" tIns="0" rIns="0" bIns="0" anchor="t">
            <a:spAutoFit/>
          </a:bodyPr>
          <a:lstStyle>
            <a:lvl1pPr marL="0" indent="0" algn="l">
              <a:spcAft>
                <a:spcPts val="0"/>
              </a:spcAft>
              <a:buNone/>
              <a:defRPr sz="1401" b="0" cap="all" spc="300" baseline="0">
                <a:solidFill>
                  <a:schemeClr val="bg1"/>
                </a:solidFill>
                <a:latin typeface="+mn-lt"/>
                <a:cs typeface="Arial" pitchFamily="34" charset="0"/>
              </a:defRPr>
            </a:lvl1pPr>
            <a:lvl2pPr marL="536447" indent="0" algn="ctr">
              <a:buNone/>
              <a:defRPr sz="2300"/>
            </a:lvl2pPr>
            <a:lvl3pPr marL="1072893" indent="0" algn="ctr">
              <a:buNone/>
              <a:defRPr sz="2100"/>
            </a:lvl3pPr>
            <a:lvl4pPr marL="1609339" indent="0" algn="ctr">
              <a:buNone/>
              <a:defRPr sz="1900"/>
            </a:lvl4pPr>
            <a:lvl5pPr marL="2145784" indent="0" algn="ctr">
              <a:buNone/>
              <a:defRPr sz="1900"/>
            </a:lvl5pPr>
            <a:lvl6pPr marL="2682231" indent="0" algn="ctr">
              <a:buNone/>
              <a:defRPr sz="1900"/>
            </a:lvl6pPr>
            <a:lvl7pPr marL="3218677" indent="0" algn="ctr">
              <a:buNone/>
              <a:defRPr sz="1900"/>
            </a:lvl7pPr>
            <a:lvl8pPr marL="3755123" indent="0" algn="ctr">
              <a:buNone/>
              <a:defRPr sz="1900"/>
            </a:lvl8pPr>
            <a:lvl9pPr marL="4291569" indent="0" algn="ctr">
              <a:buNone/>
              <a:defRPr sz="1900"/>
            </a:lvl9pPr>
          </a:lstStyle>
          <a:p>
            <a:r>
              <a:rPr lang="en-US" dirty="0"/>
              <a:t>Sub-title and date</a:t>
            </a:r>
          </a:p>
        </p:txBody>
      </p:sp>
      <p:sp>
        <p:nvSpPr>
          <p:cNvPr id="21" name="Text Placeholder 6"/>
          <p:cNvSpPr>
            <a:spLocks noGrp="1"/>
          </p:cNvSpPr>
          <p:nvPr>
            <p:ph type="body" sz="quarter" idx="18" hasCustomPrompt="1"/>
          </p:nvPr>
        </p:nvSpPr>
        <p:spPr>
          <a:xfrm>
            <a:off x="3481902" y="2269605"/>
            <a:ext cx="8082916" cy="646459"/>
          </a:xfrm>
        </p:spPr>
        <p:txBody>
          <a:bodyPr wrap="square" lIns="0" tIns="0" rIns="0" bIns="0" anchor="b">
            <a:spAutoFit/>
          </a:bodyPr>
          <a:lstStyle>
            <a:lvl1pPr marL="0" indent="0">
              <a:buFont typeface="Arial" panose="020B0604020202020204" pitchFamily="34" charset="0"/>
              <a:buNone/>
              <a:defRPr sz="4201" b="0" baseline="0">
                <a:solidFill>
                  <a:schemeClr val="bg1"/>
                </a:solidFill>
                <a:latin typeface="Lato Light" panose="020F0302020204030203" pitchFamily="34" charset="0"/>
              </a:defRPr>
            </a:lvl1pPr>
          </a:lstStyle>
          <a:p>
            <a:pPr lvl="0"/>
            <a:r>
              <a:rPr lang="en-US" dirty="0"/>
              <a:t>Title is </a:t>
            </a:r>
            <a:r>
              <a:rPr lang="en-US" dirty="0" err="1"/>
              <a:t>Lato</a:t>
            </a:r>
            <a:r>
              <a:rPr lang="en-US" dirty="0"/>
              <a:t> Light 42 point</a:t>
            </a:r>
          </a:p>
        </p:txBody>
      </p:sp>
      <p:sp>
        <p:nvSpPr>
          <p:cNvPr id="2" name="Rectangle 1"/>
          <p:cNvSpPr/>
          <p:nvPr userDrawn="1"/>
        </p:nvSpPr>
        <p:spPr>
          <a:xfrm>
            <a:off x="1" y="1373993"/>
            <a:ext cx="2250831" cy="3474237"/>
          </a:xfrm>
          <a:prstGeom prst="rect">
            <a:avLst/>
          </a:pr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30" indent="-174630" algn="l" defTabSz="914423" rtl="0" eaLnBrk="1" latinLnBrk="0" hangingPunct="1">
              <a:lnSpc>
                <a:spcPct val="100000"/>
              </a:lnSpc>
              <a:spcBef>
                <a:spcPts val="0"/>
              </a:spcBef>
              <a:buFont typeface="Arial" panose="020B0604020202020204" pitchFamily="34" charset="0"/>
              <a:buChar char="•"/>
            </a:pPr>
            <a:endParaRPr lang="en-US" sz="1600" kern="1200" dirty="0" err="1">
              <a:solidFill>
                <a:schemeClr val="tx1"/>
              </a:solidFill>
              <a:latin typeface="+mj-lt"/>
              <a:ea typeface="+mn-ea"/>
              <a:cs typeface="Arial" pitchFamily="34" charset="0"/>
            </a:endParaRPr>
          </a:p>
        </p:txBody>
      </p:sp>
      <p:cxnSp>
        <p:nvCxnSpPr>
          <p:cNvPr id="13" name="Line"/>
          <p:cNvCxnSpPr>
            <a:cxnSpLocks/>
          </p:cNvCxnSpPr>
          <p:nvPr userDrawn="1"/>
        </p:nvCxnSpPr>
        <p:spPr>
          <a:xfrm>
            <a:off x="3481899" y="3221788"/>
            <a:ext cx="562708" cy="0"/>
          </a:xfrm>
          <a:prstGeom prst="line">
            <a:avLst/>
          </a:prstGeom>
          <a:ln w="28575">
            <a:solidFill>
              <a:srgbClr val="881846"/>
            </a:solidFill>
          </a:ln>
        </p:spPr>
        <p:style>
          <a:lnRef idx="1">
            <a:schemeClr val="accent1"/>
          </a:lnRef>
          <a:fillRef idx="0">
            <a:schemeClr val="accent1"/>
          </a:fillRef>
          <a:effectRef idx="0">
            <a:schemeClr val="accent1"/>
          </a:effectRef>
          <a:fontRef idx="minor">
            <a:schemeClr val="tx1"/>
          </a:fontRef>
        </p:style>
      </p:cxnSp>
      <p:sp>
        <p:nvSpPr>
          <p:cNvPr id="41" name="Picture Placeholder 4"/>
          <p:cNvSpPr>
            <a:spLocks noGrp="1"/>
          </p:cNvSpPr>
          <p:nvPr>
            <p:ph type="pic" sz="quarter" idx="19" hasCustomPrompt="1"/>
          </p:nvPr>
        </p:nvSpPr>
        <p:spPr>
          <a:xfrm>
            <a:off x="4269588" y="6321805"/>
            <a:ext cx="3652828" cy="399402"/>
          </a:xfrm>
        </p:spPr>
        <p:txBody>
          <a:bodyPr anchor="ctr">
            <a:noAutofit/>
          </a:bodyPr>
          <a:lstStyle>
            <a:lvl1pPr marL="0" indent="0" algn="ctr">
              <a:buNone/>
              <a:defRPr>
                <a:solidFill>
                  <a:srgbClr val="606060"/>
                </a:solidFill>
              </a:defRPr>
            </a:lvl1pPr>
          </a:lstStyle>
          <a:p>
            <a:r>
              <a:rPr lang="en-US" dirty="0"/>
              <a:t>Add client logo</a:t>
            </a:r>
          </a:p>
        </p:txBody>
      </p:sp>
      <p:sp>
        <p:nvSpPr>
          <p:cNvPr id="12" name="Text Placeholder 3">
            <a:extLst>
              <a:ext uri="{FF2B5EF4-FFF2-40B4-BE49-F238E27FC236}">
                <a16:creationId xmlns:a16="http://schemas.microsoft.com/office/drawing/2014/main" id="{F6696C55-12B8-467C-9654-B2DDB66F9816}"/>
              </a:ext>
            </a:extLst>
          </p:cNvPr>
          <p:cNvSpPr>
            <a:spLocks noGrp="1"/>
          </p:cNvSpPr>
          <p:nvPr>
            <p:ph type="body" sz="quarter" idx="20" hasCustomPrompt="1"/>
          </p:nvPr>
        </p:nvSpPr>
        <p:spPr>
          <a:xfrm>
            <a:off x="8409354" y="914404"/>
            <a:ext cx="2571262" cy="1254125"/>
          </a:xfrm>
        </p:spPr>
        <p:txBody>
          <a:bodyPr/>
          <a:lstStyle>
            <a:lvl1pPr marL="0" indent="0">
              <a:buNone/>
              <a:defRPr i="1">
                <a:solidFill>
                  <a:schemeClr val="bg1"/>
                </a:solidFill>
              </a:defRPr>
            </a:lvl1pPr>
          </a:lstStyle>
          <a:p>
            <a:pPr lvl="0"/>
            <a:r>
              <a:rPr lang="en-ZA" dirty="0"/>
              <a:t>To insert photo overlay, refer to instructions at end of deck</a:t>
            </a:r>
          </a:p>
        </p:txBody>
      </p:sp>
      <p:pic>
        <p:nvPicPr>
          <p:cNvPr id="15" name="Picture 14" descr="A picture containing clipart&#10;&#10;Description generated with very high confidence">
            <a:extLst>
              <a:ext uri="{FF2B5EF4-FFF2-40B4-BE49-F238E27FC236}">
                <a16:creationId xmlns:a16="http://schemas.microsoft.com/office/drawing/2014/main" id="{C62A2859-6F85-4C83-9AFB-2F5BE4903082}"/>
              </a:ext>
            </a:extLst>
          </p:cNvPr>
          <p:cNvPicPr>
            <a:picLocks/>
          </p:cNvPicPr>
          <p:nvPr userDrawn="1"/>
        </p:nvPicPr>
        <p:blipFill>
          <a:blip r:embed="rId6" cstate="email">
            <a:extLst>
              <a:ext uri="{28A0092B-C50C-407E-A947-70E740481C1C}">
                <a14:useLocalDpi xmlns:a14="http://schemas.microsoft.com/office/drawing/2010/main"/>
              </a:ext>
            </a:extLst>
          </a:blip>
          <a:stretch>
            <a:fillRect/>
          </a:stretch>
        </p:blipFill>
        <p:spPr>
          <a:xfrm>
            <a:off x="291240" y="2815276"/>
            <a:ext cx="1317631" cy="457200"/>
          </a:xfrm>
          <a:prstGeom prst="rect">
            <a:avLst/>
          </a:prstGeom>
        </p:spPr>
      </p:pic>
    </p:spTree>
    <p:extLst>
      <p:ext uri="{BB962C8B-B14F-4D97-AF65-F5344CB8AC3E}">
        <p14:creationId xmlns:p14="http://schemas.microsoft.com/office/powerpoint/2010/main" val="3760540330"/>
      </p:ext>
    </p:extLst>
  </p:cSld>
  <p:clrMapOvr>
    <a:masterClrMapping/>
  </p:clrMapOvr>
  <p:extLst>
    <p:ext uri="{DCECCB84-F9BA-43D5-87BE-67443E8EF086}">
      <p15:sldGuideLst xmlns:p15="http://schemas.microsoft.com/office/powerpoint/2012/main">
        <p15:guide id="1" pos="236" userDrawn="1">
          <p15:clr>
            <a:srgbClr val="FBAE40"/>
          </p15:clr>
        </p15:guide>
        <p15:guide id="2" orient="horz" pos="2106" userDrawn="1">
          <p15:clr>
            <a:srgbClr val="FBAE40"/>
          </p15:clr>
        </p15:guide>
        <p15:guide id="3" orient="horz" pos="1968" userDrawn="1">
          <p15:clr>
            <a:srgbClr val="FBAE40"/>
          </p15:clr>
        </p15:guide>
        <p15:guide id="4" pos="886" userDrawn="1">
          <p15:clr>
            <a:srgbClr val="FBAE40"/>
          </p15:clr>
        </p15:guide>
        <p15:guide id="5" orient="horz" pos="2376" userDrawn="1">
          <p15:clr>
            <a:srgbClr val="FBAE40"/>
          </p15:clr>
        </p15:guide>
        <p15:guide id="6" orient="horz" pos="2240" userDrawn="1">
          <p15:clr>
            <a:srgbClr val="FBAE40"/>
          </p15:clr>
        </p15:guide>
        <p15:guide id="7" orient="horz" pos="2510" userDrawn="1">
          <p15:clr>
            <a:srgbClr val="FBAE40"/>
          </p15:clr>
        </p15:guide>
        <p15:guide id="8" orient="horz" pos="2646"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tandard content ">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173900417"/>
              </p:ext>
            </p:extLst>
          </p:nvPr>
        </p:nvGraphicFramePr>
        <p:xfrm>
          <a:off x="2121" y="2118"/>
          <a:ext cx="2116" cy="2116"/>
        </p:xfrm>
        <a:graphic>
          <a:graphicData uri="http://schemas.openxmlformats.org/presentationml/2006/ole">
            <mc:AlternateContent xmlns:mc="http://schemas.openxmlformats.org/markup-compatibility/2006">
              <mc:Choice xmlns:v="urn:schemas-microsoft-com:vml" Requires="v">
                <p:oleObj spid="_x0000_s223885" name="think-cell Slide" r:id="rId5" imgW="383" imgH="385" progId="TCLayout.ActiveDocument.1">
                  <p:embed/>
                </p:oleObj>
              </mc:Choice>
              <mc:Fallback>
                <p:oleObj name="think-cell Slide" r:id="rId5" imgW="383" imgH="385" progId="TCLayout.ActiveDocument.1">
                  <p:embed/>
                  <p:pic>
                    <p:nvPicPr>
                      <p:cNvPr id="0" name=""/>
                      <p:cNvPicPr/>
                      <p:nvPr/>
                    </p:nvPicPr>
                    <p:blipFill>
                      <a:blip r:embed="rId6"/>
                      <a:stretch>
                        <a:fillRect/>
                      </a:stretch>
                    </p:blipFill>
                    <p:spPr>
                      <a:xfrm>
                        <a:off x="2121" y="2118"/>
                        <a:ext cx="2116" cy="2116"/>
                      </a:xfrm>
                      <a:prstGeom prst="rect">
                        <a:avLst/>
                      </a:prstGeom>
                    </p:spPr>
                  </p:pic>
                </p:oleObj>
              </mc:Fallback>
            </mc:AlternateContent>
          </a:graphicData>
        </a:graphic>
      </p:graphicFrame>
      <p:sp>
        <p:nvSpPr>
          <p:cNvPr id="3" name="Rectangle 2" hidden="1"/>
          <p:cNvSpPr/>
          <p:nvPr userDrawn="1">
            <p:custDataLst>
              <p:tags r:id="rId3"/>
            </p:custDataLst>
          </p:nvPr>
        </p:nvSpPr>
        <p:spPr bwMode="auto">
          <a:xfrm>
            <a:off x="1" y="0"/>
            <a:ext cx="195385" cy="158750"/>
          </a:xfrm>
          <a:prstGeom prst="rect">
            <a:avLst/>
          </a:prstGeom>
          <a:solidFill>
            <a:srgbClr val="FFFFFF"/>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23" rtl="0" eaLnBrk="1" latinLnBrk="0" hangingPunct="1">
              <a:lnSpc>
                <a:spcPct val="100000"/>
              </a:lnSpc>
              <a:spcBef>
                <a:spcPct val="0"/>
              </a:spcBef>
              <a:spcAft>
                <a:spcPct val="0"/>
              </a:spcAft>
              <a:buNone/>
            </a:pPr>
            <a:endParaRPr lang="en-US" sz="2601" b="0" i="0" kern="1200" baseline="0" dirty="0">
              <a:solidFill>
                <a:schemeClr val="tx1"/>
              </a:solidFill>
              <a:latin typeface="Lato" panose="020F0502020204030203" pitchFamily="34" charset="0"/>
              <a:ea typeface="+mj-ea"/>
              <a:cs typeface="Arial" panose="020B0604020202020204" pitchFamily="34" charset="0"/>
              <a:sym typeface="Lato" panose="020F0502020204030203" pitchFamily="34" charset="0"/>
            </a:endParaRPr>
          </a:p>
        </p:txBody>
      </p:sp>
      <p:sp>
        <p:nvSpPr>
          <p:cNvPr id="11" name="Title 1"/>
          <p:cNvSpPr>
            <a:spLocks noGrp="1"/>
          </p:cNvSpPr>
          <p:nvPr>
            <p:ph type="title" hasCustomPrompt="1"/>
          </p:nvPr>
        </p:nvSpPr>
        <p:spPr>
          <a:xfrm>
            <a:off x="943689" y="91834"/>
            <a:ext cx="10621127" cy="800476"/>
          </a:xfrm>
        </p:spPr>
        <p:txBody>
          <a:bodyPr wrap="square" anchor="ctr">
            <a:spAutoFit/>
          </a:bodyPr>
          <a:lstStyle>
            <a:lvl1pPr>
              <a:defRPr sz="2601" baseline="0">
                <a:solidFill>
                  <a:srgbClr val="881946"/>
                </a:solidFill>
                <a:latin typeface="+mj-lt"/>
              </a:defRPr>
            </a:lvl1pPr>
          </a:lstStyle>
          <a:p>
            <a:r>
              <a:rPr lang="en-US" dirty="0"/>
              <a:t>Title of the slide in </a:t>
            </a:r>
            <a:r>
              <a:rPr lang="en-US" dirty="0" err="1"/>
              <a:t>Lato</a:t>
            </a:r>
            <a:r>
              <a:rPr lang="en-US" dirty="0"/>
              <a:t> 26 points.</a:t>
            </a:r>
            <a:br>
              <a:rPr lang="en-US" dirty="0"/>
            </a:br>
            <a:r>
              <a:rPr lang="en-US" dirty="0"/>
              <a:t>Max 2 lines</a:t>
            </a:r>
          </a:p>
        </p:txBody>
      </p:sp>
      <p:sp>
        <p:nvSpPr>
          <p:cNvPr id="18" name="Text Placeholder 2"/>
          <p:cNvSpPr>
            <a:spLocks noGrp="1"/>
          </p:cNvSpPr>
          <p:nvPr>
            <p:ph idx="1"/>
          </p:nvPr>
        </p:nvSpPr>
        <p:spPr bwMode="gray">
          <a:xfrm>
            <a:off x="943690" y="1257300"/>
            <a:ext cx="10621127" cy="5067300"/>
          </a:xfrm>
          <a:prstGeom prst="rect">
            <a:avLst/>
          </a:prstGeom>
        </p:spPr>
        <p:txBody>
          <a:bodyPr vert="horz" wrap="square" lIns="0" tIns="0" rIns="0" bIns="0" rtlCol="0">
            <a:noAutofit/>
          </a:bodyPr>
          <a:lstStyle>
            <a:lvl1pPr>
              <a:defRPr>
                <a:solidFill>
                  <a:srgbClr val="606060"/>
                </a:solidFill>
              </a:defRPr>
            </a:lvl1pPr>
            <a:lvl2pPr>
              <a:defRPr>
                <a:solidFill>
                  <a:srgbClr val="606060"/>
                </a:solidFill>
              </a:defRPr>
            </a:lvl2pPr>
            <a:lvl3pPr>
              <a:defRPr>
                <a:solidFill>
                  <a:srgbClr val="606060"/>
                </a:solidFill>
              </a:defRPr>
            </a:lvl3pPr>
            <a:lvl4pPr>
              <a:defRPr>
                <a:solidFill>
                  <a:srgbClr val="606060"/>
                </a:solidFill>
              </a:defRPr>
            </a:lvl4pPr>
            <a:lvl5pPr>
              <a:defRPr>
                <a:solidFill>
                  <a:srgbClr val="60606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1" name="Picture 20"/>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9658006" y="6481277"/>
            <a:ext cx="908574" cy="256161"/>
          </a:xfrm>
          <a:prstGeom prst="rect">
            <a:avLst/>
          </a:prstGeom>
        </p:spPr>
      </p:pic>
      <p:sp>
        <p:nvSpPr>
          <p:cNvPr id="15" name="Text Placeholder 6">
            <a:extLst>
              <a:ext uri="{FF2B5EF4-FFF2-40B4-BE49-F238E27FC236}">
                <a16:creationId xmlns:a16="http://schemas.microsoft.com/office/drawing/2014/main" id="{4A2B38C2-8EBF-44D9-AADD-9BEE9D9CD227}"/>
              </a:ext>
            </a:extLst>
          </p:cNvPr>
          <p:cNvSpPr>
            <a:spLocks noGrp="1"/>
          </p:cNvSpPr>
          <p:nvPr>
            <p:ph type="body" sz="quarter" idx="14" hasCustomPrompt="1"/>
          </p:nvPr>
        </p:nvSpPr>
        <p:spPr>
          <a:xfrm>
            <a:off x="943691" y="6377453"/>
            <a:ext cx="8059634" cy="308033"/>
          </a:xfrm>
        </p:spPr>
        <p:txBody>
          <a:bodyPr wrap="square" anchor="b">
            <a:spAutoFit/>
          </a:bodyPr>
          <a:lstStyle>
            <a:lvl1pPr marL="0" indent="0">
              <a:buNone/>
              <a:defRPr sz="1001" baseline="0">
                <a:solidFill>
                  <a:srgbClr val="606060"/>
                </a:solidFill>
              </a:defRPr>
            </a:lvl1pPr>
          </a:lstStyle>
          <a:p>
            <a:pPr lvl="0"/>
            <a:r>
              <a:rPr lang="en-US" dirty="0"/>
              <a:t>This space is reserved for footnotes and sources only, and cannot be expanded beyond its current size.                                        Source: [Author/Publisher Name], [Report Name], [Year]</a:t>
            </a:r>
          </a:p>
        </p:txBody>
      </p:sp>
      <p:sp>
        <p:nvSpPr>
          <p:cNvPr id="20" name="Text Placeholder 6">
            <a:extLst>
              <a:ext uri="{FF2B5EF4-FFF2-40B4-BE49-F238E27FC236}">
                <a16:creationId xmlns:a16="http://schemas.microsoft.com/office/drawing/2014/main" id="{12FB7793-89EE-4C02-98F1-096468043838}"/>
              </a:ext>
            </a:extLst>
          </p:cNvPr>
          <p:cNvSpPr>
            <a:spLocks noGrp="1"/>
          </p:cNvSpPr>
          <p:nvPr>
            <p:ph type="body" sz="quarter" idx="17" hasCustomPrompt="1"/>
          </p:nvPr>
        </p:nvSpPr>
        <p:spPr>
          <a:xfrm>
            <a:off x="80277" y="399740"/>
            <a:ext cx="468922" cy="184666"/>
          </a:xfrm>
        </p:spPr>
        <p:txBody>
          <a:bodyPr wrap="square" anchor="ctr">
            <a:spAutoFit/>
          </a:bodyPr>
          <a:lstStyle>
            <a:lvl1pPr marL="0" indent="0" algn="ctr">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dirty="0"/>
              <a:t>Text</a:t>
            </a:r>
          </a:p>
        </p:txBody>
      </p:sp>
      <p:sp>
        <p:nvSpPr>
          <p:cNvPr id="22" name="Slide Number Placeholder 5">
            <a:extLst>
              <a:ext uri="{FF2B5EF4-FFF2-40B4-BE49-F238E27FC236}">
                <a16:creationId xmlns:a16="http://schemas.microsoft.com/office/drawing/2014/main" id="{63C9505D-B686-4DE6-95DF-7AD3105F898F}"/>
              </a:ext>
            </a:extLst>
          </p:cNvPr>
          <p:cNvSpPr>
            <a:spLocks noGrp="1"/>
          </p:cNvSpPr>
          <p:nvPr>
            <p:ph type="sldNum" sz="quarter" idx="4"/>
          </p:nvPr>
        </p:nvSpPr>
        <p:spPr bwMode="gray">
          <a:xfrm>
            <a:off x="11743978" y="6529802"/>
            <a:ext cx="280034" cy="154017"/>
          </a:xfrm>
          <a:prstGeom prst="rect">
            <a:avLst/>
          </a:prstGeom>
          <a:noFill/>
        </p:spPr>
        <p:txBody>
          <a:bodyPr vert="horz" wrap="square" lIns="0" tIns="0" rIns="0" bIns="0" rtlCol="0" anchor="ctr">
            <a:spAutoFit/>
          </a:bodyPr>
          <a:lstStyle>
            <a:lvl1pPr algn="ctr">
              <a:defRPr sz="1001">
                <a:solidFill>
                  <a:schemeClr val="bg1"/>
                </a:solidFill>
                <a:latin typeface="Lato" panose="020F0502020204030203" pitchFamily="34" charset="0"/>
                <a:cs typeface="Arial" pitchFamily="34" charset="0"/>
              </a:defRPr>
            </a:lvl1pPr>
          </a:lstStyle>
          <a:p>
            <a:fld id="{A90607E6-BCED-4FC1-A345-AB2A307AB80F}" type="slidenum">
              <a:rPr lang="en-US" smtClean="0"/>
              <a:pPr/>
              <a:t>‹#›</a:t>
            </a:fld>
            <a:endParaRPr lang="en-US" dirty="0"/>
          </a:p>
        </p:txBody>
      </p:sp>
    </p:spTree>
    <p:extLst>
      <p:ext uri="{BB962C8B-B14F-4D97-AF65-F5344CB8AC3E}">
        <p14:creationId xmlns:p14="http://schemas.microsoft.com/office/powerpoint/2010/main" val="14310753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tandard content + takeaway 1">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688426943"/>
              </p:ext>
            </p:extLst>
          </p:nvPr>
        </p:nvGraphicFramePr>
        <p:xfrm>
          <a:off x="2121" y="2118"/>
          <a:ext cx="2116" cy="2116"/>
        </p:xfrm>
        <a:graphic>
          <a:graphicData uri="http://schemas.openxmlformats.org/presentationml/2006/ole">
            <mc:AlternateContent xmlns:mc="http://schemas.openxmlformats.org/markup-compatibility/2006">
              <mc:Choice xmlns:v="urn:schemas-microsoft-com:vml" Requires="v">
                <p:oleObj spid="_x0000_s241175" name="think-cell Slide" r:id="rId5" imgW="383" imgH="385" progId="TCLayout.ActiveDocument.1">
                  <p:embed/>
                </p:oleObj>
              </mc:Choice>
              <mc:Fallback>
                <p:oleObj name="think-cell Slide" r:id="rId5" imgW="383" imgH="385" progId="TCLayout.ActiveDocument.1">
                  <p:embed/>
                  <p:pic>
                    <p:nvPicPr>
                      <p:cNvPr id="6" name="Object 5" hidden="1"/>
                      <p:cNvPicPr/>
                      <p:nvPr/>
                    </p:nvPicPr>
                    <p:blipFill>
                      <a:blip r:embed="rId6"/>
                      <a:stretch>
                        <a:fillRect/>
                      </a:stretch>
                    </p:blipFill>
                    <p:spPr>
                      <a:xfrm>
                        <a:off x="2121" y="2118"/>
                        <a:ext cx="2116" cy="211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6C87DCD-F360-447E-8912-A842E15E3E4A}"/>
              </a:ext>
            </a:extLst>
          </p:cNvPr>
          <p:cNvSpPr/>
          <p:nvPr userDrawn="1">
            <p:custDataLst>
              <p:tags r:id="rId3"/>
            </p:custDataLst>
          </p:nvPr>
        </p:nvSpPr>
        <p:spPr>
          <a:xfrm>
            <a:off x="0" y="0"/>
            <a:ext cx="158750" cy="158750"/>
          </a:xfrm>
          <a:prstGeom prst="rect">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23" rtl="0" eaLnBrk="1" latinLnBrk="0" hangingPunct="1">
              <a:lnSpc>
                <a:spcPct val="100000"/>
              </a:lnSpc>
              <a:spcBef>
                <a:spcPct val="0"/>
              </a:spcBef>
              <a:spcAft>
                <a:spcPct val="0"/>
              </a:spcAft>
            </a:pPr>
            <a:endParaRPr lang="en-US" sz="2601" b="0" i="0" kern="1200" baseline="0" dirty="0" err="1">
              <a:solidFill>
                <a:schemeClr val="bg1"/>
              </a:solidFill>
              <a:latin typeface="Lato" panose="020F0502020204030203" pitchFamily="34" charset="0"/>
              <a:ea typeface="+mj-ea"/>
              <a:cs typeface="Arial" pitchFamily="34" charset="0"/>
              <a:sym typeface="Lato" panose="020F0502020204030203" pitchFamily="34" charset="0"/>
            </a:endParaRPr>
          </a:p>
        </p:txBody>
      </p:sp>
      <p:sp>
        <p:nvSpPr>
          <p:cNvPr id="13" name="Rectangle 12"/>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sp>
        <p:nvSpPr>
          <p:cNvPr id="21" name="Title 1"/>
          <p:cNvSpPr>
            <a:spLocks noGrp="1"/>
          </p:cNvSpPr>
          <p:nvPr>
            <p:ph type="title" hasCustomPrompt="1"/>
          </p:nvPr>
        </p:nvSpPr>
        <p:spPr>
          <a:xfrm>
            <a:off x="943690" y="91834"/>
            <a:ext cx="10618842" cy="800476"/>
          </a:xfrm>
        </p:spPr>
        <p:txBody>
          <a:bodyPr wrap="square">
            <a:spAutoFit/>
          </a:bodyPr>
          <a:lstStyle>
            <a:lvl1pPr>
              <a:defRPr sz="2601" baseline="0">
                <a:solidFill>
                  <a:srgbClr val="881946"/>
                </a:solidFill>
                <a:latin typeface="+mj-lt"/>
              </a:defRPr>
            </a:lvl1pPr>
          </a:lstStyle>
          <a:p>
            <a:r>
              <a:rPr lang="en-US" dirty="0"/>
              <a:t>Title of the slide in </a:t>
            </a:r>
            <a:r>
              <a:rPr lang="en-US" dirty="0" err="1"/>
              <a:t>Lato</a:t>
            </a:r>
            <a:r>
              <a:rPr lang="en-US" dirty="0"/>
              <a:t> 26 points</a:t>
            </a:r>
            <a:br>
              <a:rPr lang="en-US" dirty="0"/>
            </a:br>
            <a:r>
              <a:rPr lang="en-US" dirty="0"/>
              <a:t>Max 2 lines</a:t>
            </a:r>
          </a:p>
        </p:txBody>
      </p:sp>
      <p:sp>
        <p:nvSpPr>
          <p:cNvPr id="30" name="Text Placeholder 2">
            <a:extLst>
              <a:ext uri="{FF2B5EF4-FFF2-40B4-BE49-F238E27FC236}">
                <a16:creationId xmlns:a16="http://schemas.microsoft.com/office/drawing/2014/main" id="{0D95A394-4E1F-4F2F-AB8C-19CB500312E6}"/>
              </a:ext>
            </a:extLst>
          </p:cNvPr>
          <p:cNvSpPr>
            <a:spLocks noGrp="1"/>
          </p:cNvSpPr>
          <p:nvPr>
            <p:ph idx="1"/>
          </p:nvPr>
        </p:nvSpPr>
        <p:spPr bwMode="gray">
          <a:xfrm>
            <a:off x="943690" y="1257300"/>
            <a:ext cx="10621127" cy="5067300"/>
          </a:xfrm>
          <a:prstGeom prst="rect">
            <a:avLst/>
          </a:prstGeom>
        </p:spPr>
        <p:txBody>
          <a:bodyPr vert="horz" wrap="square" lIns="0" tIns="0" rIns="0" bIns="0" rtlCol="0">
            <a:noAutofit/>
          </a:bodyPr>
          <a:lstStyle>
            <a:lvl1pPr>
              <a:defRPr>
                <a:solidFill>
                  <a:srgbClr val="606060"/>
                </a:solidFill>
              </a:defRPr>
            </a:lvl1pPr>
            <a:lvl2pPr>
              <a:defRPr>
                <a:solidFill>
                  <a:srgbClr val="606060"/>
                </a:solidFill>
              </a:defRPr>
            </a:lvl2pPr>
            <a:lvl3pPr>
              <a:defRPr>
                <a:solidFill>
                  <a:srgbClr val="606060"/>
                </a:solidFill>
              </a:defRPr>
            </a:lvl3pPr>
            <a:lvl4pPr>
              <a:defRPr>
                <a:solidFill>
                  <a:srgbClr val="606060"/>
                </a:solidFill>
              </a:defRPr>
            </a:lvl4pPr>
            <a:lvl5pPr>
              <a:defRPr>
                <a:solidFill>
                  <a:srgbClr val="60606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6"/>
          <p:cNvSpPr>
            <a:spLocks noGrp="1"/>
          </p:cNvSpPr>
          <p:nvPr>
            <p:ph type="body" sz="quarter" idx="14" hasCustomPrompt="1"/>
          </p:nvPr>
        </p:nvSpPr>
        <p:spPr>
          <a:xfrm>
            <a:off x="943691" y="6377453"/>
            <a:ext cx="8059634" cy="308033"/>
          </a:xfrm>
        </p:spPr>
        <p:txBody>
          <a:bodyPr wrap="square" anchor="b">
            <a:spAutoFit/>
          </a:bodyPr>
          <a:lstStyle>
            <a:lvl1pPr marL="0" indent="0">
              <a:buNone/>
              <a:defRPr sz="1001" baseline="0">
                <a:solidFill>
                  <a:srgbClr val="606060"/>
                </a:solidFill>
              </a:defRPr>
            </a:lvl1pPr>
          </a:lstStyle>
          <a:p>
            <a:pPr lvl="0"/>
            <a:r>
              <a:rPr lang="en-US" dirty="0"/>
              <a:t>This space is reserved for footnotes and sources only, and cannot be expanded beyond its current size.                                        Source: [Author/Publisher Name], [Report Name], [Year]</a:t>
            </a:r>
          </a:p>
        </p:txBody>
      </p:sp>
      <p:sp>
        <p:nvSpPr>
          <p:cNvPr id="41" name="Text Placeholder 6"/>
          <p:cNvSpPr>
            <a:spLocks noGrp="1"/>
          </p:cNvSpPr>
          <p:nvPr>
            <p:ph type="body" sz="quarter" idx="18" hasCustomPrompt="1"/>
          </p:nvPr>
        </p:nvSpPr>
        <p:spPr>
          <a:xfrm>
            <a:off x="1162005" y="5553610"/>
            <a:ext cx="10182212" cy="770990"/>
          </a:xfrm>
          <a:prstGeom prst="roundRect">
            <a:avLst>
              <a:gd name="adj" fmla="val 16667"/>
            </a:avLst>
          </a:prstGeom>
          <a:solidFill>
            <a:schemeClr val="tx2"/>
          </a:solidFill>
        </p:spPr>
        <p:txBody>
          <a:bodyPr wrap="square" lIns="182880" tIns="91440" rIns="182880" bIns="91440" anchor="ctr">
            <a:noAutofit/>
          </a:bodyPr>
          <a:lstStyle>
            <a:lvl1pPr marL="0" indent="0" algn="ctr">
              <a:buNone/>
              <a:defRPr sz="2000" b="0" i="1">
                <a:solidFill>
                  <a:schemeClr val="bg1"/>
                </a:solidFill>
              </a:defRPr>
            </a:lvl1pPr>
            <a:lvl2pPr>
              <a:defRPr sz="2000" b="1">
                <a:solidFill>
                  <a:schemeClr val="bg1"/>
                </a:solidFill>
              </a:defRPr>
            </a:lvl2pPr>
            <a:lvl3pPr>
              <a:defRPr sz="2000" b="1">
                <a:solidFill>
                  <a:schemeClr val="bg1"/>
                </a:solidFill>
              </a:defRPr>
            </a:lvl3pPr>
            <a:lvl4pPr>
              <a:defRPr sz="2000" b="1">
                <a:solidFill>
                  <a:schemeClr val="bg1"/>
                </a:solidFill>
              </a:defRPr>
            </a:lvl4pPr>
            <a:lvl5pPr>
              <a:defRPr sz="2000" b="1" baseline="0">
                <a:solidFill>
                  <a:schemeClr val="bg1"/>
                </a:solidFill>
              </a:defRPr>
            </a:lvl5pPr>
            <a:lvl6pPr>
              <a:defRPr sz="2000" b="1" baseline="0">
                <a:solidFill>
                  <a:schemeClr val="bg1"/>
                </a:solidFill>
              </a:defRPr>
            </a:lvl6pPr>
            <a:lvl7pPr>
              <a:defRPr sz="2000" b="1" baseline="0">
                <a:solidFill>
                  <a:schemeClr val="bg1"/>
                </a:solidFill>
              </a:defRPr>
            </a:lvl7pPr>
            <a:lvl8pPr>
              <a:defRPr sz="2000" b="1">
                <a:solidFill>
                  <a:schemeClr val="bg1"/>
                </a:solidFill>
              </a:defRPr>
            </a:lvl8pPr>
            <a:lvl9pPr>
              <a:defRPr sz="2000" b="1">
                <a:solidFill>
                  <a:schemeClr val="bg1"/>
                </a:solidFill>
              </a:defRPr>
            </a:lvl9pPr>
          </a:lstStyle>
          <a:p>
            <a:pPr lvl="0"/>
            <a:r>
              <a:rPr lang="en-US" dirty="0"/>
              <a:t>Key takeaway in </a:t>
            </a:r>
            <a:r>
              <a:rPr lang="en-US" dirty="0" err="1"/>
              <a:t>Lato</a:t>
            </a:r>
            <a:r>
              <a:rPr lang="en-US" dirty="0"/>
              <a:t> 20 points Italics</a:t>
            </a:r>
          </a:p>
        </p:txBody>
      </p:sp>
      <p:sp>
        <p:nvSpPr>
          <p:cNvPr id="23" name="Text Placeholder 6">
            <a:extLst>
              <a:ext uri="{FF2B5EF4-FFF2-40B4-BE49-F238E27FC236}">
                <a16:creationId xmlns:a16="http://schemas.microsoft.com/office/drawing/2014/main" id="{C7627114-13E2-4A1D-B0FE-308C78ECDB05}"/>
              </a:ext>
            </a:extLst>
          </p:cNvPr>
          <p:cNvSpPr>
            <a:spLocks noGrp="1"/>
          </p:cNvSpPr>
          <p:nvPr>
            <p:ph type="body" sz="quarter" idx="17" hasCustomPrompt="1"/>
          </p:nvPr>
        </p:nvSpPr>
        <p:spPr>
          <a:xfrm>
            <a:off x="80277" y="399740"/>
            <a:ext cx="468922" cy="184666"/>
          </a:xfrm>
        </p:spPr>
        <p:txBody>
          <a:bodyPr wrap="square" anchor="ctr">
            <a:spAutoFit/>
          </a:bodyPr>
          <a:lstStyle>
            <a:lvl1pPr marL="0" indent="0" algn="ctr">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dirty="0"/>
              <a:t>Text</a:t>
            </a:r>
          </a:p>
        </p:txBody>
      </p:sp>
      <p:sp>
        <p:nvSpPr>
          <p:cNvPr id="25" name="Rectangle 24">
            <a:extLst>
              <a:ext uri="{FF2B5EF4-FFF2-40B4-BE49-F238E27FC236}">
                <a16:creationId xmlns:a16="http://schemas.microsoft.com/office/drawing/2014/main" id="{42AB4C89-B1EC-4A14-ACBA-D8660D045E3E}"/>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sp>
        <p:nvSpPr>
          <p:cNvPr id="26" name="Slide Number Placeholder 5">
            <a:extLst>
              <a:ext uri="{FF2B5EF4-FFF2-40B4-BE49-F238E27FC236}">
                <a16:creationId xmlns:a16="http://schemas.microsoft.com/office/drawing/2014/main" id="{25137EBA-3F1B-47EF-AA71-4D15B4EA5EBD}"/>
              </a:ext>
            </a:extLst>
          </p:cNvPr>
          <p:cNvSpPr>
            <a:spLocks noGrp="1"/>
          </p:cNvSpPr>
          <p:nvPr>
            <p:ph type="sldNum" sz="quarter" idx="4"/>
          </p:nvPr>
        </p:nvSpPr>
        <p:spPr bwMode="gray">
          <a:xfrm>
            <a:off x="11743978" y="6529802"/>
            <a:ext cx="280034" cy="154017"/>
          </a:xfrm>
          <a:prstGeom prst="rect">
            <a:avLst/>
          </a:prstGeom>
          <a:noFill/>
        </p:spPr>
        <p:txBody>
          <a:bodyPr vert="horz" wrap="square" lIns="0" tIns="0" rIns="0" bIns="0" rtlCol="0" anchor="ctr">
            <a:spAutoFit/>
          </a:bodyPr>
          <a:lstStyle>
            <a:lvl1pPr algn="ctr">
              <a:defRPr sz="1001">
                <a:solidFill>
                  <a:schemeClr val="bg1"/>
                </a:solidFill>
                <a:latin typeface="Lato" panose="020F0502020204030203" pitchFamily="34" charset="0"/>
                <a:cs typeface="Arial" pitchFamily="34" charset="0"/>
              </a:defRPr>
            </a:lvl1pPr>
          </a:lstStyle>
          <a:p>
            <a:fld id="{A90607E6-BCED-4FC1-A345-AB2A307AB80F}" type="slidenum">
              <a:rPr lang="en-US" smtClean="0"/>
              <a:pPr/>
              <a:t>‹#›</a:t>
            </a:fld>
            <a:endParaRPr lang="en-US" dirty="0"/>
          </a:p>
        </p:txBody>
      </p:sp>
      <p:pic>
        <p:nvPicPr>
          <p:cNvPr id="14" name="Picture 13">
            <a:extLst>
              <a:ext uri="{FF2B5EF4-FFF2-40B4-BE49-F238E27FC236}">
                <a16:creationId xmlns:a16="http://schemas.microsoft.com/office/drawing/2014/main" id="{7EFE7004-567E-4210-8FF4-138194224CC7}"/>
              </a:ext>
            </a:extLst>
          </p:cNvPr>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480621" y="6511925"/>
            <a:ext cx="704948" cy="219106"/>
          </a:xfrm>
          <a:prstGeom prst="rect">
            <a:avLst/>
          </a:prstGeom>
        </p:spPr>
      </p:pic>
    </p:spTree>
    <p:extLst>
      <p:ext uri="{BB962C8B-B14F-4D97-AF65-F5344CB8AC3E}">
        <p14:creationId xmlns:p14="http://schemas.microsoft.com/office/powerpoint/2010/main" val="55422788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tags" Target="../tags/tag5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ags" Target="../tags/tag49.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vmlDrawing" Target="../drawings/vmlDrawing34.vml"/><Relationship Id="rId5" Type="http://schemas.openxmlformats.org/officeDocument/2006/relationships/slideLayout" Target="../slideLayouts/slideLayout37.xml"/><Relationship Id="rId15" Type="http://schemas.openxmlformats.org/officeDocument/2006/relationships/image" Target="../media/image1.emf"/><Relationship Id="rId10" Type="http://schemas.openxmlformats.org/officeDocument/2006/relationships/theme" Target="../theme/theme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oleObject" Target="../embeddings/oleObject34.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35"/>
            </p:custDataLst>
            <p:extLst>
              <p:ext uri="{D42A27DB-BD31-4B8C-83A1-F6EECF244321}">
                <p14:modId xmlns:p14="http://schemas.microsoft.com/office/powerpoint/2010/main" val="2979360019"/>
              </p:ext>
            </p:extLst>
          </p:nvPr>
        </p:nvGraphicFramePr>
        <p:xfrm>
          <a:off x="2121" y="2118"/>
          <a:ext cx="2116" cy="2116"/>
        </p:xfrm>
        <a:graphic>
          <a:graphicData uri="http://schemas.openxmlformats.org/presentationml/2006/ole">
            <mc:AlternateContent xmlns:mc="http://schemas.openxmlformats.org/markup-compatibility/2006">
              <mc:Choice xmlns:v="urn:schemas-microsoft-com:vml" Requires="v">
                <p:oleObj spid="_x0000_s99275" name="think-cell Slide" r:id="rId37" imgW="383" imgH="385" progId="TCLayout.ActiveDocument.1">
                  <p:embed/>
                </p:oleObj>
              </mc:Choice>
              <mc:Fallback>
                <p:oleObj name="think-cell Slide" r:id="rId37" imgW="383" imgH="385" progId="TCLayout.ActiveDocument.1">
                  <p:embed/>
                  <p:pic>
                    <p:nvPicPr>
                      <p:cNvPr id="0" name=""/>
                      <p:cNvPicPr/>
                      <p:nvPr/>
                    </p:nvPicPr>
                    <p:blipFill>
                      <a:blip r:embed="rId38"/>
                      <a:stretch>
                        <a:fillRect/>
                      </a:stretch>
                    </p:blipFill>
                    <p:spPr>
                      <a:xfrm>
                        <a:off x="2121" y="2118"/>
                        <a:ext cx="2116" cy="211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13F072A-B7C1-400B-AE8D-CCAAC45BA215}"/>
              </a:ext>
            </a:extLst>
          </p:cNvPr>
          <p:cNvSpPr/>
          <p:nvPr userDrawn="1">
            <p:custDataLst>
              <p:tags r:id="rId36"/>
            </p:custDataLst>
          </p:nvPr>
        </p:nvSpPr>
        <p:spPr>
          <a:xfrm>
            <a:off x="0" y="0"/>
            <a:ext cx="158750" cy="158750"/>
          </a:xfrm>
          <a:prstGeom prst="rect">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23" rtl="0" eaLnBrk="1" latinLnBrk="0" hangingPunct="1">
              <a:lnSpc>
                <a:spcPct val="100000"/>
              </a:lnSpc>
              <a:spcBef>
                <a:spcPct val="0"/>
              </a:spcBef>
              <a:spcAft>
                <a:spcPct val="0"/>
              </a:spcAft>
            </a:pPr>
            <a:endParaRPr lang="en-US" sz="2601" b="0" i="0" kern="1200" baseline="0" dirty="0" err="1">
              <a:solidFill>
                <a:schemeClr val="bg1"/>
              </a:solidFill>
              <a:latin typeface="Lato" panose="020F0502020204030203" pitchFamily="34" charset="0"/>
              <a:ea typeface="+mj-ea"/>
              <a:cs typeface="Arial" pitchFamily="34" charset="0"/>
              <a:sym typeface="Lato" panose="020F0502020204030203" pitchFamily="34" charset="0"/>
            </a:endParaRPr>
          </a:p>
        </p:txBody>
      </p:sp>
      <p:sp>
        <p:nvSpPr>
          <p:cNvPr id="2" name="Title Placeholder 1"/>
          <p:cNvSpPr>
            <a:spLocks noGrp="1"/>
          </p:cNvSpPr>
          <p:nvPr>
            <p:ph type="title"/>
          </p:nvPr>
        </p:nvSpPr>
        <p:spPr bwMode="gray">
          <a:xfrm>
            <a:off x="943689" y="291952"/>
            <a:ext cx="10621127" cy="400238"/>
          </a:xfrm>
          <a:prstGeom prst="rect">
            <a:avLst/>
          </a:prstGeom>
        </p:spPr>
        <p:txBody>
          <a:bodyPr vert="horz" wrap="square" lIns="0" tIns="0" rIns="0" bIns="0" rtlCol="0" anchor="ctr">
            <a:spAutoFit/>
          </a:bodyPr>
          <a:lstStyle/>
          <a:p>
            <a:r>
              <a:rPr lang="en-US"/>
              <a:t>Click to edit Master title style</a:t>
            </a:r>
            <a:endParaRPr lang="en-US" dirty="0"/>
          </a:p>
        </p:txBody>
      </p:sp>
      <p:sp>
        <p:nvSpPr>
          <p:cNvPr id="3" name="Text Placeholder 2"/>
          <p:cNvSpPr>
            <a:spLocks noGrp="1"/>
          </p:cNvSpPr>
          <p:nvPr>
            <p:ph type="body" idx="1"/>
          </p:nvPr>
        </p:nvSpPr>
        <p:spPr bwMode="gray">
          <a:xfrm>
            <a:off x="943690" y="1257300"/>
            <a:ext cx="10621127" cy="4987966"/>
          </a:xfrm>
          <a:prstGeom prst="rect">
            <a:avLst/>
          </a:prstGeom>
        </p:spPr>
        <p:txBody>
          <a:bodyPr vert="horz" wrap="square" lIns="0" tIns="0" rIns="0" bIns="0" rtlCol="0">
            <a:noAutofit/>
          </a:bodyPr>
          <a:lstStyle/>
          <a:p>
            <a:pPr lvl="0"/>
            <a:r>
              <a:rPr lang="en-US" dirty="0"/>
              <a:t>Click to edit Master text style</a:t>
            </a:r>
          </a:p>
          <a:p>
            <a:pPr lvl="1"/>
            <a:r>
              <a:rPr lang="en-US" dirty="0"/>
              <a:t>Second level bullet point</a:t>
            </a:r>
          </a:p>
          <a:p>
            <a:pPr lvl="2"/>
            <a:r>
              <a:rPr lang="en-US" dirty="0"/>
              <a:t>Third level bullet point</a:t>
            </a:r>
          </a:p>
          <a:p>
            <a:pPr lvl="3"/>
            <a:r>
              <a:rPr lang="en-US" dirty="0"/>
              <a:t>Fourth level bullet point</a:t>
            </a:r>
          </a:p>
          <a:p>
            <a:pPr lvl="4"/>
            <a:r>
              <a:rPr lang="en-US" dirty="0"/>
              <a:t>Fifth level bullet point</a:t>
            </a:r>
          </a:p>
          <a:p>
            <a:pPr lvl="5"/>
            <a:r>
              <a:rPr lang="en-US" dirty="0"/>
              <a:t>Sixth level bullet point</a:t>
            </a:r>
          </a:p>
          <a:p>
            <a:pPr lvl="6"/>
            <a:r>
              <a:rPr lang="en-US" dirty="0"/>
              <a:t>Seventh level bullet point</a:t>
            </a:r>
          </a:p>
          <a:p>
            <a:pPr lvl="7"/>
            <a:r>
              <a:rPr lang="en-US" dirty="0"/>
              <a:t>Eighth level bullet point</a:t>
            </a:r>
          </a:p>
          <a:p>
            <a:pPr lvl="8"/>
            <a:r>
              <a:rPr lang="en-US" dirty="0"/>
              <a:t>Ninth level bullet point</a:t>
            </a:r>
          </a:p>
        </p:txBody>
      </p:sp>
      <p:sp>
        <p:nvSpPr>
          <p:cNvPr id="6" name="Slide Number Placeholder 5"/>
          <p:cNvSpPr>
            <a:spLocks noGrp="1"/>
          </p:cNvSpPr>
          <p:nvPr>
            <p:ph type="sldNum" sz="quarter" idx="4"/>
          </p:nvPr>
        </p:nvSpPr>
        <p:spPr bwMode="gray">
          <a:xfrm>
            <a:off x="11743978" y="6529802"/>
            <a:ext cx="280034" cy="154017"/>
          </a:xfrm>
          <a:prstGeom prst="rect">
            <a:avLst/>
          </a:prstGeom>
          <a:noFill/>
        </p:spPr>
        <p:txBody>
          <a:bodyPr vert="horz" wrap="square" lIns="0" tIns="0" rIns="0" bIns="0" rtlCol="0" anchor="ctr">
            <a:spAutoFit/>
          </a:bodyPr>
          <a:lstStyle>
            <a:lvl1pPr algn="ctr">
              <a:defRPr sz="1001">
                <a:solidFill>
                  <a:schemeClr val="tx1"/>
                </a:solidFill>
                <a:latin typeface="Lato" panose="020F0502020204030203" pitchFamily="34" charset="0"/>
                <a:cs typeface="Arial" pitchFamily="34" charset="0"/>
              </a:defRPr>
            </a:lvl1pPr>
          </a:lstStyle>
          <a:p>
            <a:fld id="{A90607E6-BCED-4FC1-A345-AB2A307AB80F}" type="slidenum">
              <a:rPr lang="en-US" smtClean="0"/>
              <a:pPr/>
              <a:t>‹#›</a:t>
            </a:fld>
            <a:endParaRPr lang="en-US" dirty="0"/>
          </a:p>
        </p:txBody>
      </p:sp>
    </p:spTree>
    <p:extLst>
      <p:ext uri="{BB962C8B-B14F-4D97-AF65-F5344CB8AC3E}">
        <p14:creationId xmlns:p14="http://schemas.microsoft.com/office/powerpoint/2010/main" val="2735914122"/>
      </p:ext>
    </p:extLst>
  </p:cSld>
  <p:clrMap bg1="lt1" tx1="dk1" bg2="lt2" tx2="dk2" accent1="accent1" accent2="accent2" accent3="accent3" accent4="accent4" accent5="accent5" accent6="accent6" hlink="hlink" folHlink="folHlink"/>
  <p:sldLayoutIdLst>
    <p:sldLayoutId id="2147483842" r:id="rId1"/>
    <p:sldLayoutId id="2147483872" r:id="rId2"/>
    <p:sldLayoutId id="2147483798" r:id="rId3"/>
    <p:sldLayoutId id="2147483799" r:id="rId4"/>
    <p:sldLayoutId id="2147483836" r:id="rId5"/>
    <p:sldLayoutId id="2147483844" r:id="rId6"/>
    <p:sldLayoutId id="2147483843" r:id="rId7"/>
    <p:sldLayoutId id="2147483782" r:id="rId8"/>
    <p:sldLayoutId id="2147483793" r:id="rId9"/>
    <p:sldLayoutId id="2147483763" r:id="rId10"/>
    <p:sldLayoutId id="2147483791" r:id="rId11"/>
    <p:sldLayoutId id="2147483795" r:id="rId12"/>
    <p:sldLayoutId id="2147483792" r:id="rId13"/>
    <p:sldLayoutId id="2147483787" r:id="rId14"/>
    <p:sldLayoutId id="2147483864" r:id="rId15"/>
    <p:sldLayoutId id="2147483789" r:id="rId16"/>
    <p:sldLayoutId id="2147483760" r:id="rId17"/>
    <p:sldLayoutId id="2147483692" r:id="rId18"/>
    <p:sldLayoutId id="2147483845" r:id="rId19"/>
    <p:sldLayoutId id="2147483800" r:id="rId20"/>
    <p:sldLayoutId id="2147483846" r:id="rId21"/>
    <p:sldLayoutId id="2147483847" r:id="rId22"/>
    <p:sldLayoutId id="2147483714" r:id="rId23"/>
    <p:sldLayoutId id="2147483772" r:id="rId24"/>
    <p:sldLayoutId id="2147483786" r:id="rId25"/>
    <p:sldLayoutId id="2147483801" r:id="rId26"/>
    <p:sldLayoutId id="2147483869" r:id="rId27"/>
    <p:sldLayoutId id="2147483875" r:id="rId28"/>
    <p:sldLayoutId id="2147483873" r:id="rId29"/>
    <p:sldLayoutId id="2147483874" r:id="rId30"/>
    <p:sldLayoutId id="2147483876" r:id="rId31"/>
    <p:sldLayoutId id="2147483870" r:id="rId32"/>
  </p:sldLayoutIdLst>
  <p:hf hdr="0"/>
  <p:txStyles>
    <p:titleStyle>
      <a:lvl1pPr algn="l" defTabSz="1072893" rtl="0" eaLnBrk="1" latinLnBrk="0" hangingPunct="1">
        <a:lnSpc>
          <a:spcPct val="100000"/>
        </a:lnSpc>
        <a:spcBef>
          <a:spcPct val="0"/>
        </a:spcBef>
        <a:buNone/>
        <a:defRPr sz="2601" b="0" kern="1200">
          <a:solidFill>
            <a:srgbClr val="881946"/>
          </a:solidFill>
          <a:latin typeface="+mj-lt"/>
          <a:ea typeface="+mj-ea"/>
          <a:cs typeface="Arial" pitchFamily="34" charset="0"/>
        </a:defRPr>
      </a:lvl1pPr>
    </p:titleStyle>
    <p:bodyStyle>
      <a:lvl1pPr marL="201167" indent="-201167" algn="l" defTabSz="1072893" rtl="0" eaLnBrk="1" latinLnBrk="0" hangingPunct="1">
        <a:lnSpc>
          <a:spcPct val="100000"/>
        </a:lnSpc>
        <a:spcBef>
          <a:spcPts val="0"/>
        </a:spcBef>
        <a:buFont typeface="Arial" panose="020B0604020202020204" pitchFamily="34" charset="0"/>
        <a:buChar char="•"/>
        <a:defRPr sz="1600" kern="1200">
          <a:solidFill>
            <a:srgbClr val="606060"/>
          </a:solidFill>
          <a:latin typeface="Lato" panose="020F0502020204030203" pitchFamily="34" charset="0"/>
          <a:ea typeface="+mn-ea"/>
          <a:cs typeface="Arial" pitchFamily="34" charset="0"/>
        </a:defRPr>
      </a:lvl1pPr>
      <a:lvl2pPr marL="402335"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2pPr>
      <a:lvl3pPr marL="603502" indent="-201167"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3pPr>
      <a:lvl4pPr marL="804669"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4pPr>
      <a:lvl5pPr marL="1005836" indent="-201167"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5pPr>
      <a:lvl6pPr marL="1207004"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6pPr>
      <a:lvl7pPr marL="1408172" indent="-197442"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7pPr>
      <a:lvl8pPr marL="1609339" indent="-204894"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8pPr>
      <a:lvl9pPr marL="1743449" indent="-197442"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9pPr>
    </p:bodyStyle>
    <p:otherStyle>
      <a:defPPr>
        <a:defRPr lang="en-US"/>
      </a:defPPr>
      <a:lvl1pPr marL="0" algn="l" defTabSz="1072893" rtl="0" eaLnBrk="1" latinLnBrk="0" hangingPunct="1">
        <a:defRPr sz="2100" kern="1200">
          <a:solidFill>
            <a:schemeClr val="tx1"/>
          </a:solidFill>
          <a:latin typeface="+mn-lt"/>
          <a:ea typeface="+mn-ea"/>
          <a:cs typeface="+mn-cs"/>
        </a:defRPr>
      </a:lvl1pPr>
      <a:lvl2pPr marL="536447" algn="l" defTabSz="1072893" rtl="0" eaLnBrk="1" latinLnBrk="0" hangingPunct="1">
        <a:defRPr sz="2100" kern="1200">
          <a:solidFill>
            <a:schemeClr val="tx1"/>
          </a:solidFill>
          <a:latin typeface="+mn-lt"/>
          <a:ea typeface="+mn-ea"/>
          <a:cs typeface="+mn-cs"/>
        </a:defRPr>
      </a:lvl2pPr>
      <a:lvl3pPr marL="1072893" algn="l" defTabSz="1072893" rtl="0" eaLnBrk="1" latinLnBrk="0" hangingPunct="1">
        <a:defRPr sz="2100" kern="1200">
          <a:solidFill>
            <a:schemeClr val="tx1"/>
          </a:solidFill>
          <a:latin typeface="+mn-lt"/>
          <a:ea typeface="+mn-ea"/>
          <a:cs typeface="+mn-cs"/>
        </a:defRPr>
      </a:lvl3pPr>
      <a:lvl4pPr marL="1609339" algn="l" defTabSz="1072893" rtl="0" eaLnBrk="1" latinLnBrk="0" hangingPunct="1">
        <a:defRPr sz="2100" kern="1200">
          <a:solidFill>
            <a:schemeClr val="tx1"/>
          </a:solidFill>
          <a:latin typeface="+mn-lt"/>
          <a:ea typeface="+mn-ea"/>
          <a:cs typeface="+mn-cs"/>
        </a:defRPr>
      </a:lvl4pPr>
      <a:lvl5pPr marL="2145784" algn="l" defTabSz="1072893" rtl="0" eaLnBrk="1" latinLnBrk="0" hangingPunct="1">
        <a:defRPr sz="2100" kern="1200">
          <a:solidFill>
            <a:schemeClr val="tx1"/>
          </a:solidFill>
          <a:latin typeface="+mn-lt"/>
          <a:ea typeface="+mn-ea"/>
          <a:cs typeface="+mn-cs"/>
        </a:defRPr>
      </a:lvl5pPr>
      <a:lvl6pPr marL="2682231" algn="l" defTabSz="1072893" rtl="0" eaLnBrk="1" latinLnBrk="0" hangingPunct="1">
        <a:defRPr sz="2100" kern="1200">
          <a:solidFill>
            <a:schemeClr val="tx1"/>
          </a:solidFill>
          <a:latin typeface="+mn-lt"/>
          <a:ea typeface="+mn-ea"/>
          <a:cs typeface="+mn-cs"/>
        </a:defRPr>
      </a:lvl6pPr>
      <a:lvl7pPr marL="3218677" algn="l" defTabSz="1072893" rtl="0" eaLnBrk="1" latinLnBrk="0" hangingPunct="1">
        <a:defRPr sz="2100" kern="1200">
          <a:solidFill>
            <a:schemeClr val="tx1"/>
          </a:solidFill>
          <a:latin typeface="+mn-lt"/>
          <a:ea typeface="+mn-ea"/>
          <a:cs typeface="+mn-cs"/>
        </a:defRPr>
      </a:lvl7pPr>
      <a:lvl8pPr marL="3755123" algn="l" defTabSz="1072893" rtl="0" eaLnBrk="1" latinLnBrk="0" hangingPunct="1">
        <a:defRPr sz="2100" kern="1200">
          <a:solidFill>
            <a:schemeClr val="tx1"/>
          </a:solidFill>
          <a:latin typeface="+mn-lt"/>
          <a:ea typeface="+mn-ea"/>
          <a:cs typeface="+mn-cs"/>
        </a:defRPr>
      </a:lvl8pPr>
      <a:lvl9pPr marL="4291569" algn="l" defTabSz="1072893"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54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2"/>
            </p:custDataLst>
            <p:extLst>
              <p:ext uri="{D42A27DB-BD31-4B8C-83A1-F6EECF244321}">
                <p14:modId xmlns:p14="http://schemas.microsoft.com/office/powerpoint/2010/main" val="4136761167"/>
              </p:ext>
            </p:extLst>
          </p:nvPr>
        </p:nvGraphicFramePr>
        <p:xfrm>
          <a:off x="2121" y="2118"/>
          <a:ext cx="2116" cy="2116"/>
        </p:xfrm>
        <a:graphic>
          <a:graphicData uri="http://schemas.openxmlformats.org/presentationml/2006/ole">
            <mc:AlternateContent xmlns:mc="http://schemas.openxmlformats.org/markup-compatibility/2006">
              <mc:Choice xmlns:v="urn:schemas-microsoft-com:vml" Requires="v">
                <p:oleObj spid="_x0000_s357850" name="think-cell Slide" r:id="rId14" imgW="383" imgH="385" progId="TCLayout.ActiveDocument.1">
                  <p:embed/>
                </p:oleObj>
              </mc:Choice>
              <mc:Fallback>
                <p:oleObj name="think-cell Slide" r:id="rId14" imgW="383" imgH="385" progId="TCLayout.ActiveDocument.1">
                  <p:embed/>
                  <p:pic>
                    <p:nvPicPr>
                      <p:cNvPr id="7" name="Object 6" hidden="1"/>
                      <p:cNvPicPr/>
                      <p:nvPr/>
                    </p:nvPicPr>
                    <p:blipFill>
                      <a:blip r:embed="rId15"/>
                      <a:stretch>
                        <a:fillRect/>
                      </a:stretch>
                    </p:blipFill>
                    <p:spPr>
                      <a:xfrm>
                        <a:off x="2121" y="2118"/>
                        <a:ext cx="2116" cy="211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B3AA238-273B-48FC-AE9A-D1A38CEFB0C0}"/>
              </a:ext>
            </a:extLst>
          </p:cNvPr>
          <p:cNvSpPr/>
          <p:nvPr userDrawn="1">
            <p:custDataLst>
              <p:tags r:id="rId13"/>
            </p:custDataLst>
          </p:nvPr>
        </p:nvSpPr>
        <p:spPr>
          <a:xfrm>
            <a:off x="0" y="0"/>
            <a:ext cx="158750" cy="158750"/>
          </a:xfrm>
          <a:prstGeom prst="rect">
            <a:avLst/>
          </a:prstGeom>
          <a:solidFill>
            <a:schemeClr val="accent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23" rtl="0" eaLnBrk="1" latinLnBrk="0" hangingPunct="1">
              <a:lnSpc>
                <a:spcPct val="100000"/>
              </a:lnSpc>
              <a:spcBef>
                <a:spcPct val="0"/>
              </a:spcBef>
              <a:spcAft>
                <a:spcPct val="0"/>
              </a:spcAft>
            </a:pPr>
            <a:endParaRPr lang="en-US" sz="4201" b="0" i="0" kern="1200" baseline="0" dirty="0" err="1">
              <a:solidFill>
                <a:schemeClr val="bg2"/>
              </a:solidFill>
              <a:latin typeface="Lato Light" panose="020F0302020204030203"/>
              <a:ea typeface="+mj-ea"/>
              <a:cs typeface="Arial" pitchFamily="34" charset="0"/>
              <a:sym typeface="Lato Light" panose="020F0302020204030203"/>
            </a:endParaRPr>
          </a:p>
        </p:txBody>
      </p:sp>
      <p:sp>
        <p:nvSpPr>
          <p:cNvPr id="2" name="Title Placeholder 1"/>
          <p:cNvSpPr>
            <a:spLocks noGrp="1"/>
          </p:cNvSpPr>
          <p:nvPr>
            <p:ph type="title"/>
          </p:nvPr>
        </p:nvSpPr>
        <p:spPr bwMode="gray">
          <a:xfrm>
            <a:off x="943689" y="168845"/>
            <a:ext cx="10621127" cy="646459"/>
          </a:xfrm>
          <a:prstGeom prst="rect">
            <a:avLst/>
          </a:prstGeom>
        </p:spPr>
        <p:txBody>
          <a:bodyPr vert="horz" wrap="square" lIns="0" tIns="0" rIns="0" bIns="0" rtlCol="0" anchor="ctr">
            <a:spAutoFit/>
          </a:bodyPr>
          <a:lstStyle/>
          <a:p>
            <a:r>
              <a:rPr lang="en-US" dirty="0"/>
              <a:t>Click to edit Master title style</a:t>
            </a:r>
          </a:p>
        </p:txBody>
      </p:sp>
      <p:sp>
        <p:nvSpPr>
          <p:cNvPr id="3" name="Text Placeholder 2"/>
          <p:cNvSpPr>
            <a:spLocks noGrp="1"/>
          </p:cNvSpPr>
          <p:nvPr>
            <p:ph type="body" idx="1"/>
          </p:nvPr>
        </p:nvSpPr>
        <p:spPr bwMode="gray">
          <a:xfrm>
            <a:off x="943690" y="1257300"/>
            <a:ext cx="10621127" cy="4987966"/>
          </a:xfrm>
          <a:prstGeom prst="rect">
            <a:avLst/>
          </a:prstGeom>
        </p:spPr>
        <p:txBody>
          <a:bodyPr vert="horz" wrap="square" lIns="0" tIns="0" rIns="0" bIns="0" rtlCol="0">
            <a:noAutofit/>
          </a:bodyPr>
          <a:lstStyle/>
          <a:p>
            <a:pPr lvl="0"/>
            <a:r>
              <a:rPr lang="en-US" dirty="0"/>
              <a:t>Click to edit Master text style</a:t>
            </a:r>
          </a:p>
          <a:p>
            <a:pPr lvl="1"/>
            <a:r>
              <a:rPr lang="en-US" dirty="0"/>
              <a:t>Second level bullet point</a:t>
            </a:r>
          </a:p>
          <a:p>
            <a:pPr lvl="2"/>
            <a:r>
              <a:rPr lang="en-US" dirty="0"/>
              <a:t>Third level bullet point</a:t>
            </a:r>
          </a:p>
          <a:p>
            <a:pPr lvl="3"/>
            <a:r>
              <a:rPr lang="en-US" dirty="0"/>
              <a:t>Fourth level bullet point</a:t>
            </a:r>
          </a:p>
          <a:p>
            <a:pPr lvl="4"/>
            <a:r>
              <a:rPr lang="en-US" dirty="0"/>
              <a:t>Fifth level bullet point</a:t>
            </a:r>
          </a:p>
          <a:p>
            <a:pPr lvl="5"/>
            <a:r>
              <a:rPr lang="en-US" dirty="0"/>
              <a:t>Sixth level bullet point</a:t>
            </a:r>
          </a:p>
          <a:p>
            <a:pPr lvl="6"/>
            <a:r>
              <a:rPr lang="en-US" dirty="0"/>
              <a:t>Seventh level bullet point</a:t>
            </a:r>
          </a:p>
          <a:p>
            <a:pPr lvl="7"/>
            <a:r>
              <a:rPr lang="en-US" dirty="0"/>
              <a:t>Eighth level bullet point</a:t>
            </a:r>
          </a:p>
          <a:p>
            <a:pPr lvl="8"/>
            <a:r>
              <a:rPr lang="en-US" dirty="0"/>
              <a:t>Ninth level bullet point</a:t>
            </a:r>
          </a:p>
        </p:txBody>
      </p:sp>
      <p:sp>
        <p:nvSpPr>
          <p:cNvPr id="8" name="Slide Number Placeholder 5">
            <a:extLst>
              <a:ext uri="{FF2B5EF4-FFF2-40B4-BE49-F238E27FC236}">
                <a16:creationId xmlns:a16="http://schemas.microsoft.com/office/drawing/2014/main" id="{3A47F4BF-1DB2-41A4-9651-90F2773C33B3}"/>
              </a:ext>
            </a:extLst>
          </p:cNvPr>
          <p:cNvSpPr>
            <a:spLocks noGrp="1"/>
          </p:cNvSpPr>
          <p:nvPr>
            <p:ph type="sldNum" sz="quarter" idx="4"/>
          </p:nvPr>
        </p:nvSpPr>
        <p:spPr bwMode="gray">
          <a:xfrm>
            <a:off x="11743978" y="6529802"/>
            <a:ext cx="280034" cy="154017"/>
          </a:xfrm>
          <a:prstGeom prst="rect">
            <a:avLst/>
          </a:prstGeom>
          <a:noFill/>
        </p:spPr>
        <p:txBody>
          <a:bodyPr vert="horz" wrap="square" lIns="0" tIns="0" rIns="0" bIns="0" rtlCol="0" anchor="ctr">
            <a:spAutoFit/>
          </a:bodyPr>
          <a:lstStyle>
            <a:lvl1pPr algn="ctr">
              <a:defRPr sz="1001">
                <a:solidFill>
                  <a:schemeClr val="tx1"/>
                </a:solidFill>
                <a:latin typeface="Lato" panose="020F0502020204030203" pitchFamily="34" charset="0"/>
                <a:cs typeface="Arial" pitchFamily="34" charset="0"/>
              </a:defRPr>
            </a:lvl1pPr>
          </a:lstStyle>
          <a:p>
            <a:fld id="{A90607E6-BCED-4FC1-A345-AB2A307AB80F}" type="slidenum">
              <a:rPr lang="en-US" smtClean="0"/>
              <a:pPr/>
              <a:t>‹#›</a:t>
            </a:fld>
            <a:endParaRPr lang="en-US" dirty="0"/>
          </a:p>
        </p:txBody>
      </p:sp>
    </p:spTree>
    <p:extLst>
      <p:ext uri="{BB962C8B-B14F-4D97-AF65-F5344CB8AC3E}">
        <p14:creationId xmlns:p14="http://schemas.microsoft.com/office/powerpoint/2010/main" val="588530793"/>
      </p:ext>
    </p:extLst>
  </p:cSld>
  <p:clrMap bg1="lt1" tx1="dk1" bg2="lt2" tx2="dk2" accent1="accent1" accent2="accent2" accent3="accent3" accent4="accent4" accent5="accent5" accent6="accent6" hlink="hlink" folHlink="folHlink"/>
  <p:sldLayoutIdLst>
    <p:sldLayoutId id="2147483840" r:id="rId1"/>
    <p:sldLayoutId id="2147483839" r:id="rId2"/>
    <p:sldLayoutId id="2147483871" r:id="rId3"/>
    <p:sldLayoutId id="2147483867" r:id="rId4"/>
    <p:sldLayoutId id="2147483879" r:id="rId5"/>
    <p:sldLayoutId id="2147483880" r:id="rId6"/>
    <p:sldLayoutId id="2147483881" r:id="rId7"/>
    <p:sldLayoutId id="2147483878" r:id="rId8"/>
    <p:sldLayoutId id="2147483868" r:id="rId9"/>
  </p:sldLayoutIdLst>
  <p:hf hdr="0"/>
  <p:txStyles>
    <p:titleStyle>
      <a:lvl1pPr algn="l" defTabSz="1072893" rtl="0" eaLnBrk="1" latinLnBrk="0" hangingPunct="1">
        <a:lnSpc>
          <a:spcPct val="100000"/>
        </a:lnSpc>
        <a:spcBef>
          <a:spcPct val="0"/>
        </a:spcBef>
        <a:buNone/>
        <a:defRPr sz="4201" b="0" kern="1200">
          <a:solidFill>
            <a:srgbClr val="881946"/>
          </a:solidFill>
          <a:latin typeface="Lato Light" panose="020F0302020204030203"/>
          <a:ea typeface="+mj-ea"/>
          <a:cs typeface="Arial" pitchFamily="34" charset="0"/>
        </a:defRPr>
      </a:lvl1pPr>
    </p:titleStyle>
    <p:bodyStyle>
      <a:lvl1pPr marL="201167" indent="-201167" algn="l" defTabSz="1072893" rtl="0" eaLnBrk="1" latinLnBrk="0" hangingPunct="1">
        <a:lnSpc>
          <a:spcPct val="100000"/>
        </a:lnSpc>
        <a:spcBef>
          <a:spcPts val="0"/>
        </a:spcBef>
        <a:buFont typeface="Arial" panose="020B0604020202020204" pitchFamily="34" charset="0"/>
        <a:buChar char="•"/>
        <a:defRPr sz="1600" kern="1200">
          <a:solidFill>
            <a:srgbClr val="606060"/>
          </a:solidFill>
          <a:latin typeface="Lato" panose="020F0502020204030203" pitchFamily="34" charset="0"/>
          <a:ea typeface="+mn-ea"/>
          <a:cs typeface="Arial" pitchFamily="34" charset="0"/>
        </a:defRPr>
      </a:lvl1pPr>
      <a:lvl2pPr marL="402335"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2pPr>
      <a:lvl3pPr marL="603502" indent="-201167"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3pPr>
      <a:lvl4pPr marL="804669"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4pPr>
      <a:lvl5pPr marL="1005836" indent="-201167"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5pPr>
      <a:lvl6pPr marL="1207004"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6pPr>
      <a:lvl7pPr marL="1408172" indent="-197442"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7pPr>
      <a:lvl8pPr marL="1609339" indent="-204894"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8pPr>
      <a:lvl9pPr marL="1743449" indent="-197442"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9pPr>
    </p:bodyStyle>
    <p:otherStyle>
      <a:defPPr>
        <a:defRPr lang="en-US"/>
      </a:defPPr>
      <a:lvl1pPr marL="0" algn="l" defTabSz="1072893" rtl="0" eaLnBrk="1" latinLnBrk="0" hangingPunct="1">
        <a:defRPr sz="2100" kern="1200">
          <a:solidFill>
            <a:schemeClr val="tx1"/>
          </a:solidFill>
          <a:latin typeface="+mn-lt"/>
          <a:ea typeface="+mn-ea"/>
          <a:cs typeface="+mn-cs"/>
        </a:defRPr>
      </a:lvl1pPr>
      <a:lvl2pPr marL="536447" algn="l" defTabSz="1072893" rtl="0" eaLnBrk="1" latinLnBrk="0" hangingPunct="1">
        <a:defRPr sz="2100" kern="1200">
          <a:solidFill>
            <a:schemeClr val="tx1"/>
          </a:solidFill>
          <a:latin typeface="+mn-lt"/>
          <a:ea typeface="+mn-ea"/>
          <a:cs typeface="+mn-cs"/>
        </a:defRPr>
      </a:lvl2pPr>
      <a:lvl3pPr marL="1072893" algn="l" defTabSz="1072893" rtl="0" eaLnBrk="1" latinLnBrk="0" hangingPunct="1">
        <a:defRPr sz="2100" kern="1200">
          <a:solidFill>
            <a:schemeClr val="tx1"/>
          </a:solidFill>
          <a:latin typeface="+mn-lt"/>
          <a:ea typeface="+mn-ea"/>
          <a:cs typeface="+mn-cs"/>
        </a:defRPr>
      </a:lvl3pPr>
      <a:lvl4pPr marL="1609339" algn="l" defTabSz="1072893" rtl="0" eaLnBrk="1" latinLnBrk="0" hangingPunct="1">
        <a:defRPr sz="2100" kern="1200">
          <a:solidFill>
            <a:schemeClr val="tx1"/>
          </a:solidFill>
          <a:latin typeface="+mn-lt"/>
          <a:ea typeface="+mn-ea"/>
          <a:cs typeface="+mn-cs"/>
        </a:defRPr>
      </a:lvl4pPr>
      <a:lvl5pPr marL="2145784" algn="l" defTabSz="1072893" rtl="0" eaLnBrk="1" latinLnBrk="0" hangingPunct="1">
        <a:defRPr sz="2100" kern="1200">
          <a:solidFill>
            <a:schemeClr val="tx1"/>
          </a:solidFill>
          <a:latin typeface="+mn-lt"/>
          <a:ea typeface="+mn-ea"/>
          <a:cs typeface="+mn-cs"/>
        </a:defRPr>
      </a:lvl5pPr>
      <a:lvl6pPr marL="2682231" algn="l" defTabSz="1072893" rtl="0" eaLnBrk="1" latinLnBrk="0" hangingPunct="1">
        <a:defRPr sz="2100" kern="1200">
          <a:solidFill>
            <a:schemeClr val="tx1"/>
          </a:solidFill>
          <a:latin typeface="+mn-lt"/>
          <a:ea typeface="+mn-ea"/>
          <a:cs typeface="+mn-cs"/>
        </a:defRPr>
      </a:lvl6pPr>
      <a:lvl7pPr marL="3218677" algn="l" defTabSz="1072893" rtl="0" eaLnBrk="1" latinLnBrk="0" hangingPunct="1">
        <a:defRPr sz="2100" kern="1200">
          <a:solidFill>
            <a:schemeClr val="tx1"/>
          </a:solidFill>
          <a:latin typeface="+mn-lt"/>
          <a:ea typeface="+mn-ea"/>
          <a:cs typeface="+mn-cs"/>
        </a:defRPr>
      </a:lvl7pPr>
      <a:lvl8pPr marL="3755123" algn="l" defTabSz="1072893" rtl="0" eaLnBrk="1" latinLnBrk="0" hangingPunct="1">
        <a:defRPr sz="2100" kern="1200">
          <a:solidFill>
            <a:schemeClr val="tx1"/>
          </a:solidFill>
          <a:latin typeface="+mn-lt"/>
          <a:ea typeface="+mn-ea"/>
          <a:cs typeface="+mn-cs"/>
        </a:defRPr>
      </a:lvl8pPr>
      <a:lvl9pPr marL="4291569" algn="l" defTabSz="1072893"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545"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68.xml"/><Relationship Id="rId1" Type="http://schemas.openxmlformats.org/officeDocument/2006/relationships/vmlDrawing" Target="../drawings/vmlDrawing44.vml"/><Relationship Id="rId6" Type="http://schemas.openxmlformats.org/officeDocument/2006/relationships/image" Target="../media/image37.png"/><Relationship Id="rId5" Type="http://schemas.openxmlformats.org/officeDocument/2006/relationships/image" Target="../media/image36.emf"/><Relationship Id="rId4" Type="http://schemas.openxmlformats.org/officeDocument/2006/relationships/oleObject" Target="../embeddings/oleObject44.bin"/></Relationships>
</file>

<file path=ppt/slides/_rels/slide3.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tags" Target="../tags/tag80.xml"/><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tags" Target="../tags/tag79.xml"/><Relationship Id="rId17" Type="http://schemas.openxmlformats.org/officeDocument/2006/relationships/chart" Target="../charts/chart1.xml"/><Relationship Id="rId2" Type="http://schemas.openxmlformats.org/officeDocument/2006/relationships/tags" Target="../tags/tag69.xml"/><Relationship Id="rId16" Type="http://schemas.openxmlformats.org/officeDocument/2006/relationships/image" Target="../media/image38.emf"/><Relationship Id="rId1" Type="http://schemas.openxmlformats.org/officeDocument/2006/relationships/vmlDrawing" Target="../drawings/vmlDrawing45.vml"/><Relationship Id="rId6" Type="http://schemas.openxmlformats.org/officeDocument/2006/relationships/tags" Target="../tags/tag73.xml"/><Relationship Id="rId11" Type="http://schemas.openxmlformats.org/officeDocument/2006/relationships/tags" Target="../tags/tag78.xml"/><Relationship Id="rId5" Type="http://schemas.openxmlformats.org/officeDocument/2006/relationships/tags" Target="../tags/tag72.xml"/><Relationship Id="rId15" Type="http://schemas.openxmlformats.org/officeDocument/2006/relationships/oleObject" Target="../embeddings/oleObject45.bin"/><Relationship Id="rId10" Type="http://schemas.openxmlformats.org/officeDocument/2006/relationships/tags" Target="../tags/tag77.xml"/><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tags" Target="../tags/tag82.xml"/><Relationship Id="rId7" Type="http://schemas.openxmlformats.org/officeDocument/2006/relationships/tags" Target="../tags/tag86.xml"/><Relationship Id="rId2" Type="http://schemas.openxmlformats.org/officeDocument/2006/relationships/tags" Target="../tags/tag81.xml"/><Relationship Id="rId1" Type="http://schemas.openxmlformats.org/officeDocument/2006/relationships/vmlDrawing" Target="../drawings/vmlDrawing46.vml"/><Relationship Id="rId6" Type="http://schemas.openxmlformats.org/officeDocument/2006/relationships/tags" Target="../tags/tag85.xml"/><Relationship Id="rId11" Type="http://schemas.openxmlformats.org/officeDocument/2006/relationships/chart" Target="../charts/chart2.xml"/><Relationship Id="rId5" Type="http://schemas.openxmlformats.org/officeDocument/2006/relationships/tags" Target="../tags/tag84.xml"/><Relationship Id="rId10" Type="http://schemas.openxmlformats.org/officeDocument/2006/relationships/image" Target="../media/image36.emf"/><Relationship Id="rId4" Type="http://schemas.openxmlformats.org/officeDocument/2006/relationships/tags" Target="../tags/tag83.xml"/><Relationship Id="rId9" Type="http://schemas.openxmlformats.org/officeDocument/2006/relationships/oleObject" Target="../embeddings/oleObject46.bin"/></Relationships>
</file>

<file path=ppt/slides/_rels/slide5.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chart" Target="../charts/chart3.xml"/><Relationship Id="rId2" Type="http://schemas.openxmlformats.org/officeDocument/2006/relationships/tags" Target="../tags/tag87.xml"/><Relationship Id="rId16" Type="http://schemas.openxmlformats.org/officeDocument/2006/relationships/image" Target="../media/image36.emf"/><Relationship Id="rId1" Type="http://schemas.openxmlformats.org/officeDocument/2006/relationships/vmlDrawing" Target="../drawings/vmlDrawing47.v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5" Type="http://schemas.openxmlformats.org/officeDocument/2006/relationships/oleObject" Target="../embeddings/oleObject47.bin"/><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8" Type="http://schemas.openxmlformats.org/officeDocument/2006/relationships/tags" Target="../tags/tag105.xml"/><Relationship Id="rId13" Type="http://schemas.openxmlformats.org/officeDocument/2006/relationships/tags" Target="../tags/tag110.xml"/><Relationship Id="rId18" Type="http://schemas.openxmlformats.org/officeDocument/2006/relationships/oleObject" Target="../embeddings/oleObject48.bin"/><Relationship Id="rId3" Type="http://schemas.openxmlformats.org/officeDocument/2006/relationships/tags" Target="../tags/tag100.xml"/><Relationship Id="rId7" Type="http://schemas.openxmlformats.org/officeDocument/2006/relationships/tags" Target="../tags/tag104.xml"/><Relationship Id="rId12" Type="http://schemas.openxmlformats.org/officeDocument/2006/relationships/tags" Target="../tags/tag109.xml"/><Relationship Id="rId17" Type="http://schemas.openxmlformats.org/officeDocument/2006/relationships/slideLayout" Target="../slideLayouts/slideLayout8.xml"/><Relationship Id="rId2" Type="http://schemas.openxmlformats.org/officeDocument/2006/relationships/tags" Target="../tags/tag99.xml"/><Relationship Id="rId16" Type="http://schemas.openxmlformats.org/officeDocument/2006/relationships/tags" Target="../tags/tag113.xml"/><Relationship Id="rId20" Type="http://schemas.openxmlformats.org/officeDocument/2006/relationships/chart" Target="../charts/chart4.xml"/><Relationship Id="rId1" Type="http://schemas.openxmlformats.org/officeDocument/2006/relationships/vmlDrawing" Target="../drawings/vmlDrawing48.vml"/><Relationship Id="rId6" Type="http://schemas.openxmlformats.org/officeDocument/2006/relationships/tags" Target="../tags/tag103.xml"/><Relationship Id="rId11" Type="http://schemas.openxmlformats.org/officeDocument/2006/relationships/tags" Target="../tags/tag108.xml"/><Relationship Id="rId5" Type="http://schemas.openxmlformats.org/officeDocument/2006/relationships/tags" Target="../tags/tag102.xml"/><Relationship Id="rId15" Type="http://schemas.openxmlformats.org/officeDocument/2006/relationships/tags" Target="../tags/tag112.xml"/><Relationship Id="rId10" Type="http://schemas.openxmlformats.org/officeDocument/2006/relationships/tags" Target="../tags/tag107.xml"/><Relationship Id="rId19" Type="http://schemas.openxmlformats.org/officeDocument/2006/relationships/image" Target="../media/image36.emf"/><Relationship Id="rId4" Type="http://schemas.openxmlformats.org/officeDocument/2006/relationships/tags" Target="../tags/tag101.xml"/><Relationship Id="rId9" Type="http://schemas.openxmlformats.org/officeDocument/2006/relationships/tags" Target="../tags/tag106.xml"/><Relationship Id="rId14" Type="http://schemas.openxmlformats.org/officeDocument/2006/relationships/tags" Target="../tags/tag111.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14.xml"/><Relationship Id="rId1" Type="http://schemas.openxmlformats.org/officeDocument/2006/relationships/vmlDrawing" Target="../drawings/vmlDrawing49.vml"/><Relationship Id="rId5" Type="http://schemas.openxmlformats.org/officeDocument/2006/relationships/image" Target="../media/image36.emf"/><Relationship Id="rId4" Type="http://schemas.openxmlformats.org/officeDocument/2006/relationships/oleObject" Target="../embeddings/oleObject49.bin"/></Relationships>
</file>

<file path=ppt/slides/_rels/slide8.xml.rels><?xml version="1.0" encoding="UTF-8" standalone="yes"?>
<Relationships xmlns="http://schemas.openxmlformats.org/package/2006/relationships"><Relationship Id="rId3" Type="http://schemas.openxmlformats.org/officeDocument/2006/relationships/tags" Target="../tags/tag116.xml"/><Relationship Id="rId7" Type="http://schemas.openxmlformats.org/officeDocument/2006/relationships/image" Target="../media/image39.png"/><Relationship Id="rId2" Type="http://schemas.openxmlformats.org/officeDocument/2006/relationships/tags" Target="../tags/tag115.xml"/><Relationship Id="rId1" Type="http://schemas.openxmlformats.org/officeDocument/2006/relationships/vmlDrawing" Target="../drawings/vmlDrawing50.vml"/><Relationship Id="rId6" Type="http://schemas.openxmlformats.org/officeDocument/2006/relationships/image" Target="../media/image36.emf"/><Relationship Id="rId5" Type="http://schemas.openxmlformats.org/officeDocument/2006/relationships/oleObject" Target="../embeddings/oleObject50.bin"/><Relationship Id="rId4"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58D7C833-3984-45A8-A45E-EC1C9BB99C07}"/>
              </a:ext>
            </a:extLst>
          </p:cNvPr>
          <p:cNvSpPr>
            <a:spLocks noGrp="1"/>
          </p:cNvSpPr>
          <p:nvPr>
            <p:ph type="subTitle" idx="1"/>
          </p:nvPr>
        </p:nvSpPr>
        <p:spPr/>
        <p:txBody>
          <a:bodyPr/>
          <a:lstStyle/>
          <a:p>
            <a:r>
              <a:rPr lang="en-US" dirty="0"/>
              <a:t>Internal copy</a:t>
            </a:r>
          </a:p>
        </p:txBody>
      </p:sp>
      <p:sp>
        <p:nvSpPr>
          <p:cNvPr id="3" name="Text Placeholder 2">
            <a:extLst>
              <a:ext uri="{FF2B5EF4-FFF2-40B4-BE49-F238E27FC236}">
                <a16:creationId xmlns:a16="http://schemas.microsoft.com/office/drawing/2014/main" id="{441FADB7-041E-4470-9F32-2AB13D45848D}"/>
              </a:ext>
            </a:extLst>
          </p:cNvPr>
          <p:cNvSpPr>
            <a:spLocks noGrp="1"/>
          </p:cNvSpPr>
          <p:nvPr>
            <p:ph type="body" sz="quarter" idx="18"/>
          </p:nvPr>
        </p:nvSpPr>
        <p:spPr/>
        <p:txBody>
          <a:bodyPr/>
          <a:lstStyle/>
          <a:p>
            <a:r>
              <a:rPr lang="en-US" dirty="0"/>
              <a:t>Exhibits for </a:t>
            </a:r>
            <a:r>
              <a:rPr lang="en-US" dirty="0" err="1"/>
              <a:t>SoA</a:t>
            </a:r>
            <a:endParaRPr lang="en-US" dirty="0"/>
          </a:p>
        </p:txBody>
      </p:sp>
    </p:spTree>
    <p:extLst>
      <p:ext uri="{BB962C8B-B14F-4D97-AF65-F5344CB8AC3E}">
        <p14:creationId xmlns:p14="http://schemas.microsoft.com/office/powerpoint/2010/main" val="31829235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AD00A8B-46DB-414F-9E34-7BABC1BF588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085" name="think-cell Slide" r:id="rId4" imgW="473" imgH="473" progId="TCLayout.ActiveDocument.1">
                  <p:embed/>
                </p:oleObj>
              </mc:Choice>
              <mc:Fallback>
                <p:oleObj name="think-cell Slide" r:id="rId4" imgW="473" imgH="473" progId="TCLayout.ActiveDocument.1">
                  <p:embed/>
                  <p:pic>
                    <p:nvPicPr>
                      <p:cNvPr id="9" name="Object 8" hidden="1">
                        <a:extLst>
                          <a:ext uri="{FF2B5EF4-FFF2-40B4-BE49-F238E27FC236}">
                            <a16:creationId xmlns:a16="http://schemas.microsoft.com/office/drawing/2014/main" id="{DAD00A8B-46DB-414F-9E34-7BABC1BF58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1566105B-9759-4E7E-932A-309F26FE5BDC}"/>
              </a:ext>
            </a:extLst>
          </p:cNvPr>
          <p:cNvGrpSpPr/>
          <p:nvPr/>
        </p:nvGrpSpPr>
        <p:grpSpPr>
          <a:xfrm>
            <a:off x="745294" y="76857"/>
            <a:ext cx="10532576" cy="5902118"/>
            <a:chOff x="745294" y="76857"/>
            <a:chExt cx="10532576" cy="5902118"/>
          </a:xfrm>
        </p:grpSpPr>
        <p:grpSp>
          <p:nvGrpSpPr>
            <p:cNvPr id="11" name="Group 10">
              <a:extLst>
                <a:ext uri="{FF2B5EF4-FFF2-40B4-BE49-F238E27FC236}">
                  <a16:creationId xmlns:a16="http://schemas.microsoft.com/office/drawing/2014/main" id="{E52730FD-D2F1-4682-AA3A-EDBB5BC2FE75}"/>
                </a:ext>
              </a:extLst>
            </p:cNvPr>
            <p:cNvGrpSpPr/>
            <p:nvPr/>
          </p:nvGrpSpPr>
          <p:grpSpPr>
            <a:xfrm>
              <a:off x="745294" y="167458"/>
              <a:ext cx="10532576" cy="5811517"/>
              <a:chOff x="745294" y="167458"/>
              <a:chExt cx="10532576" cy="5811517"/>
            </a:xfrm>
          </p:grpSpPr>
          <p:sp>
            <p:nvSpPr>
              <p:cNvPr id="12" name="Daman">
                <a:extLst>
                  <a:ext uri="{FF2B5EF4-FFF2-40B4-BE49-F238E27FC236}">
                    <a16:creationId xmlns:a16="http://schemas.microsoft.com/office/drawing/2014/main" id="{E111F241-B9B2-4838-8A4E-3E6A2987FAE6}"/>
                  </a:ext>
                </a:extLst>
              </p:cNvPr>
              <p:cNvSpPr>
                <a:spLocks noChangeAspect="1"/>
              </p:cNvSpPr>
              <p:nvPr/>
            </p:nvSpPr>
            <p:spPr bwMode="auto">
              <a:xfrm>
                <a:off x="1628170" y="4223978"/>
                <a:ext cx="24580" cy="23781"/>
              </a:xfrm>
              <a:custGeom>
                <a:avLst/>
                <a:gdLst/>
                <a:ahLst/>
                <a:cxnLst>
                  <a:cxn ang="0">
                    <a:pos x="0" y="41"/>
                  </a:cxn>
                  <a:cxn ang="0">
                    <a:pos x="17" y="44"/>
                  </a:cxn>
                  <a:cxn ang="0">
                    <a:pos x="30" y="38"/>
                  </a:cxn>
                  <a:cxn ang="0">
                    <a:pos x="35" y="27"/>
                  </a:cxn>
                  <a:cxn ang="0">
                    <a:pos x="44" y="14"/>
                  </a:cxn>
                  <a:cxn ang="0">
                    <a:pos x="33" y="5"/>
                  </a:cxn>
                  <a:cxn ang="0">
                    <a:pos x="9" y="0"/>
                  </a:cxn>
                  <a:cxn ang="0">
                    <a:pos x="8" y="11"/>
                  </a:cxn>
                  <a:cxn ang="0">
                    <a:pos x="0" y="24"/>
                  </a:cxn>
                  <a:cxn ang="0">
                    <a:pos x="0" y="41"/>
                  </a:cxn>
                </a:cxnLst>
                <a:rect l="0" t="0" r="r" b="b"/>
                <a:pathLst>
                  <a:path w="44" h="44">
                    <a:moveTo>
                      <a:pt x="0" y="41"/>
                    </a:moveTo>
                    <a:lnTo>
                      <a:pt x="17" y="44"/>
                    </a:lnTo>
                    <a:lnTo>
                      <a:pt x="30" y="38"/>
                    </a:lnTo>
                    <a:lnTo>
                      <a:pt x="35" y="27"/>
                    </a:lnTo>
                    <a:lnTo>
                      <a:pt x="44" y="14"/>
                    </a:lnTo>
                    <a:lnTo>
                      <a:pt x="33" y="5"/>
                    </a:lnTo>
                    <a:lnTo>
                      <a:pt x="9" y="0"/>
                    </a:lnTo>
                    <a:lnTo>
                      <a:pt x="8" y="11"/>
                    </a:lnTo>
                    <a:lnTo>
                      <a:pt x="0" y="24"/>
                    </a:lnTo>
                    <a:lnTo>
                      <a:pt x="0" y="41"/>
                    </a:lnTo>
                    <a:close/>
                  </a:path>
                </a:pathLst>
              </a:custGeom>
              <a:solidFill>
                <a:schemeClr val="accent2"/>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Proxima Nova A" panose="02000506030000020004" pitchFamily="2" charset="0"/>
                </a:endParaRPr>
              </a:p>
            </p:txBody>
          </p:sp>
          <p:grpSp>
            <p:nvGrpSpPr>
              <p:cNvPr id="266" name="Group 265">
                <a:extLst>
                  <a:ext uri="{FF2B5EF4-FFF2-40B4-BE49-F238E27FC236}">
                    <a16:creationId xmlns:a16="http://schemas.microsoft.com/office/drawing/2014/main" id="{37B1070F-E457-44DA-9F63-CDB18C020FD1}"/>
                  </a:ext>
                </a:extLst>
              </p:cNvPr>
              <p:cNvGrpSpPr/>
              <p:nvPr/>
            </p:nvGrpSpPr>
            <p:grpSpPr>
              <a:xfrm>
                <a:off x="7240723" y="2327182"/>
                <a:ext cx="4037147" cy="1161555"/>
                <a:chOff x="7208213" y="2825944"/>
                <a:chExt cx="4037147" cy="1161555"/>
              </a:xfrm>
            </p:grpSpPr>
            <p:sp>
              <p:nvSpPr>
                <p:cNvPr id="257" name="Rectangle: Rounded Corners 256">
                  <a:extLst>
                    <a:ext uri="{FF2B5EF4-FFF2-40B4-BE49-F238E27FC236}">
                      <a16:creationId xmlns:a16="http://schemas.microsoft.com/office/drawing/2014/main" id="{59445F6D-64D6-4A58-AF82-76E695A2C399}"/>
                    </a:ext>
                  </a:extLst>
                </p:cNvPr>
                <p:cNvSpPr/>
                <p:nvPr/>
              </p:nvSpPr>
              <p:spPr>
                <a:xfrm>
                  <a:off x="8269060" y="2825944"/>
                  <a:ext cx="2976300" cy="1161555"/>
                </a:xfrm>
                <a:prstGeom prst="roundRect">
                  <a:avLst/>
                </a:prstGeom>
                <a:solidFill>
                  <a:srgbClr val="F2F2F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a:lnSpc>
                      <a:spcPct val="114000"/>
                    </a:lnSpc>
                  </a:pPr>
                  <a:r>
                    <a:rPr lang="en-US" sz="1400" b="1" kern="1200" dirty="0">
                      <a:solidFill>
                        <a:srgbClr val="55BD8C"/>
                      </a:solidFill>
                      <a:latin typeface="Proxima Nova A" panose="02000506030000020004" pitchFamily="2" charset="0"/>
                      <a:cs typeface="Arial" pitchFamily="34" charset="0"/>
                    </a:rPr>
                    <a:t>Human </a:t>
                  </a:r>
                  <a:r>
                    <a:rPr lang="en-US" sz="1400" b="1" kern="1200" dirty="0" err="1">
                      <a:solidFill>
                        <a:srgbClr val="55BD8C"/>
                      </a:solidFill>
                      <a:latin typeface="Proxima Nova A" panose="02000506030000020004" pitchFamily="2" charset="0"/>
                      <a:cs typeface="Arial" pitchFamily="34" charset="0"/>
                    </a:rPr>
                    <a:t>centred</a:t>
                  </a:r>
                  <a:r>
                    <a:rPr lang="en-US" sz="1400" b="1" kern="1200" dirty="0">
                      <a:solidFill>
                        <a:srgbClr val="55BD8C"/>
                      </a:solidFill>
                      <a:latin typeface="Proxima Nova A" panose="02000506030000020004" pitchFamily="2" charset="0"/>
                      <a:cs typeface="Arial" pitchFamily="34" charset="0"/>
                    </a:rPr>
                    <a:t> </a:t>
                  </a:r>
                  <a:r>
                    <a:rPr lang="en-US" sz="1400" b="1" dirty="0">
                      <a:solidFill>
                        <a:srgbClr val="55BD8C"/>
                      </a:solidFill>
                      <a:latin typeface="Proxima Nova A" panose="02000506030000020004" pitchFamily="2" charset="0"/>
                      <a:cs typeface="Arial" pitchFamily="34" charset="0"/>
                    </a:rPr>
                    <a:t>design research</a:t>
                  </a:r>
                  <a:endParaRPr lang="en-US" sz="1400" b="1" kern="1200" dirty="0">
                    <a:solidFill>
                      <a:srgbClr val="55BD8C"/>
                    </a:solidFill>
                    <a:latin typeface="Proxima Nova A" panose="02000506030000020004" pitchFamily="2" charset="0"/>
                    <a:cs typeface="Arial" pitchFamily="34" charset="0"/>
                  </a:endParaRPr>
                </a:p>
                <a:p>
                  <a:pPr defTabSz="914400">
                    <a:lnSpc>
                      <a:spcPct val="114000"/>
                    </a:lnSpc>
                  </a:pPr>
                  <a:r>
                    <a:rPr lang="en-US" sz="1400" b="1" dirty="0">
                      <a:solidFill>
                        <a:srgbClr val="707274"/>
                      </a:solidFill>
                      <a:latin typeface="Proxima Nova A" panose="02000506030000020004" pitchFamily="2" charset="0"/>
                      <a:cs typeface="Arial" pitchFamily="34" charset="0"/>
                    </a:rPr>
                    <a:t>103</a:t>
                  </a:r>
                  <a:r>
                    <a:rPr lang="en-US" sz="1400" dirty="0">
                      <a:solidFill>
                        <a:srgbClr val="707274"/>
                      </a:solidFill>
                      <a:latin typeface="Proxima Nova A" panose="02000506030000020004" pitchFamily="2" charset="0"/>
                      <a:cs typeface="Arial" pitchFamily="34" charset="0"/>
                    </a:rPr>
                    <a:t> respondents</a:t>
                  </a:r>
                </a:p>
                <a:p>
                  <a:pPr defTabSz="914400">
                    <a:lnSpc>
                      <a:spcPct val="114000"/>
                    </a:lnSpc>
                  </a:pPr>
                  <a:r>
                    <a:rPr lang="en-US" sz="1400" dirty="0">
                      <a:solidFill>
                        <a:srgbClr val="707274"/>
                      </a:solidFill>
                      <a:latin typeface="Proxima Nova A" panose="02000506030000020004" pitchFamily="2" charset="0"/>
                      <a:cs typeface="Arial" pitchFamily="34" charset="0"/>
                    </a:rPr>
                    <a:t>Multiple locations across</a:t>
                  </a:r>
                  <a:r>
                    <a:rPr lang="en-US" sz="1400" b="1" dirty="0">
                      <a:solidFill>
                        <a:srgbClr val="707274"/>
                      </a:solidFill>
                      <a:latin typeface="Proxima Nova A" panose="02000506030000020004" pitchFamily="2" charset="0"/>
                      <a:cs typeface="Arial" pitchFamily="34" charset="0"/>
                    </a:rPr>
                    <a:t> 4</a:t>
                  </a:r>
                  <a:r>
                    <a:rPr lang="en-US" sz="1400" dirty="0">
                      <a:solidFill>
                        <a:srgbClr val="707274"/>
                      </a:solidFill>
                      <a:latin typeface="Proxima Nova A" panose="02000506030000020004" pitchFamily="2" charset="0"/>
                      <a:cs typeface="Arial" pitchFamily="34" charset="0"/>
                    </a:rPr>
                    <a:t> states </a:t>
                  </a:r>
                </a:p>
                <a:p>
                  <a:pPr defTabSz="914400">
                    <a:lnSpc>
                      <a:spcPct val="114000"/>
                    </a:lnSpc>
                  </a:pPr>
                  <a:r>
                    <a:rPr lang="en-US" sz="1400" b="1" dirty="0">
                      <a:solidFill>
                        <a:srgbClr val="707274"/>
                      </a:solidFill>
                      <a:latin typeface="Proxima Nova A" panose="02000506030000020004" pitchFamily="2" charset="0"/>
                      <a:cs typeface="Arial" pitchFamily="34" charset="0"/>
                    </a:rPr>
                    <a:t>120 </a:t>
                  </a:r>
                  <a:r>
                    <a:rPr lang="en-US" sz="1400" dirty="0">
                      <a:solidFill>
                        <a:srgbClr val="707274"/>
                      </a:solidFill>
                      <a:latin typeface="Proxima Nova A" panose="02000506030000020004" pitchFamily="2" charset="0"/>
                      <a:cs typeface="Arial" pitchFamily="34" charset="0"/>
                    </a:rPr>
                    <a:t>to</a:t>
                  </a:r>
                  <a:r>
                    <a:rPr lang="en-US" sz="1400" b="1" dirty="0">
                      <a:solidFill>
                        <a:srgbClr val="707274"/>
                      </a:solidFill>
                      <a:latin typeface="Proxima Nova A" panose="02000506030000020004" pitchFamily="2" charset="0"/>
                      <a:cs typeface="Arial" pitchFamily="34" charset="0"/>
                    </a:rPr>
                    <a:t> 160</a:t>
                  </a:r>
                  <a:r>
                    <a:rPr lang="en-US" sz="1400" dirty="0">
                      <a:solidFill>
                        <a:srgbClr val="707274"/>
                      </a:solidFill>
                      <a:latin typeface="Proxima Nova A" panose="02000506030000020004" pitchFamily="2" charset="0"/>
                      <a:cs typeface="Arial" pitchFamily="34" charset="0"/>
                    </a:rPr>
                    <a:t> minutes</a:t>
                  </a:r>
                </a:p>
                <a:p>
                  <a:pPr algn="l" defTabSz="914400" rtl="0" eaLnBrk="1" latinLnBrk="0" hangingPunct="1">
                    <a:lnSpc>
                      <a:spcPct val="114000"/>
                    </a:lnSpc>
                    <a:spcBef>
                      <a:spcPts val="0"/>
                    </a:spcBef>
                  </a:pPr>
                  <a:endParaRPr lang="en-US" sz="1400" kern="1200" dirty="0">
                    <a:solidFill>
                      <a:schemeClr val="bg1">
                        <a:lumMod val="50000"/>
                      </a:schemeClr>
                    </a:solidFill>
                    <a:latin typeface="Proxima Nova A" panose="02000506030000020004" pitchFamily="2" charset="0"/>
                    <a:cs typeface="Arial" pitchFamily="34" charset="0"/>
                  </a:endParaRPr>
                </a:p>
              </p:txBody>
            </p:sp>
            <p:grpSp>
              <p:nvGrpSpPr>
                <p:cNvPr id="10" name="Group 9">
                  <a:extLst>
                    <a:ext uri="{FF2B5EF4-FFF2-40B4-BE49-F238E27FC236}">
                      <a16:creationId xmlns:a16="http://schemas.microsoft.com/office/drawing/2014/main" id="{5EABE4B6-7EB7-4254-9A21-1E98E86DFEEB}"/>
                    </a:ext>
                  </a:extLst>
                </p:cNvPr>
                <p:cNvGrpSpPr/>
                <p:nvPr/>
              </p:nvGrpSpPr>
              <p:grpSpPr>
                <a:xfrm>
                  <a:off x="7208213" y="3232951"/>
                  <a:ext cx="525649" cy="525649"/>
                  <a:chOff x="5052914" y="3005783"/>
                  <a:chExt cx="915263" cy="915263"/>
                </a:xfrm>
              </p:grpSpPr>
              <p:cxnSp>
                <p:nvCxnSpPr>
                  <p:cNvPr id="5" name="Straight Connector 4">
                    <a:extLst>
                      <a:ext uri="{FF2B5EF4-FFF2-40B4-BE49-F238E27FC236}">
                        <a16:creationId xmlns:a16="http://schemas.microsoft.com/office/drawing/2014/main" id="{7E041507-33BB-4511-B3C9-970FBB4427DE}"/>
                      </a:ext>
                    </a:extLst>
                  </p:cNvPr>
                  <p:cNvCxnSpPr/>
                  <p:nvPr/>
                </p:nvCxnSpPr>
                <p:spPr>
                  <a:xfrm>
                    <a:off x="5510546" y="3005783"/>
                    <a:ext cx="0" cy="915263"/>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CAA982EB-0A41-46A9-B660-374738AFC03E}"/>
                      </a:ext>
                    </a:extLst>
                  </p:cNvPr>
                  <p:cNvCxnSpPr>
                    <a:cxnSpLocks/>
                  </p:cNvCxnSpPr>
                  <p:nvPr/>
                </p:nvCxnSpPr>
                <p:spPr>
                  <a:xfrm rot="5400000">
                    <a:off x="5510546" y="3005783"/>
                    <a:ext cx="0" cy="915263"/>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grpSp>
            <p:nvGrpSpPr>
              <p:cNvPr id="138" name="Group 137">
                <a:extLst>
                  <a:ext uri="{FF2B5EF4-FFF2-40B4-BE49-F238E27FC236}">
                    <a16:creationId xmlns:a16="http://schemas.microsoft.com/office/drawing/2014/main" id="{627F4B00-F556-44C0-B1B1-E34EF6E180A6}"/>
                  </a:ext>
                </a:extLst>
              </p:cNvPr>
              <p:cNvGrpSpPr/>
              <p:nvPr/>
            </p:nvGrpSpPr>
            <p:grpSpPr>
              <a:xfrm>
                <a:off x="762939" y="4399578"/>
                <a:ext cx="2287642" cy="389337"/>
                <a:chOff x="2296822" y="4891826"/>
                <a:chExt cx="2287642" cy="389337"/>
              </a:xfrm>
            </p:grpSpPr>
            <p:sp>
              <p:nvSpPr>
                <p:cNvPr id="130" name="Rectangle 129">
                  <a:extLst>
                    <a:ext uri="{FF2B5EF4-FFF2-40B4-BE49-F238E27FC236}">
                      <a16:creationId xmlns:a16="http://schemas.microsoft.com/office/drawing/2014/main" id="{5CC8E2AE-D89A-4EEC-B689-9CE00FE5B3F0}"/>
                    </a:ext>
                  </a:extLst>
                </p:cNvPr>
                <p:cNvSpPr/>
                <p:nvPr/>
              </p:nvSpPr>
              <p:spPr>
                <a:xfrm>
                  <a:off x="2296822" y="4891826"/>
                  <a:ext cx="45719" cy="389337"/>
                </a:xfrm>
                <a:prstGeom prst="rect">
                  <a:avLst/>
                </a:prstGeom>
                <a:solidFill>
                  <a:srgbClr val="77B8E4"/>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dirty="0" err="1">
                    <a:solidFill>
                      <a:schemeClr val="bg1"/>
                    </a:solidFill>
                    <a:latin typeface="Proxima Nova A" panose="02000506030000020004" pitchFamily="2" charset="0"/>
                    <a:cs typeface="Arial" pitchFamily="34" charset="0"/>
                  </a:endParaRPr>
                </a:p>
              </p:txBody>
            </p:sp>
            <p:sp>
              <p:nvSpPr>
                <p:cNvPr id="131" name="TextBox 130">
                  <a:extLst>
                    <a:ext uri="{FF2B5EF4-FFF2-40B4-BE49-F238E27FC236}">
                      <a16:creationId xmlns:a16="http://schemas.microsoft.com/office/drawing/2014/main" id="{C839A865-A57B-46D1-99E0-62059DF03F43}"/>
                    </a:ext>
                  </a:extLst>
                </p:cNvPr>
                <p:cNvSpPr txBox="1"/>
                <p:nvPr/>
              </p:nvSpPr>
              <p:spPr bwMode="gray">
                <a:xfrm>
                  <a:off x="2424059" y="4942014"/>
                  <a:ext cx="2160405" cy="288960"/>
                </a:xfrm>
                <a:prstGeom prst="rect">
                  <a:avLst/>
                </a:prstGeom>
              </p:spPr>
              <p:txBody>
                <a:bodyPr vert="horz" wrap="square" lIns="0" tIns="0" rIns="0" bIns="0" rtlCol="0" anchor="ctr">
                  <a:noAutofit/>
                </a:bodyPr>
                <a:lstStyle/>
                <a:p>
                  <a:pPr>
                    <a:spcBef>
                      <a:spcPts val="600"/>
                    </a:spcBef>
                  </a:pPr>
                  <a:r>
                    <a:rPr lang="en-US" sz="1200" dirty="0">
                      <a:solidFill>
                        <a:srgbClr val="707274"/>
                      </a:solidFill>
                      <a:latin typeface="Proxima Nova A" panose="02000506030000020004" pitchFamily="2" charset="0"/>
                    </a:rPr>
                    <a:t>States covered by both the pulse and in-depth surveys</a:t>
                  </a:r>
                </a:p>
              </p:txBody>
            </p:sp>
          </p:grpSp>
          <p:grpSp>
            <p:nvGrpSpPr>
              <p:cNvPr id="137" name="Group 136">
                <a:extLst>
                  <a:ext uri="{FF2B5EF4-FFF2-40B4-BE49-F238E27FC236}">
                    <a16:creationId xmlns:a16="http://schemas.microsoft.com/office/drawing/2014/main" id="{5A92921E-59A5-43B1-8DBF-67A94AE4AC66}"/>
                  </a:ext>
                </a:extLst>
              </p:cNvPr>
              <p:cNvGrpSpPr/>
              <p:nvPr/>
            </p:nvGrpSpPr>
            <p:grpSpPr>
              <a:xfrm>
                <a:off x="762939" y="4817362"/>
                <a:ext cx="2328712" cy="389337"/>
                <a:chOff x="2296822" y="5307387"/>
                <a:chExt cx="2328712" cy="389337"/>
              </a:xfrm>
            </p:grpSpPr>
            <p:sp>
              <p:nvSpPr>
                <p:cNvPr id="132" name="Rectangle 131">
                  <a:extLst>
                    <a:ext uri="{FF2B5EF4-FFF2-40B4-BE49-F238E27FC236}">
                      <a16:creationId xmlns:a16="http://schemas.microsoft.com/office/drawing/2014/main" id="{93ACB615-46A2-4CF5-9F4E-75C095DD3642}"/>
                    </a:ext>
                  </a:extLst>
                </p:cNvPr>
                <p:cNvSpPr/>
                <p:nvPr/>
              </p:nvSpPr>
              <p:spPr>
                <a:xfrm>
                  <a:off x="2296822" y="5307387"/>
                  <a:ext cx="45719" cy="389337"/>
                </a:xfrm>
                <a:prstGeom prst="rect">
                  <a:avLst/>
                </a:prstGeom>
                <a:solidFill>
                  <a:srgbClr val="B79FCC"/>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dirty="0" err="1">
                    <a:solidFill>
                      <a:schemeClr val="bg1"/>
                    </a:solidFill>
                    <a:latin typeface="Proxima Nova A" panose="02000506030000020004" pitchFamily="2" charset="0"/>
                    <a:cs typeface="Arial" pitchFamily="34" charset="0"/>
                  </a:endParaRPr>
                </a:p>
              </p:txBody>
            </p:sp>
            <p:sp>
              <p:nvSpPr>
                <p:cNvPr id="133" name="TextBox 132">
                  <a:extLst>
                    <a:ext uri="{FF2B5EF4-FFF2-40B4-BE49-F238E27FC236}">
                      <a16:creationId xmlns:a16="http://schemas.microsoft.com/office/drawing/2014/main" id="{D4B14D48-43E7-4F4B-885C-D0C86DD9C558}"/>
                    </a:ext>
                  </a:extLst>
                </p:cNvPr>
                <p:cNvSpPr txBox="1"/>
                <p:nvPr/>
              </p:nvSpPr>
              <p:spPr bwMode="gray">
                <a:xfrm>
                  <a:off x="2424060" y="5357575"/>
                  <a:ext cx="2201474" cy="288960"/>
                </a:xfrm>
                <a:prstGeom prst="rect">
                  <a:avLst/>
                </a:prstGeom>
              </p:spPr>
              <p:txBody>
                <a:bodyPr vert="horz" wrap="square" lIns="0" tIns="0" rIns="0" bIns="0" rtlCol="0" anchor="ctr">
                  <a:noAutofit/>
                </a:bodyPr>
                <a:lstStyle/>
                <a:p>
                  <a:pPr>
                    <a:spcBef>
                      <a:spcPts val="600"/>
                    </a:spcBef>
                  </a:pPr>
                  <a:r>
                    <a:rPr lang="en-US" sz="1200" dirty="0">
                      <a:solidFill>
                        <a:srgbClr val="707274"/>
                      </a:solidFill>
                      <a:latin typeface="Proxima Nova A" panose="02000506030000020004" pitchFamily="2" charset="0"/>
                    </a:rPr>
                    <a:t>States covered by only the pulse survey</a:t>
                  </a:r>
                </a:p>
              </p:txBody>
            </p:sp>
          </p:grpSp>
          <p:grpSp>
            <p:nvGrpSpPr>
              <p:cNvPr id="136" name="Group 135">
                <a:extLst>
                  <a:ext uri="{FF2B5EF4-FFF2-40B4-BE49-F238E27FC236}">
                    <a16:creationId xmlns:a16="http://schemas.microsoft.com/office/drawing/2014/main" id="{E6D62D6B-367D-47DA-A942-C87DE65AF515}"/>
                  </a:ext>
                </a:extLst>
              </p:cNvPr>
              <p:cNvGrpSpPr/>
              <p:nvPr/>
            </p:nvGrpSpPr>
            <p:grpSpPr>
              <a:xfrm>
                <a:off x="762939" y="5235146"/>
                <a:ext cx="2010926" cy="389337"/>
                <a:chOff x="2296822" y="5737320"/>
                <a:chExt cx="2010926" cy="389337"/>
              </a:xfrm>
            </p:grpSpPr>
            <p:sp>
              <p:nvSpPr>
                <p:cNvPr id="134" name="Rectangle 133">
                  <a:extLst>
                    <a:ext uri="{FF2B5EF4-FFF2-40B4-BE49-F238E27FC236}">
                      <a16:creationId xmlns:a16="http://schemas.microsoft.com/office/drawing/2014/main" id="{6E0DAB8E-815B-42D2-856F-45D69542E73E}"/>
                    </a:ext>
                  </a:extLst>
                </p:cNvPr>
                <p:cNvSpPr/>
                <p:nvPr/>
              </p:nvSpPr>
              <p:spPr>
                <a:xfrm>
                  <a:off x="2296822" y="5737320"/>
                  <a:ext cx="45719" cy="389337"/>
                </a:xfrm>
                <a:prstGeom prst="rect">
                  <a:avLst/>
                </a:prstGeom>
                <a:solidFill>
                  <a:srgbClr val="D6D6D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dirty="0" err="1">
                    <a:solidFill>
                      <a:schemeClr val="bg1"/>
                    </a:solidFill>
                    <a:latin typeface="Proxima Nova A" panose="02000506030000020004" pitchFamily="2" charset="0"/>
                    <a:cs typeface="Arial" pitchFamily="34" charset="0"/>
                  </a:endParaRPr>
                </a:p>
              </p:txBody>
            </p:sp>
            <p:sp>
              <p:nvSpPr>
                <p:cNvPr id="135" name="TextBox 134">
                  <a:extLst>
                    <a:ext uri="{FF2B5EF4-FFF2-40B4-BE49-F238E27FC236}">
                      <a16:creationId xmlns:a16="http://schemas.microsoft.com/office/drawing/2014/main" id="{45856F7B-BA1E-41B8-A854-FE6DADA35145}"/>
                    </a:ext>
                  </a:extLst>
                </p:cNvPr>
                <p:cNvSpPr txBox="1"/>
                <p:nvPr/>
              </p:nvSpPr>
              <p:spPr bwMode="gray">
                <a:xfrm>
                  <a:off x="2424060" y="5787508"/>
                  <a:ext cx="1883688" cy="288960"/>
                </a:xfrm>
                <a:prstGeom prst="rect">
                  <a:avLst/>
                </a:prstGeom>
              </p:spPr>
              <p:txBody>
                <a:bodyPr vert="horz" wrap="square" lIns="0" tIns="0" rIns="0" bIns="0" rtlCol="0" anchor="ctr">
                  <a:noAutofit/>
                </a:bodyPr>
                <a:lstStyle/>
                <a:p>
                  <a:pPr>
                    <a:spcBef>
                      <a:spcPts val="600"/>
                    </a:spcBef>
                  </a:pPr>
                  <a:r>
                    <a:rPr lang="en-US" sz="1200" dirty="0">
                      <a:solidFill>
                        <a:srgbClr val="707274"/>
                      </a:solidFill>
                      <a:latin typeface="Proxima Nova A" panose="02000506030000020004" pitchFamily="2" charset="0"/>
                    </a:rPr>
                    <a:t>States not covered by either survey</a:t>
                  </a:r>
                </a:p>
              </p:txBody>
            </p:sp>
          </p:grpSp>
          <p:sp>
            <p:nvSpPr>
              <p:cNvPr id="139" name="TextBox 138">
                <a:extLst>
                  <a:ext uri="{FF2B5EF4-FFF2-40B4-BE49-F238E27FC236}">
                    <a16:creationId xmlns:a16="http://schemas.microsoft.com/office/drawing/2014/main" id="{F63D6A74-8AB7-440A-B3FC-BE97661CD3ED}"/>
                  </a:ext>
                </a:extLst>
              </p:cNvPr>
              <p:cNvSpPr txBox="1"/>
              <p:nvPr/>
            </p:nvSpPr>
            <p:spPr bwMode="gray">
              <a:xfrm>
                <a:off x="762939" y="4083771"/>
                <a:ext cx="2245051" cy="288960"/>
              </a:xfrm>
              <a:prstGeom prst="rect">
                <a:avLst/>
              </a:prstGeom>
            </p:spPr>
            <p:txBody>
              <a:bodyPr vert="horz" wrap="square" lIns="0" tIns="0" rIns="0" bIns="0" rtlCol="0" anchor="ctr">
                <a:noAutofit/>
              </a:bodyPr>
              <a:lstStyle/>
              <a:p>
                <a:pPr>
                  <a:spcBef>
                    <a:spcPts val="600"/>
                  </a:spcBef>
                </a:pPr>
                <a:r>
                  <a:rPr lang="en-US" sz="1200" b="1" dirty="0">
                    <a:solidFill>
                      <a:srgbClr val="707274"/>
                    </a:solidFill>
                    <a:latin typeface="Proxima Nova A" panose="02000506030000020004" pitchFamily="2" charset="0"/>
                  </a:rPr>
                  <a:t>Legend</a:t>
                </a:r>
              </a:p>
            </p:txBody>
          </p:sp>
          <p:grpSp>
            <p:nvGrpSpPr>
              <p:cNvPr id="140" name="Group 139">
                <a:extLst>
                  <a:ext uri="{FF2B5EF4-FFF2-40B4-BE49-F238E27FC236}">
                    <a16:creationId xmlns:a16="http://schemas.microsoft.com/office/drawing/2014/main" id="{9C0F2F0D-78DE-4457-9BF5-02BDADA6E8F8}"/>
                  </a:ext>
                </a:extLst>
              </p:cNvPr>
              <p:cNvGrpSpPr/>
              <p:nvPr/>
            </p:nvGrpSpPr>
            <p:grpSpPr>
              <a:xfrm>
                <a:off x="2446268" y="167458"/>
                <a:ext cx="5036346" cy="5708261"/>
                <a:chOff x="2223983" y="1211009"/>
                <a:chExt cx="4696630" cy="5378676"/>
              </a:xfrm>
              <a:solidFill>
                <a:schemeClr val="bg1">
                  <a:lumMod val="95000"/>
                </a:schemeClr>
              </a:solidFill>
            </p:grpSpPr>
            <p:grpSp>
              <p:nvGrpSpPr>
                <p:cNvPr id="141" name="Group 140">
                  <a:extLst>
                    <a:ext uri="{FF2B5EF4-FFF2-40B4-BE49-F238E27FC236}">
                      <a16:creationId xmlns:a16="http://schemas.microsoft.com/office/drawing/2014/main" id="{A8F3F8CE-44E3-4564-82C8-D38D88F115AB}"/>
                    </a:ext>
                  </a:extLst>
                </p:cNvPr>
                <p:cNvGrpSpPr/>
                <p:nvPr/>
              </p:nvGrpSpPr>
              <p:grpSpPr>
                <a:xfrm>
                  <a:off x="2223983" y="1211009"/>
                  <a:ext cx="4696630" cy="5378676"/>
                  <a:chOff x="2147887" y="700373"/>
                  <a:chExt cx="5208206" cy="5964543"/>
                </a:xfrm>
                <a:grpFill/>
              </p:grpSpPr>
              <p:sp>
                <p:nvSpPr>
                  <p:cNvPr id="143" name="Freeform 1054">
                    <a:extLst>
                      <a:ext uri="{FF2B5EF4-FFF2-40B4-BE49-F238E27FC236}">
                        <a16:creationId xmlns:a16="http://schemas.microsoft.com/office/drawing/2014/main" id="{467589CA-1D7A-41A7-B0CB-ACC71445CB28}"/>
                      </a:ext>
                    </a:extLst>
                  </p:cNvPr>
                  <p:cNvSpPr>
                    <a:spLocks/>
                  </p:cNvSpPr>
                  <p:nvPr/>
                </p:nvSpPr>
                <p:spPr bwMode="auto">
                  <a:xfrm>
                    <a:off x="3076642" y="700373"/>
                    <a:ext cx="1279281" cy="974296"/>
                  </a:xfrm>
                  <a:custGeom>
                    <a:avLst/>
                    <a:gdLst>
                      <a:gd name="T0" fmla="*/ 234 w 927"/>
                      <a:gd name="T1" fmla="*/ 643 h 706"/>
                      <a:gd name="T2" fmla="*/ 288 w 927"/>
                      <a:gd name="T3" fmla="*/ 681 h 706"/>
                      <a:gd name="T4" fmla="*/ 351 w 927"/>
                      <a:gd name="T5" fmla="*/ 690 h 706"/>
                      <a:gd name="T6" fmla="*/ 372 w 927"/>
                      <a:gd name="T7" fmla="*/ 628 h 706"/>
                      <a:gd name="T8" fmla="*/ 420 w 927"/>
                      <a:gd name="T9" fmla="*/ 603 h 706"/>
                      <a:gd name="T10" fmla="*/ 490 w 927"/>
                      <a:gd name="T11" fmla="*/ 577 h 706"/>
                      <a:gd name="T12" fmla="*/ 543 w 927"/>
                      <a:gd name="T13" fmla="*/ 623 h 706"/>
                      <a:gd name="T14" fmla="*/ 603 w 927"/>
                      <a:gd name="T15" fmla="*/ 611 h 706"/>
                      <a:gd name="T16" fmla="*/ 640 w 927"/>
                      <a:gd name="T17" fmla="*/ 668 h 706"/>
                      <a:gd name="T18" fmla="*/ 678 w 927"/>
                      <a:gd name="T19" fmla="*/ 648 h 706"/>
                      <a:gd name="T20" fmla="*/ 673 w 927"/>
                      <a:gd name="T21" fmla="*/ 683 h 706"/>
                      <a:gd name="T22" fmla="*/ 723 w 927"/>
                      <a:gd name="T23" fmla="*/ 661 h 706"/>
                      <a:gd name="T24" fmla="*/ 763 w 927"/>
                      <a:gd name="T25" fmla="*/ 706 h 706"/>
                      <a:gd name="T26" fmla="*/ 809 w 927"/>
                      <a:gd name="T27" fmla="*/ 668 h 706"/>
                      <a:gd name="T28" fmla="*/ 808 w 927"/>
                      <a:gd name="T29" fmla="*/ 613 h 706"/>
                      <a:gd name="T30" fmla="*/ 789 w 927"/>
                      <a:gd name="T31" fmla="*/ 567 h 706"/>
                      <a:gd name="T32" fmla="*/ 766 w 927"/>
                      <a:gd name="T33" fmla="*/ 523 h 706"/>
                      <a:gd name="T34" fmla="*/ 756 w 927"/>
                      <a:gd name="T35" fmla="*/ 465 h 706"/>
                      <a:gd name="T36" fmla="*/ 804 w 927"/>
                      <a:gd name="T37" fmla="*/ 459 h 706"/>
                      <a:gd name="T38" fmla="*/ 829 w 927"/>
                      <a:gd name="T39" fmla="*/ 395 h 706"/>
                      <a:gd name="T40" fmla="*/ 879 w 927"/>
                      <a:gd name="T41" fmla="*/ 364 h 706"/>
                      <a:gd name="T42" fmla="*/ 904 w 927"/>
                      <a:gd name="T43" fmla="*/ 324 h 706"/>
                      <a:gd name="T44" fmla="*/ 921 w 927"/>
                      <a:gd name="T45" fmla="*/ 268 h 706"/>
                      <a:gd name="T46" fmla="*/ 899 w 927"/>
                      <a:gd name="T47" fmla="*/ 216 h 706"/>
                      <a:gd name="T48" fmla="*/ 839 w 927"/>
                      <a:gd name="T49" fmla="*/ 189 h 706"/>
                      <a:gd name="T50" fmla="*/ 793 w 927"/>
                      <a:gd name="T51" fmla="*/ 183 h 706"/>
                      <a:gd name="T52" fmla="*/ 759 w 927"/>
                      <a:gd name="T53" fmla="*/ 189 h 706"/>
                      <a:gd name="T54" fmla="*/ 695 w 927"/>
                      <a:gd name="T55" fmla="*/ 208 h 706"/>
                      <a:gd name="T56" fmla="*/ 655 w 927"/>
                      <a:gd name="T57" fmla="*/ 236 h 706"/>
                      <a:gd name="T58" fmla="*/ 620 w 927"/>
                      <a:gd name="T59" fmla="*/ 236 h 706"/>
                      <a:gd name="T60" fmla="*/ 573 w 927"/>
                      <a:gd name="T61" fmla="*/ 241 h 706"/>
                      <a:gd name="T62" fmla="*/ 552 w 927"/>
                      <a:gd name="T63" fmla="*/ 204 h 706"/>
                      <a:gd name="T64" fmla="*/ 500 w 927"/>
                      <a:gd name="T65" fmla="*/ 171 h 706"/>
                      <a:gd name="T66" fmla="*/ 464 w 927"/>
                      <a:gd name="T67" fmla="*/ 120 h 706"/>
                      <a:gd name="T68" fmla="*/ 412 w 927"/>
                      <a:gd name="T69" fmla="*/ 90 h 706"/>
                      <a:gd name="T70" fmla="*/ 344 w 927"/>
                      <a:gd name="T71" fmla="*/ 25 h 706"/>
                      <a:gd name="T72" fmla="*/ 304 w 927"/>
                      <a:gd name="T73" fmla="*/ 18 h 706"/>
                      <a:gd name="T74" fmla="*/ 248 w 927"/>
                      <a:gd name="T75" fmla="*/ 5 h 706"/>
                      <a:gd name="T76" fmla="*/ 203 w 927"/>
                      <a:gd name="T77" fmla="*/ 22 h 706"/>
                      <a:gd name="T78" fmla="*/ 141 w 927"/>
                      <a:gd name="T79" fmla="*/ 20 h 706"/>
                      <a:gd name="T80" fmla="*/ 161 w 927"/>
                      <a:gd name="T81" fmla="*/ 50 h 706"/>
                      <a:gd name="T82" fmla="*/ 76 w 927"/>
                      <a:gd name="T83" fmla="*/ 45 h 706"/>
                      <a:gd name="T84" fmla="*/ 33 w 927"/>
                      <a:gd name="T85" fmla="*/ 106 h 706"/>
                      <a:gd name="T86" fmla="*/ 5 w 927"/>
                      <a:gd name="T87" fmla="*/ 145 h 706"/>
                      <a:gd name="T88" fmla="*/ 47 w 927"/>
                      <a:gd name="T89" fmla="*/ 173 h 706"/>
                      <a:gd name="T90" fmla="*/ 88 w 927"/>
                      <a:gd name="T91" fmla="*/ 208 h 706"/>
                      <a:gd name="T92" fmla="*/ 146 w 927"/>
                      <a:gd name="T93" fmla="*/ 224 h 706"/>
                      <a:gd name="T94" fmla="*/ 146 w 927"/>
                      <a:gd name="T95" fmla="*/ 266 h 706"/>
                      <a:gd name="T96" fmla="*/ 171 w 927"/>
                      <a:gd name="T97" fmla="*/ 319 h 706"/>
                      <a:gd name="T98" fmla="*/ 128 w 927"/>
                      <a:gd name="T99" fmla="*/ 362 h 706"/>
                      <a:gd name="T100" fmla="*/ 105 w 927"/>
                      <a:gd name="T101" fmla="*/ 402 h 706"/>
                      <a:gd name="T102" fmla="*/ 113 w 927"/>
                      <a:gd name="T103" fmla="*/ 518 h 706"/>
                      <a:gd name="T104" fmla="*/ 126 w 927"/>
                      <a:gd name="T105" fmla="*/ 592 h 706"/>
                      <a:gd name="T106" fmla="*/ 193 w 927"/>
                      <a:gd name="T107" fmla="*/ 628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27" h="706">
                        <a:moveTo>
                          <a:pt x="213" y="630"/>
                        </a:moveTo>
                        <a:lnTo>
                          <a:pt x="229" y="633"/>
                        </a:lnTo>
                        <a:lnTo>
                          <a:pt x="234" y="620"/>
                        </a:lnTo>
                        <a:lnTo>
                          <a:pt x="241" y="623"/>
                        </a:lnTo>
                        <a:lnTo>
                          <a:pt x="236" y="630"/>
                        </a:lnTo>
                        <a:lnTo>
                          <a:pt x="234" y="643"/>
                        </a:lnTo>
                        <a:lnTo>
                          <a:pt x="229" y="656"/>
                        </a:lnTo>
                        <a:lnTo>
                          <a:pt x="236" y="673"/>
                        </a:lnTo>
                        <a:lnTo>
                          <a:pt x="258" y="673"/>
                        </a:lnTo>
                        <a:lnTo>
                          <a:pt x="271" y="680"/>
                        </a:lnTo>
                        <a:lnTo>
                          <a:pt x="278" y="675"/>
                        </a:lnTo>
                        <a:lnTo>
                          <a:pt x="288" y="681"/>
                        </a:lnTo>
                        <a:lnTo>
                          <a:pt x="294" y="683"/>
                        </a:lnTo>
                        <a:lnTo>
                          <a:pt x="311" y="696"/>
                        </a:lnTo>
                        <a:lnTo>
                          <a:pt x="322" y="701"/>
                        </a:lnTo>
                        <a:lnTo>
                          <a:pt x="337" y="706"/>
                        </a:lnTo>
                        <a:lnTo>
                          <a:pt x="337" y="690"/>
                        </a:lnTo>
                        <a:lnTo>
                          <a:pt x="351" y="690"/>
                        </a:lnTo>
                        <a:lnTo>
                          <a:pt x="366" y="680"/>
                        </a:lnTo>
                        <a:lnTo>
                          <a:pt x="377" y="673"/>
                        </a:lnTo>
                        <a:lnTo>
                          <a:pt x="384" y="660"/>
                        </a:lnTo>
                        <a:lnTo>
                          <a:pt x="384" y="648"/>
                        </a:lnTo>
                        <a:lnTo>
                          <a:pt x="384" y="635"/>
                        </a:lnTo>
                        <a:lnTo>
                          <a:pt x="372" y="628"/>
                        </a:lnTo>
                        <a:lnTo>
                          <a:pt x="371" y="621"/>
                        </a:lnTo>
                        <a:lnTo>
                          <a:pt x="377" y="615"/>
                        </a:lnTo>
                        <a:lnTo>
                          <a:pt x="391" y="621"/>
                        </a:lnTo>
                        <a:lnTo>
                          <a:pt x="396" y="620"/>
                        </a:lnTo>
                        <a:lnTo>
                          <a:pt x="409" y="605"/>
                        </a:lnTo>
                        <a:lnTo>
                          <a:pt x="420" y="603"/>
                        </a:lnTo>
                        <a:lnTo>
                          <a:pt x="430" y="596"/>
                        </a:lnTo>
                        <a:lnTo>
                          <a:pt x="432" y="588"/>
                        </a:lnTo>
                        <a:lnTo>
                          <a:pt x="447" y="580"/>
                        </a:lnTo>
                        <a:lnTo>
                          <a:pt x="462" y="580"/>
                        </a:lnTo>
                        <a:lnTo>
                          <a:pt x="482" y="583"/>
                        </a:lnTo>
                        <a:lnTo>
                          <a:pt x="490" y="577"/>
                        </a:lnTo>
                        <a:lnTo>
                          <a:pt x="495" y="575"/>
                        </a:lnTo>
                        <a:lnTo>
                          <a:pt x="497" y="582"/>
                        </a:lnTo>
                        <a:lnTo>
                          <a:pt x="495" y="588"/>
                        </a:lnTo>
                        <a:lnTo>
                          <a:pt x="499" y="596"/>
                        </a:lnTo>
                        <a:lnTo>
                          <a:pt x="535" y="623"/>
                        </a:lnTo>
                        <a:lnTo>
                          <a:pt x="543" y="623"/>
                        </a:lnTo>
                        <a:lnTo>
                          <a:pt x="552" y="628"/>
                        </a:lnTo>
                        <a:lnTo>
                          <a:pt x="560" y="631"/>
                        </a:lnTo>
                        <a:lnTo>
                          <a:pt x="565" y="626"/>
                        </a:lnTo>
                        <a:lnTo>
                          <a:pt x="575" y="630"/>
                        </a:lnTo>
                        <a:lnTo>
                          <a:pt x="592" y="620"/>
                        </a:lnTo>
                        <a:lnTo>
                          <a:pt x="603" y="611"/>
                        </a:lnTo>
                        <a:lnTo>
                          <a:pt x="615" y="625"/>
                        </a:lnTo>
                        <a:lnTo>
                          <a:pt x="618" y="633"/>
                        </a:lnTo>
                        <a:lnTo>
                          <a:pt x="630" y="646"/>
                        </a:lnTo>
                        <a:lnTo>
                          <a:pt x="627" y="655"/>
                        </a:lnTo>
                        <a:lnTo>
                          <a:pt x="635" y="660"/>
                        </a:lnTo>
                        <a:lnTo>
                          <a:pt x="640" y="668"/>
                        </a:lnTo>
                        <a:lnTo>
                          <a:pt x="648" y="665"/>
                        </a:lnTo>
                        <a:lnTo>
                          <a:pt x="651" y="658"/>
                        </a:lnTo>
                        <a:lnTo>
                          <a:pt x="658" y="663"/>
                        </a:lnTo>
                        <a:lnTo>
                          <a:pt x="663" y="658"/>
                        </a:lnTo>
                        <a:lnTo>
                          <a:pt x="670" y="660"/>
                        </a:lnTo>
                        <a:lnTo>
                          <a:pt x="678" y="648"/>
                        </a:lnTo>
                        <a:lnTo>
                          <a:pt x="681" y="643"/>
                        </a:lnTo>
                        <a:lnTo>
                          <a:pt x="686" y="645"/>
                        </a:lnTo>
                        <a:lnTo>
                          <a:pt x="686" y="653"/>
                        </a:lnTo>
                        <a:lnTo>
                          <a:pt x="685" y="663"/>
                        </a:lnTo>
                        <a:lnTo>
                          <a:pt x="680" y="673"/>
                        </a:lnTo>
                        <a:lnTo>
                          <a:pt x="673" y="683"/>
                        </a:lnTo>
                        <a:lnTo>
                          <a:pt x="675" y="688"/>
                        </a:lnTo>
                        <a:lnTo>
                          <a:pt x="683" y="686"/>
                        </a:lnTo>
                        <a:lnTo>
                          <a:pt x="690" y="680"/>
                        </a:lnTo>
                        <a:lnTo>
                          <a:pt x="696" y="673"/>
                        </a:lnTo>
                        <a:lnTo>
                          <a:pt x="713" y="665"/>
                        </a:lnTo>
                        <a:lnTo>
                          <a:pt x="723" y="661"/>
                        </a:lnTo>
                        <a:lnTo>
                          <a:pt x="733" y="651"/>
                        </a:lnTo>
                        <a:lnTo>
                          <a:pt x="738" y="660"/>
                        </a:lnTo>
                        <a:lnTo>
                          <a:pt x="740" y="673"/>
                        </a:lnTo>
                        <a:lnTo>
                          <a:pt x="740" y="685"/>
                        </a:lnTo>
                        <a:lnTo>
                          <a:pt x="748" y="691"/>
                        </a:lnTo>
                        <a:lnTo>
                          <a:pt x="763" y="706"/>
                        </a:lnTo>
                        <a:lnTo>
                          <a:pt x="768" y="700"/>
                        </a:lnTo>
                        <a:lnTo>
                          <a:pt x="781" y="695"/>
                        </a:lnTo>
                        <a:lnTo>
                          <a:pt x="781" y="681"/>
                        </a:lnTo>
                        <a:lnTo>
                          <a:pt x="794" y="681"/>
                        </a:lnTo>
                        <a:lnTo>
                          <a:pt x="801" y="675"/>
                        </a:lnTo>
                        <a:lnTo>
                          <a:pt x="809" y="668"/>
                        </a:lnTo>
                        <a:lnTo>
                          <a:pt x="821" y="678"/>
                        </a:lnTo>
                        <a:lnTo>
                          <a:pt x="826" y="666"/>
                        </a:lnTo>
                        <a:lnTo>
                          <a:pt x="844" y="648"/>
                        </a:lnTo>
                        <a:lnTo>
                          <a:pt x="829" y="635"/>
                        </a:lnTo>
                        <a:lnTo>
                          <a:pt x="821" y="621"/>
                        </a:lnTo>
                        <a:lnTo>
                          <a:pt x="808" y="613"/>
                        </a:lnTo>
                        <a:lnTo>
                          <a:pt x="813" y="606"/>
                        </a:lnTo>
                        <a:lnTo>
                          <a:pt x="814" y="593"/>
                        </a:lnTo>
                        <a:lnTo>
                          <a:pt x="821" y="583"/>
                        </a:lnTo>
                        <a:lnTo>
                          <a:pt x="821" y="573"/>
                        </a:lnTo>
                        <a:lnTo>
                          <a:pt x="811" y="570"/>
                        </a:lnTo>
                        <a:lnTo>
                          <a:pt x="789" y="567"/>
                        </a:lnTo>
                        <a:lnTo>
                          <a:pt x="766" y="565"/>
                        </a:lnTo>
                        <a:lnTo>
                          <a:pt x="761" y="555"/>
                        </a:lnTo>
                        <a:lnTo>
                          <a:pt x="758" y="545"/>
                        </a:lnTo>
                        <a:lnTo>
                          <a:pt x="758" y="533"/>
                        </a:lnTo>
                        <a:lnTo>
                          <a:pt x="756" y="522"/>
                        </a:lnTo>
                        <a:lnTo>
                          <a:pt x="766" y="523"/>
                        </a:lnTo>
                        <a:lnTo>
                          <a:pt x="776" y="520"/>
                        </a:lnTo>
                        <a:lnTo>
                          <a:pt x="778" y="512"/>
                        </a:lnTo>
                        <a:lnTo>
                          <a:pt x="773" y="502"/>
                        </a:lnTo>
                        <a:lnTo>
                          <a:pt x="764" y="495"/>
                        </a:lnTo>
                        <a:lnTo>
                          <a:pt x="759" y="480"/>
                        </a:lnTo>
                        <a:lnTo>
                          <a:pt x="756" y="465"/>
                        </a:lnTo>
                        <a:lnTo>
                          <a:pt x="759" y="459"/>
                        </a:lnTo>
                        <a:lnTo>
                          <a:pt x="771" y="464"/>
                        </a:lnTo>
                        <a:lnTo>
                          <a:pt x="779" y="460"/>
                        </a:lnTo>
                        <a:lnTo>
                          <a:pt x="788" y="457"/>
                        </a:lnTo>
                        <a:lnTo>
                          <a:pt x="798" y="460"/>
                        </a:lnTo>
                        <a:lnTo>
                          <a:pt x="804" y="459"/>
                        </a:lnTo>
                        <a:lnTo>
                          <a:pt x="819" y="464"/>
                        </a:lnTo>
                        <a:lnTo>
                          <a:pt x="819" y="450"/>
                        </a:lnTo>
                        <a:lnTo>
                          <a:pt x="828" y="439"/>
                        </a:lnTo>
                        <a:lnTo>
                          <a:pt x="838" y="429"/>
                        </a:lnTo>
                        <a:lnTo>
                          <a:pt x="834" y="407"/>
                        </a:lnTo>
                        <a:lnTo>
                          <a:pt x="829" y="395"/>
                        </a:lnTo>
                        <a:lnTo>
                          <a:pt x="839" y="394"/>
                        </a:lnTo>
                        <a:lnTo>
                          <a:pt x="863" y="395"/>
                        </a:lnTo>
                        <a:lnTo>
                          <a:pt x="863" y="377"/>
                        </a:lnTo>
                        <a:lnTo>
                          <a:pt x="863" y="372"/>
                        </a:lnTo>
                        <a:lnTo>
                          <a:pt x="871" y="367"/>
                        </a:lnTo>
                        <a:lnTo>
                          <a:pt x="879" y="364"/>
                        </a:lnTo>
                        <a:lnTo>
                          <a:pt x="892" y="364"/>
                        </a:lnTo>
                        <a:lnTo>
                          <a:pt x="897" y="359"/>
                        </a:lnTo>
                        <a:lnTo>
                          <a:pt x="896" y="349"/>
                        </a:lnTo>
                        <a:lnTo>
                          <a:pt x="901" y="337"/>
                        </a:lnTo>
                        <a:lnTo>
                          <a:pt x="904" y="329"/>
                        </a:lnTo>
                        <a:lnTo>
                          <a:pt x="904" y="324"/>
                        </a:lnTo>
                        <a:lnTo>
                          <a:pt x="911" y="316"/>
                        </a:lnTo>
                        <a:lnTo>
                          <a:pt x="909" y="306"/>
                        </a:lnTo>
                        <a:lnTo>
                          <a:pt x="909" y="296"/>
                        </a:lnTo>
                        <a:lnTo>
                          <a:pt x="914" y="287"/>
                        </a:lnTo>
                        <a:lnTo>
                          <a:pt x="917" y="276"/>
                        </a:lnTo>
                        <a:lnTo>
                          <a:pt x="921" y="268"/>
                        </a:lnTo>
                        <a:lnTo>
                          <a:pt x="921" y="258"/>
                        </a:lnTo>
                        <a:lnTo>
                          <a:pt x="924" y="244"/>
                        </a:lnTo>
                        <a:lnTo>
                          <a:pt x="927" y="233"/>
                        </a:lnTo>
                        <a:lnTo>
                          <a:pt x="922" y="229"/>
                        </a:lnTo>
                        <a:lnTo>
                          <a:pt x="906" y="221"/>
                        </a:lnTo>
                        <a:lnTo>
                          <a:pt x="899" y="216"/>
                        </a:lnTo>
                        <a:lnTo>
                          <a:pt x="896" y="208"/>
                        </a:lnTo>
                        <a:lnTo>
                          <a:pt x="892" y="199"/>
                        </a:lnTo>
                        <a:lnTo>
                          <a:pt x="884" y="193"/>
                        </a:lnTo>
                        <a:lnTo>
                          <a:pt x="871" y="201"/>
                        </a:lnTo>
                        <a:lnTo>
                          <a:pt x="863" y="201"/>
                        </a:lnTo>
                        <a:lnTo>
                          <a:pt x="839" y="189"/>
                        </a:lnTo>
                        <a:lnTo>
                          <a:pt x="826" y="186"/>
                        </a:lnTo>
                        <a:lnTo>
                          <a:pt x="818" y="179"/>
                        </a:lnTo>
                        <a:lnTo>
                          <a:pt x="818" y="171"/>
                        </a:lnTo>
                        <a:lnTo>
                          <a:pt x="806" y="171"/>
                        </a:lnTo>
                        <a:lnTo>
                          <a:pt x="796" y="173"/>
                        </a:lnTo>
                        <a:lnTo>
                          <a:pt x="793" y="183"/>
                        </a:lnTo>
                        <a:lnTo>
                          <a:pt x="793" y="188"/>
                        </a:lnTo>
                        <a:lnTo>
                          <a:pt x="788" y="196"/>
                        </a:lnTo>
                        <a:lnTo>
                          <a:pt x="779" y="196"/>
                        </a:lnTo>
                        <a:lnTo>
                          <a:pt x="768" y="189"/>
                        </a:lnTo>
                        <a:lnTo>
                          <a:pt x="764" y="184"/>
                        </a:lnTo>
                        <a:lnTo>
                          <a:pt x="759" y="189"/>
                        </a:lnTo>
                        <a:lnTo>
                          <a:pt x="740" y="191"/>
                        </a:lnTo>
                        <a:lnTo>
                          <a:pt x="731" y="191"/>
                        </a:lnTo>
                        <a:lnTo>
                          <a:pt x="723" y="194"/>
                        </a:lnTo>
                        <a:lnTo>
                          <a:pt x="713" y="204"/>
                        </a:lnTo>
                        <a:lnTo>
                          <a:pt x="703" y="199"/>
                        </a:lnTo>
                        <a:lnTo>
                          <a:pt x="695" y="208"/>
                        </a:lnTo>
                        <a:lnTo>
                          <a:pt x="685" y="211"/>
                        </a:lnTo>
                        <a:lnTo>
                          <a:pt x="680" y="211"/>
                        </a:lnTo>
                        <a:lnTo>
                          <a:pt x="680" y="219"/>
                        </a:lnTo>
                        <a:lnTo>
                          <a:pt x="671" y="221"/>
                        </a:lnTo>
                        <a:lnTo>
                          <a:pt x="665" y="238"/>
                        </a:lnTo>
                        <a:lnTo>
                          <a:pt x="655" y="236"/>
                        </a:lnTo>
                        <a:lnTo>
                          <a:pt x="650" y="228"/>
                        </a:lnTo>
                        <a:lnTo>
                          <a:pt x="640" y="229"/>
                        </a:lnTo>
                        <a:lnTo>
                          <a:pt x="640" y="241"/>
                        </a:lnTo>
                        <a:lnTo>
                          <a:pt x="640" y="246"/>
                        </a:lnTo>
                        <a:lnTo>
                          <a:pt x="632" y="243"/>
                        </a:lnTo>
                        <a:lnTo>
                          <a:pt x="620" y="236"/>
                        </a:lnTo>
                        <a:lnTo>
                          <a:pt x="613" y="239"/>
                        </a:lnTo>
                        <a:lnTo>
                          <a:pt x="613" y="244"/>
                        </a:lnTo>
                        <a:lnTo>
                          <a:pt x="600" y="243"/>
                        </a:lnTo>
                        <a:lnTo>
                          <a:pt x="592" y="243"/>
                        </a:lnTo>
                        <a:lnTo>
                          <a:pt x="583" y="246"/>
                        </a:lnTo>
                        <a:lnTo>
                          <a:pt x="573" y="241"/>
                        </a:lnTo>
                        <a:lnTo>
                          <a:pt x="573" y="234"/>
                        </a:lnTo>
                        <a:lnTo>
                          <a:pt x="585" y="233"/>
                        </a:lnTo>
                        <a:lnTo>
                          <a:pt x="583" y="218"/>
                        </a:lnTo>
                        <a:lnTo>
                          <a:pt x="573" y="208"/>
                        </a:lnTo>
                        <a:lnTo>
                          <a:pt x="562" y="204"/>
                        </a:lnTo>
                        <a:lnTo>
                          <a:pt x="552" y="204"/>
                        </a:lnTo>
                        <a:lnTo>
                          <a:pt x="543" y="196"/>
                        </a:lnTo>
                        <a:lnTo>
                          <a:pt x="532" y="198"/>
                        </a:lnTo>
                        <a:lnTo>
                          <a:pt x="522" y="198"/>
                        </a:lnTo>
                        <a:lnTo>
                          <a:pt x="505" y="184"/>
                        </a:lnTo>
                        <a:lnTo>
                          <a:pt x="502" y="181"/>
                        </a:lnTo>
                        <a:lnTo>
                          <a:pt x="500" y="171"/>
                        </a:lnTo>
                        <a:lnTo>
                          <a:pt x="504" y="161"/>
                        </a:lnTo>
                        <a:lnTo>
                          <a:pt x="504" y="153"/>
                        </a:lnTo>
                        <a:lnTo>
                          <a:pt x="495" y="141"/>
                        </a:lnTo>
                        <a:lnTo>
                          <a:pt x="487" y="141"/>
                        </a:lnTo>
                        <a:lnTo>
                          <a:pt x="474" y="136"/>
                        </a:lnTo>
                        <a:lnTo>
                          <a:pt x="464" y="120"/>
                        </a:lnTo>
                        <a:lnTo>
                          <a:pt x="459" y="113"/>
                        </a:lnTo>
                        <a:lnTo>
                          <a:pt x="454" y="110"/>
                        </a:lnTo>
                        <a:lnTo>
                          <a:pt x="437" y="110"/>
                        </a:lnTo>
                        <a:lnTo>
                          <a:pt x="429" y="96"/>
                        </a:lnTo>
                        <a:lnTo>
                          <a:pt x="424" y="88"/>
                        </a:lnTo>
                        <a:lnTo>
                          <a:pt x="412" y="90"/>
                        </a:lnTo>
                        <a:lnTo>
                          <a:pt x="392" y="76"/>
                        </a:lnTo>
                        <a:lnTo>
                          <a:pt x="381" y="65"/>
                        </a:lnTo>
                        <a:lnTo>
                          <a:pt x="369" y="45"/>
                        </a:lnTo>
                        <a:lnTo>
                          <a:pt x="356" y="38"/>
                        </a:lnTo>
                        <a:lnTo>
                          <a:pt x="351" y="32"/>
                        </a:lnTo>
                        <a:lnTo>
                          <a:pt x="344" y="25"/>
                        </a:lnTo>
                        <a:lnTo>
                          <a:pt x="344" y="13"/>
                        </a:lnTo>
                        <a:lnTo>
                          <a:pt x="336" y="12"/>
                        </a:lnTo>
                        <a:lnTo>
                          <a:pt x="334" y="2"/>
                        </a:lnTo>
                        <a:lnTo>
                          <a:pt x="324" y="5"/>
                        </a:lnTo>
                        <a:lnTo>
                          <a:pt x="314" y="17"/>
                        </a:lnTo>
                        <a:lnTo>
                          <a:pt x="304" y="18"/>
                        </a:lnTo>
                        <a:lnTo>
                          <a:pt x="299" y="13"/>
                        </a:lnTo>
                        <a:lnTo>
                          <a:pt x="291" y="23"/>
                        </a:lnTo>
                        <a:lnTo>
                          <a:pt x="281" y="10"/>
                        </a:lnTo>
                        <a:lnTo>
                          <a:pt x="268" y="7"/>
                        </a:lnTo>
                        <a:lnTo>
                          <a:pt x="259" y="0"/>
                        </a:lnTo>
                        <a:lnTo>
                          <a:pt x="248" y="5"/>
                        </a:lnTo>
                        <a:lnTo>
                          <a:pt x="249" y="12"/>
                        </a:lnTo>
                        <a:lnTo>
                          <a:pt x="244" y="15"/>
                        </a:lnTo>
                        <a:lnTo>
                          <a:pt x="239" y="12"/>
                        </a:lnTo>
                        <a:lnTo>
                          <a:pt x="231" y="10"/>
                        </a:lnTo>
                        <a:lnTo>
                          <a:pt x="213" y="23"/>
                        </a:lnTo>
                        <a:lnTo>
                          <a:pt x="203" y="22"/>
                        </a:lnTo>
                        <a:lnTo>
                          <a:pt x="189" y="38"/>
                        </a:lnTo>
                        <a:lnTo>
                          <a:pt x="181" y="35"/>
                        </a:lnTo>
                        <a:lnTo>
                          <a:pt x="175" y="28"/>
                        </a:lnTo>
                        <a:lnTo>
                          <a:pt x="171" y="23"/>
                        </a:lnTo>
                        <a:lnTo>
                          <a:pt x="151" y="20"/>
                        </a:lnTo>
                        <a:lnTo>
                          <a:pt x="141" y="20"/>
                        </a:lnTo>
                        <a:lnTo>
                          <a:pt x="143" y="28"/>
                        </a:lnTo>
                        <a:lnTo>
                          <a:pt x="153" y="33"/>
                        </a:lnTo>
                        <a:lnTo>
                          <a:pt x="163" y="38"/>
                        </a:lnTo>
                        <a:lnTo>
                          <a:pt x="168" y="43"/>
                        </a:lnTo>
                        <a:lnTo>
                          <a:pt x="168" y="48"/>
                        </a:lnTo>
                        <a:lnTo>
                          <a:pt x="161" y="50"/>
                        </a:lnTo>
                        <a:lnTo>
                          <a:pt x="148" y="50"/>
                        </a:lnTo>
                        <a:lnTo>
                          <a:pt x="135" y="47"/>
                        </a:lnTo>
                        <a:lnTo>
                          <a:pt x="116" y="43"/>
                        </a:lnTo>
                        <a:lnTo>
                          <a:pt x="108" y="42"/>
                        </a:lnTo>
                        <a:lnTo>
                          <a:pt x="103" y="43"/>
                        </a:lnTo>
                        <a:lnTo>
                          <a:pt x="76" y="45"/>
                        </a:lnTo>
                        <a:lnTo>
                          <a:pt x="68" y="50"/>
                        </a:lnTo>
                        <a:lnTo>
                          <a:pt x="70" y="66"/>
                        </a:lnTo>
                        <a:lnTo>
                          <a:pt x="58" y="75"/>
                        </a:lnTo>
                        <a:lnTo>
                          <a:pt x="45" y="83"/>
                        </a:lnTo>
                        <a:lnTo>
                          <a:pt x="43" y="98"/>
                        </a:lnTo>
                        <a:lnTo>
                          <a:pt x="33" y="106"/>
                        </a:lnTo>
                        <a:lnTo>
                          <a:pt x="22" y="111"/>
                        </a:lnTo>
                        <a:lnTo>
                          <a:pt x="7" y="113"/>
                        </a:lnTo>
                        <a:lnTo>
                          <a:pt x="2" y="123"/>
                        </a:lnTo>
                        <a:lnTo>
                          <a:pt x="5" y="133"/>
                        </a:lnTo>
                        <a:lnTo>
                          <a:pt x="0" y="138"/>
                        </a:lnTo>
                        <a:lnTo>
                          <a:pt x="5" y="145"/>
                        </a:lnTo>
                        <a:lnTo>
                          <a:pt x="7" y="150"/>
                        </a:lnTo>
                        <a:lnTo>
                          <a:pt x="0" y="163"/>
                        </a:lnTo>
                        <a:lnTo>
                          <a:pt x="10" y="171"/>
                        </a:lnTo>
                        <a:lnTo>
                          <a:pt x="25" y="173"/>
                        </a:lnTo>
                        <a:lnTo>
                          <a:pt x="37" y="166"/>
                        </a:lnTo>
                        <a:lnTo>
                          <a:pt x="47" y="173"/>
                        </a:lnTo>
                        <a:lnTo>
                          <a:pt x="58" y="173"/>
                        </a:lnTo>
                        <a:lnTo>
                          <a:pt x="67" y="168"/>
                        </a:lnTo>
                        <a:lnTo>
                          <a:pt x="73" y="176"/>
                        </a:lnTo>
                        <a:lnTo>
                          <a:pt x="73" y="188"/>
                        </a:lnTo>
                        <a:lnTo>
                          <a:pt x="78" y="203"/>
                        </a:lnTo>
                        <a:lnTo>
                          <a:pt x="88" y="208"/>
                        </a:lnTo>
                        <a:lnTo>
                          <a:pt x="103" y="213"/>
                        </a:lnTo>
                        <a:lnTo>
                          <a:pt x="108" y="223"/>
                        </a:lnTo>
                        <a:lnTo>
                          <a:pt x="118" y="231"/>
                        </a:lnTo>
                        <a:lnTo>
                          <a:pt x="136" y="229"/>
                        </a:lnTo>
                        <a:lnTo>
                          <a:pt x="138" y="224"/>
                        </a:lnTo>
                        <a:lnTo>
                          <a:pt x="146" y="224"/>
                        </a:lnTo>
                        <a:lnTo>
                          <a:pt x="151" y="233"/>
                        </a:lnTo>
                        <a:lnTo>
                          <a:pt x="140" y="238"/>
                        </a:lnTo>
                        <a:lnTo>
                          <a:pt x="136" y="249"/>
                        </a:lnTo>
                        <a:lnTo>
                          <a:pt x="136" y="258"/>
                        </a:lnTo>
                        <a:lnTo>
                          <a:pt x="138" y="271"/>
                        </a:lnTo>
                        <a:lnTo>
                          <a:pt x="146" y="266"/>
                        </a:lnTo>
                        <a:lnTo>
                          <a:pt x="160" y="272"/>
                        </a:lnTo>
                        <a:lnTo>
                          <a:pt x="173" y="277"/>
                        </a:lnTo>
                        <a:lnTo>
                          <a:pt x="185" y="286"/>
                        </a:lnTo>
                        <a:lnTo>
                          <a:pt x="180" y="292"/>
                        </a:lnTo>
                        <a:lnTo>
                          <a:pt x="181" y="299"/>
                        </a:lnTo>
                        <a:lnTo>
                          <a:pt x="171" y="319"/>
                        </a:lnTo>
                        <a:lnTo>
                          <a:pt x="163" y="329"/>
                        </a:lnTo>
                        <a:lnTo>
                          <a:pt x="148" y="332"/>
                        </a:lnTo>
                        <a:lnTo>
                          <a:pt x="138" y="334"/>
                        </a:lnTo>
                        <a:lnTo>
                          <a:pt x="128" y="346"/>
                        </a:lnTo>
                        <a:lnTo>
                          <a:pt x="128" y="356"/>
                        </a:lnTo>
                        <a:lnTo>
                          <a:pt x="128" y="362"/>
                        </a:lnTo>
                        <a:lnTo>
                          <a:pt x="116" y="362"/>
                        </a:lnTo>
                        <a:lnTo>
                          <a:pt x="101" y="364"/>
                        </a:lnTo>
                        <a:lnTo>
                          <a:pt x="96" y="377"/>
                        </a:lnTo>
                        <a:lnTo>
                          <a:pt x="93" y="387"/>
                        </a:lnTo>
                        <a:lnTo>
                          <a:pt x="100" y="394"/>
                        </a:lnTo>
                        <a:lnTo>
                          <a:pt x="105" y="402"/>
                        </a:lnTo>
                        <a:lnTo>
                          <a:pt x="103" y="432"/>
                        </a:lnTo>
                        <a:lnTo>
                          <a:pt x="106" y="447"/>
                        </a:lnTo>
                        <a:lnTo>
                          <a:pt x="111" y="462"/>
                        </a:lnTo>
                        <a:lnTo>
                          <a:pt x="106" y="475"/>
                        </a:lnTo>
                        <a:lnTo>
                          <a:pt x="108" y="500"/>
                        </a:lnTo>
                        <a:lnTo>
                          <a:pt x="113" y="518"/>
                        </a:lnTo>
                        <a:lnTo>
                          <a:pt x="110" y="535"/>
                        </a:lnTo>
                        <a:lnTo>
                          <a:pt x="108" y="552"/>
                        </a:lnTo>
                        <a:lnTo>
                          <a:pt x="110" y="572"/>
                        </a:lnTo>
                        <a:lnTo>
                          <a:pt x="111" y="578"/>
                        </a:lnTo>
                        <a:lnTo>
                          <a:pt x="123" y="585"/>
                        </a:lnTo>
                        <a:lnTo>
                          <a:pt x="126" y="592"/>
                        </a:lnTo>
                        <a:lnTo>
                          <a:pt x="135" y="600"/>
                        </a:lnTo>
                        <a:lnTo>
                          <a:pt x="140" y="593"/>
                        </a:lnTo>
                        <a:lnTo>
                          <a:pt x="150" y="598"/>
                        </a:lnTo>
                        <a:lnTo>
                          <a:pt x="178" y="615"/>
                        </a:lnTo>
                        <a:lnTo>
                          <a:pt x="194" y="621"/>
                        </a:lnTo>
                        <a:lnTo>
                          <a:pt x="193" y="628"/>
                        </a:lnTo>
                        <a:lnTo>
                          <a:pt x="213" y="630"/>
                        </a:lnTo>
                        <a:lnTo>
                          <a:pt x="213" y="630"/>
                        </a:lnTo>
                        <a:lnTo>
                          <a:pt x="213" y="630"/>
                        </a:lnTo>
                        <a:close/>
                      </a:path>
                    </a:pathLst>
                  </a:custGeom>
                  <a:solidFill>
                    <a:srgbClr val="B79FCC"/>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a:latin typeface="Proxima Nova A" panose="02000506030000020004" pitchFamily="2" charset="0"/>
                    </a:endParaRPr>
                  </a:p>
                </p:txBody>
              </p:sp>
              <p:sp>
                <p:nvSpPr>
                  <p:cNvPr id="144" name="Freeform 1056">
                    <a:extLst>
                      <a:ext uri="{FF2B5EF4-FFF2-40B4-BE49-F238E27FC236}">
                        <a16:creationId xmlns:a16="http://schemas.microsoft.com/office/drawing/2014/main" id="{9B3951A5-D181-462C-82FB-DF8894D15105}"/>
                      </a:ext>
                    </a:extLst>
                  </p:cNvPr>
                  <p:cNvSpPr>
                    <a:spLocks/>
                  </p:cNvSpPr>
                  <p:nvPr/>
                </p:nvSpPr>
                <p:spPr bwMode="auto">
                  <a:xfrm>
                    <a:off x="3551370" y="1489746"/>
                    <a:ext cx="575470" cy="568569"/>
                  </a:xfrm>
                  <a:custGeom>
                    <a:avLst/>
                    <a:gdLst>
                      <a:gd name="T0" fmla="*/ 359 w 417"/>
                      <a:gd name="T1" fmla="*/ 134 h 412"/>
                      <a:gd name="T2" fmla="*/ 374 w 417"/>
                      <a:gd name="T3" fmla="*/ 149 h 412"/>
                      <a:gd name="T4" fmla="*/ 386 w 417"/>
                      <a:gd name="T5" fmla="*/ 172 h 412"/>
                      <a:gd name="T6" fmla="*/ 387 w 417"/>
                      <a:gd name="T7" fmla="*/ 211 h 412"/>
                      <a:gd name="T8" fmla="*/ 402 w 417"/>
                      <a:gd name="T9" fmla="*/ 234 h 412"/>
                      <a:gd name="T10" fmla="*/ 392 w 417"/>
                      <a:gd name="T11" fmla="*/ 249 h 412"/>
                      <a:gd name="T12" fmla="*/ 397 w 417"/>
                      <a:gd name="T13" fmla="*/ 259 h 412"/>
                      <a:gd name="T14" fmla="*/ 407 w 417"/>
                      <a:gd name="T15" fmla="*/ 287 h 412"/>
                      <a:gd name="T16" fmla="*/ 412 w 417"/>
                      <a:gd name="T17" fmla="*/ 304 h 412"/>
                      <a:gd name="T18" fmla="*/ 411 w 417"/>
                      <a:gd name="T19" fmla="*/ 310 h 412"/>
                      <a:gd name="T20" fmla="*/ 396 w 417"/>
                      <a:gd name="T21" fmla="*/ 309 h 412"/>
                      <a:gd name="T22" fmla="*/ 381 w 417"/>
                      <a:gd name="T23" fmla="*/ 300 h 412"/>
                      <a:gd name="T24" fmla="*/ 364 w 417"/>
                      <a:gd name="T25" fmla="*/ 295 h 412"/>
                      <a:gd name="T26" fmla="*/ 342 w 417"/>
                      <a:gd name="T27" fmla="*/ 294 h 412"/>
                      <a:gd name="T28" fmla="*/ 322 w 417"/>
                      <a:gd name="T29" fmla="*/ 295 h 412"/>
                      <a:gd name="T30" fmla="*/ 301 w 417"/>
                      <a:gd name="T31" fmla="*/ 302 h 412"/>
                      <a:gd name="T32" fmla="*/ 284 w 417"/>
                      <a:gd name="T33" fmla="*/ 302 h 412"/>
                      <a:gd name="T34" fmla="*/ 271 w 417"/>
                      <a:gd name="T35" fmla="*/ 330 h 412"/>
                      <a:gd name="T36" fmla="*/ 259 w 417"/>
                      <a:gd name="T37" fmla="*/ 335 h 412"/>
                      <a:gd name="T38" fmla="*/ 268 w 417"/>
                      <a:gd name="T39" fmla="*/ 347 h 412"/>
                      <a:gd name="T40" fmla="*/ 259 w 417"/>
                      <a:gd name="T41" fmla="*/ 377 h 412"/>
                      <a:gd name="T42" fmla="*/ 264 w 417"/>
                      <a:gd name="T43" fmla="*/ 393 h 412"/>
                      <a:gd name="T44" fmla="*/ 258 w 417"/>
                      <a:gd name="T45" fmla="*/ 403 h 412"/>
                      <a:gd name="T46" fmla="*/ 228 w 417"/>
                      <a:gd name="T47" fmla="*/ 408 h 412"/>
                      <a:gd name="T48" fmla="*/ 211 w 417"/>
                      <a:gd name="T49" fmla="*/ 405 h 412"/>
                      <a:gd name="T50" fmla="*/ 189 w 417"/>
                      <a:gd name="T51" fmla="*/ 393 h 412"/>
                      <a:gd name="T52" fmla="*/ 186 w 417"/>
                      <a:gd name="T53" fmla="*/ 378 h 412"/>
                      <a:gd name="T54" fmla="*/ 178 w 417"/>
                      <a:gd name="T55" fmla="*/ 363 h 412"/>
                      <a:gd name="T56" fmla="*/ 161 w 417"/>
                      <a:gd name="T57" fmla="*/ 348 h 412"/>
                      <a:gd name="T58" fmla="*/ 145 w 417"/>
                      <a:gd name="T59" fmla="*/ 334 h 412"/>
                      <a:gd name="T60" fmla="*/ 118 w 417"/>
                      <a:gd name="T61" fmla="*/ 320 h 412"/>
                      <a:gd name="T62" fmla="*/ 123 w 417"/>
                      <a:gd name="T63" fmla="*/ 304 h 412"/>
                      <a:gd name="T64" fmla="*/ 123 w 417"/>
                      <a:gd name="T65" fmla="*/ 292 h 412"/>
                      <a:gd name="T66" fmla="*/ 100 w 417"/>
                      <a:gd name="T67" fmla="*/ 282 h 412"/>
                      <a:gd name="T68" fmla="*/ 95 w 417"/>
                      <a:gd name="T69" fmla="*/ 265 h 412"/>
                      <a:gd name="T70" fmla="*/ 81 w 417"/>
                      <a:gd name="T71" fmla="*/ 264 h 412"/>
                      <a:gd name="T72" fmla="*/ 78 w 417"/>
                      <a:gd name="T73" fmla="*/ 279 h 412"/>
                      <a:gd name="T74" fmla="*/ 57 w 417"/>
                      <a:gd name="T75" fmla="*/ 244 h 412"/>
                      <a:gd name="T76" fmla="*/ 45 w 417"/>
                      <a:gd name="T77" fmla="*/ 206 h 412"/>
                      <a:gd name="T78" fmla="*/ 28 w 417"/>
                      <a:gd name="T79" fmla="*/ 177 h 412"/>
                      <a:gd name="T80" fmla="*/ 10 w 417"/>
                      <a:gd name="T81" fmla="*/ 166 h 412"/>
                      <a:gd name="T82" fmla="*/ 12 w 417"/>
                      <a:gd name="T83" fmla="*/ 154 h 412"/>
                      <a:gd name="T84" fmla="*/ 20 w 417"/>
                      <a:gd name="T85" fmla="*/ 132 h 412"/>
                      <a:gd name="T86" fmla="*/ 33 w 417"/>
                      <a:gd name="T87" fmla="*/ 119 h 412"/>
                      <a:gd name="T88" fmla="*/ 33 w 417"/>
                      <a:gd name="T89" fmla="*/ 106 h 412"/>
                      <a:gd name="T90" fmla="*/ 40 w 417"/>
                      <a:gd name="T91" fmla="*/ 86 h 412"/>
                      <a:gd name="T92" fmla="*/ 25 w 417"/>
                      <a:gd name="T93" fmla="*/ 46 h 412"/>
                      <a:gd name="T94" fmla="*/ 53 w 417"/>
                      <a:gd name="T95" fmla="*/ 46 h 412"/>
                      <a:gd name="T96" fmla="*/ 86 w 417"/>
                      <a:gd name="T97" fmla="*/ 23 h 412"/>
                      <a:gd name="T98" fmla="*/ 126 w 417"/>
                      <a:gd name="T99" fmla="*/ 6 h 412"/>
                      <a:gd name="T100" fmla="*/ 151 w 417"/>
                      <a:gd name="T101" fmla="*/ 0 h 412"/>
                      <a:gd name="T102" fmla="*/ 155 w 417"/>
                      <a:gd name="T103" fmla="*/ 23 h 412"/>
                      <a:gd name="T104" fmla="*/ 214 w 417"/>
                      <a:gd name="T105" fmla="*/ 58 h 412"/>
                      <a:gd name="T106" fmla="*/ 261 w 417"/>
                      <a:gd name="T107" fmla="*/ 36 h 412"/>
                      <a:gd name="T108" fmla="*/ 288 w 417"/>
                      <a:gd name="T109" fmla="*/ 73 h 412"/>
                      <a:gd name="T110" fmla="*/ 298 w 417"/>
                      <a:gd name="T111" fmla="*/ 94 h 412"/>
                      <a:gd name="T112" fmla="*/ 316 w 417"/>
                      <a:gd name="T113" fmla="*/ 91 h 412"/>
                      <a:gd name="T114" fmla="*/ 331 w 417"/>
                      <a:gd name="T115" fmla="*/ 78 h 412"/>
                      <a:gd name="T116" fmla="*/ 342 w 417"/>
                      <a:gd name="T117" fmla="*/ 88 h 412"/>
                      <a:gd name="T118" fmla="*/ 331 w 417"/>
                      <a:gd name="T119" fmla="*/ 108 h 412"/>
                      <a:gd name="T120" fmla="*/ 351 w 417"/>
                      <a:gd name="T121" fmla="*/ 10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7" h="412">
                        <a:moveTo>
                          <a:pt x="351" y="103"/>
                        </a:moveTo>
                        <a:lnTo>
                          <a:pt x="364" y="118"/>
                        </a:lnTo>
                        <a:lnTo>
                          <a:pt x="359" y="134"/>
                        </a:lnTo>
                        <a:lnTo>
                          <a:pt x="361" y="144"/>
                        </a:lnTo>
                        <a:lnTo>
                          <a:pt x="369" y="144"/>
                        </a:lnTo>
                        <a:lnTo>
                          <a:pt x="374" y="149"/>
                        </a:lnTo>
                        <a:lnTo>
                          <a:pt x="372" y="159"/>
                        </a:lnTo>
                        <a:lnTo>
                          <a:pt x="379" y="164"/>
                        </a:lnTo>
                        <a:lnTo>
                          <a:pt x="386" y="172"/>
                        </a:lnTo>
                        <a:lnTo>
                          <a:pt x="394" y="181"/>
                        </a:lnTo>
                        <a:lnTo>
                          <a:pt x="387" y="202"/>
                        </a:lnTo>
                        <a:lnTo>
                          <a:pt x="387" y="211"/>
                        </a:lnTo>
                        <a:lnTo>
                          <a:pt x="387" y="222"/>
                        </a:lnTo>
                        <a:lnTo>
                          <a:pt x="396" y="229"/>
                        </a:lnTo>
                        <a:lnTo>
                          <a:pt x="402" y="234"/>
                        </a:lnTo>
                        <a:lnTo>
                          <a:pt x="402" y="242"/>
                        </a:lnTo>
                        <a:lnTo>
                          <a:pt x="396" y="245"/>
                        </a:lnTo>
                        <a:lnTo>
                          <a:pt x="392" y="249"/>
                        </a:lnTo>
                        <a:lnTo>
                          <a:pt x="391" y="255"/>
                        </a:lnTo>
                        <a:lnTo>
                          <a:pt x="394" y="259"/>
                        </a:lnTo>
                        <a:lnTo>
                          <a:pt x="397" y="259"/>
                        </a:lnTo>
                        <a:lnTo>
                          <a:pt x="401" y="267"/>
                        </a:lnTo>
                        <a:lnTo>
                          <a:pt x="404" y="275"/>
                        </a:lnTo>
                        <a:lnTo>
                          <a:pt x="407" y="287"/>
                        </a:lnTo>
                        <a:lnTo>
                          <a:pt x="409" y="294"/>
                        </a:lnTo>
                        <a:lnTo>
                          <a:pt x="407" y="299"/>
                        </a:lnTo>
                        <a:lnTo>
                          <a:pt x="412" y="304"/>
                        </a:lnTo>
                        <a:lnTo>
                          <a:pt x="417" y="309"/>
                        </a:lnTo>
                        <a:lnTo>
                          <a:pt x="417" y="314"/>
                        </a:lnTo>
                        <a:lnTo>
                          <a:pt x="411" y="310"/>
                        </a:lnTo>
                        <a:lnTo>
                          <a:pt x="406" y="314"/>
                        </a:lnTo>
                        <a:lnTo>
                          <a:pt x="397" y="312"/>
                        </a:lnTo>
                        <a:lnTo>
                          <a:pt x="396" y="309"/>
                        </a:lnTo>
                        <a:lnTo>
                          <a:pt x="394" y="304"/>
                        </a:lnTo>
                        <a:lnTo>
                          <a:pt x="386" y="300"/>
                        </a:lnTo>
                        <a:lnTo>
                          <a:pt x="381" y="300"/>
                        </a:lnTo>
                        <a:lnTo>
                          <a:pt x="376" y="302"/>
                        </a:lnTo>
                        <a:lnTo>
                          <a:pt x="371" y="295"/>
                        </a:lnTo>
                        <a:lnTo>
                          <a:pt x="364" y="295"/>
                        </a:lnTo>
                        <a:lnTo>
                          <a:pt x="357" y="300"/>
                        </a:lnTo>
                        <a:lnTo>
                          <a:pt x="351" y="295"/>
                        </a:lnTo>
                        <a:lnTo>
                          <a:pt x="342" y="294"/>
                        </a:lnTo>
                        <a:lnTo>
                          <a:pt x="337" y="287"/>
                        </a:lnTo>
                        <a:lnTo>
                          <a:pt x="329" y="285"/>
                        </a:lnTo>
                        <a:lnTo>
                          <a:pt x="322" y="295"/>
                        </a:lnTo>
                        <a:lnTo>
                          <a:pt x="316" y="292"/>
                        </a:lnTo>
                        <a:lnTo>
                          <a:pt x="309" y="299"/>
                        </a:lnTo>
                        <a:lnTo>
                          <a:pt x="301" y="302"/>
                        </a:lnTo>
                        <a:lnTo>
                          <a:pt x="293" y="305"/>
                        </a:lnTo>
                        <a:lnTo>
                          <a:pt x="288" y="300"/>
                        </a:lnTo>
                        <a:lnTo>
                          <a:pt x="284" y="302"/>
                        </a:lnTo>
                        <a:lnTo>
                          <a:pt x="278" y="312"/>
                        </a:lnTo>
                        <a:lnTo>
                          <a:pt x="266" y="324"/>
                        </a:lnTo>
                        <a:lnTo>
                          <a:pt x="271" y="330"/>
                        </a:lnTo>
                        <a:lnTo>
                          <a:pt x="268" y="335"/>
                        </a:lnTo>
                        <a:lnTo>
                          <a:pt x="261" y="330"/>
                        </a:lnTo>
                        <a:lnTo>
                          <a:pt x="259" y="335"/>
                        </a:lnTo>
                        <a:lnTo>
                          <a:pt x="264" y="340"/>
                        </a:lnTo>
                        <a:lnTo>
                          <a:pt x="271" y="342"/>
                        </a:lnTo>
                        <a:lnTo>
                          <a:pt x="268" y="347"/>
                        </a:lnTo>
                        <a:lnTo>
                          <a:pt x="258" y="353"/>
                        </a:lnTo>
                        <a:lnTo>
                          <a:pt x="259" y="368"/>
                        </a:lnTo>
                        <a:lnTo>
                          <a:pt x="259" y="377"/>
                        </a:lnTo>
                        <a:lnTo>
                          <a:pt x="264" y="378"/>
                        </a:lnTo>
                        <a:lnTo>
                          <a:pt x="259" y="385"/>
                        </a:lnTo>
                        <a:lnTo>
                          <a:pt x="264" y="393"/>
                        </a:lnTo>
                        <a:lnTo>
                          <a:pt x="268" y="398"/>
                        </a:lnTo>
                        <a:lnTo>
                          <a:pt x="264" y="403"/>
                        </a:lnTo>
                        <a:lnTo>
                          <a:pt x="258" y="403"/>
                        </a:lnTo>
                        <a:lnTo>
                          <a:pt x="246" y="403"/>
                        </a:lnTo>
                        <a:lnTo>
                          <a:pt x="236" y="410"/>
                        </a:lnTo>
                        <a:lnTo>
                          <a:pt x="228" y="408"/>
                        </a:lnTo>
                        <a:lnTo>
                          <a:pt x="223" y="412"/>
                        </a:lnTo>
                        <a:lnTo>
                          <a:pt x="219" y="408"/>
                        </a:lnTo>
                        <a:lnTo>
                          <a:pt x="211" y="405"/>
                        </a:lnTo>
                        <a:lnTo>
                          <a:pt x="201" y="405"/>
                        </a:lnTo>
                        <a:lnTo>
                          <a:pt x="191" y="398"/>
                        </a:lnTo>
                        <a:lnTo>
                          <a:pt x="189" y="393"/>
                        </a:lnTo>
                        <a:lnTo>
                          <a:pt x="181" y="392"/>
                        </a:lnTo>
                        <a:lnTo>
                          <a:pt x="186" y="387"/>
                        </a:lnTo>
                        <a:lnTo>
                          <a:pt x="186" y="378"/>
                        </a:lnTo>
                        <a:lnTo>
                          <a:pt x="186" y="372"/>
                        </a:lnTo>
                        <a:lnTo>
                          <a:pt x="181" y="367"/>
                        </a:lnTo>
                        <a:lnTo>
                          <a:pt x="178" y="363"/>
                        </a:lnTo>
                        <a:lnTo>
                          <a:pt x="171" y="358"/>
                        </a:lnTo>
                        <a:lnTo>
                          <a:pt x="166" y="352"/>
                        </a:lnTo>
                        <a:lnTo>
                          <a:pt x="161" y="348"/>
                        </a:lnTo>
                        <a:lnTo>
                          <a:pt x="158" y="344"/>
                        </a:lnTo>
                        <a:lnTo>
                          <a:pt x="151" y="339"/>
                        </a:lnTo>
                        <a:lnTo>
                          <a:pt x="145" y="334"/>
                        </a:lnTo>
                        <a:lnTo>
                          <a:pt x="130" y="330"/>
                        </a:lnTo>
                        <a:lnTo>
                          <a:pt x="121" y="324"/>
                        </a:lnTo>
                        <a:lnTo>
                          <a:pt x="118" y="320"/>
                        </a:lnTo>
                        <a:lnTo>
                          <a:pt x="118" y="315"/>
                        </a:lnTo>
                        <a:lnTo>
                          <a:pt x="123" y="310"/>
                        </a:lnTo>
                        <a:lnTo>
                          <a:pt x="123" y="304"/>
                        </a:lnTo>
                        <a:lnTo>
                          <a:pt x="120" y="300"/>
                        </a:lnTo>
                        <a:lnTo>
                          <a:pt x="121" y="297"/>
                        </a:lnTo>
                        <a:lnTo>
                          <a:pt x="123" y="292"/>
                        </a:lnTo>
                        <a:lnTo>
                          <a:pt x="118" y="287"/>
                        </a:lnTo>
                        <a:lnTo>
                          <a:pt x="106" y="280"/>
                        </a:lnTo>
                        <a:lnTo>
                          <a:pt x="100" y="282"/>
                        </a:lnTo>
                        <a:lnTo>
                          <a:pt x="98" y="279"/>
                        </a:lnTo>
                        <a:lnTo>
                          <a:pt x="98" y="270"/>
                        </a:lnTo>
                        <a:lnTo>
                          <a:pt x="95" y="265"/>
                        </a:lnTo>
                        <a:lnTo>
                          <a:pt x="91" y="262"/>
                        </a:lnTo>
                        <a:lnTo>
                          <a:pt x="86" y="262"/>
                        </a:lnTo>
                        <a:lnTo>
                          <a:pt x="81" y="264"/>
                        </a:lnTo>
                        <a:lnTo>
                          <a:pt x="88" y="269"/>
                        </a:lnTo>
                        <a:lnTo>
                          <a:pt x="83" y="275"/>
                        </a:lnTo>
                        <a:lnTo>
                          <a:pt x="78" y="279"/>
                        </a:lnTo>
                        <a:lnTo>
                          <a:pt x="73" y="280"/>
                        </a:lnTo>
                        <a:lnTo>
                          <a:pt x="63" y="259"/>
                        </a:lnTo>
                        <a:lnTo>
                          <a:pt x="57" y="244"/>
                        </a:lnTo>
                        <a:lnTo>
                          <a:pt x="50" y="229"/>
                        </a:lnTo>
                        <a:lnTo>
                          <a:pt x="45" y="221"/>
                        </a:lnTo>
                        <a:lnTo>
                          <a:pt x="45" y="206"/>
                        </a:lnTo>
                        <a:lnTo>
                          <a:pt x="43" y="192"/>
                        </a:lnTo>
                        <a:lnTo>
                          <a:pt x="40" y="186"/>
                        </a:lnTo>
                        <a:lnTo>
                          <a:pt x="28" y="177"/>
                        </a:lnTo>
                        <a:lnTo>
                          <a:pt x="20" y="169"/>
                        </a:lnTo>
                        <a:lnTo>
                          <a:pt x="13" y="171"/>
                        </a:lnTo>
                        <a:lnTo>
                          <a:pt x="10" y="166"/>
                        </a:lnTo>
                        <a:lnTo>
                          <a:pt x="0" y="164"/>
                        </a:lnTo>
                        <a:lnTo>
                          <a:pt x="3" y="156"/>
                        </a:lnTo>
                        <a:lnTo>
                          <a:pt x="12" y="154"/>
                        </a:lnTo>
                        <a:lnTo>
                          <a:pt x="10" y="146"/>
                        </a:lnTo>
                        <a:lnTo>
                          <a:pt x="10" y="137"/>
                        </a:lnTo>
                        <a:lnTo>
                          <a:pt x="20" y="132"/>
                        </a:lnTo>
                        <a:lnTo>
                          <a:pt x="28" y="128"/>
                        </a:lnTo>
                        <a:lnTo>
                          <a:pt x="28" y="121"/>
                        </a:lnTo>
                        <a:lnTo>
                          <a:pt x="33" y="119"/>
                        </a:lnTo>
                        <a:lnTo>
                          <a:pt x="42" y="118"/>
                        </a:lnTo>
                        <a:lnTo>
                          <a:pt x="40" y="114"/>
                        </a:lnTo>
                        <a:lnTo>
                          <a:pt x="33" y="106"/>
                        </a:lnTo>
                        <a:lnTo>
                          <a:pt x="28" y="101"/>
                        </a:lnTo>
                        <a:lnTo>
                          <a:pt x="33" y="96"/>
                        </a:lnTo>
                        <a:lnTo>
                          <a:pt x="40" y="86"/>
                        </a:lnTo>
                        <a:lnTo>
                          <a:pt x="40" y="59"/>
                        </a:lnTo>
                        <a:lnTo>
                          <a:pt x="28" y="56"/>
                        </a:lnTo>
                        <a:lnTo>
                          <a:pt x="25" y="46"/>
                        </a:lnTo>
                        <a:lnTo>
                          <a:pt x="33" y="39"/>
                        </a:lnTo>
                        <a:lnTo>
                          <a:pt x="47" y="46"/>
                        </a:lnTo>
                        <a:lnTo>
                          <a:pt x="53" y="46"/>
                        </a:lnTo>
                        <a:lnTo>
                          <a:pt x="65" y="29"/>
                        </a:lnTo>
                        <a:lnTo>
                          <a:pt x="78" y="29"/>
                        </a:lnTo>
                        <a:lnTo>
                          <a:pt x="86" y="23"/>
                        </a:lnTo>
                        <a:lnTo>
                          <a:pt x="90" y="15"/>
                        </a:lnTo>
                        <a:lnTo>
                          <a:pt x="105" y="5"/>
                        </a:lnTo>
                        <a:lnTo>
                          <a:pt x="126" y="6"/>
                        </a:lnTo>
                        <a:lnTo>
                          <a:pt x="138" y="10"/>
                        </a:lnTo>
                        <a:lnTo>
                          <a:pt x="145" y="3"/>
                        </a:lnTo>
                        <a:lnTo>
                          <a:pt x="151" y="0"/>
                        </a:lnTo>
                        <a:lnTo>
                          <a:pt x="153" y="8"/>
                        </a:lnTo>
                        <a:lnTo>
                          <a:pt x="153" y="16"/>
                        </a:lnTo>
                        <a:lnTo>
                          <a:pt x="155" y="23"/>
                        </a:lnTo>
                        <a:lnTo>
                          <a:pt x="191" y="48"/>
                        </a:lnTo>
                        <a:lnTo>
                          <a:pt x="198" y="49"/>
                        </a:lnTo>
                        <a:lnTo>
                          <a:pt x="214" y="58"/>
                        </a:lnTo>
                        <a:lnTo>
                          <a:pt x="223" y="51"/>
                        </a:lnTo>
                        <a:lnTo>
                          <a:pt x="231" y="56"/>
                        </a:lnTo>
                        <a:lnTo>
                          <a:pt x="261" y="36"/>
                        </a:lnTo>
                        <a:lnTo>
                          <a:pt x="271" y="49"/>
                        </a:lnTo>
                        <a:lnTo>
                          <a:pt x="274" y="59"/>
                        </a:lnTo>
                        <a:lnTo>
                          <a:pt x="288" y="73"/>
                        </a:lnTo>
                        <a:lnTo>
                          <a:pt x="283" y="81"/>
                        </a:lnTo>
                        <a:lnTo>
                          <a:pt x="291" y="88"/>
                        </a:lnTo>
                        <a:lnTo>
                          <a:pt x="298" y="94"/>
                        </a:lnTo>
                        <a:lnTo>
                          <a:pt x="307" y="89"/>
                        </a:lnTo>
                        <a:lnTo>
                          <a:pt x="307" y="83"/>
                        </a:lnTo>
                        <a:lnTo>
                          <a:pt x="316" y="91"/>
                        </a:lnTo>
                        <a:lnTo>
                          <a:pt x="321" y="83"/>
                        </a:lnTo>
                        <a:lnTo>
                          <a:pt x="327" y="86"/>
                        </a:lnTo>
                        <a:lnTo>
                          <a:pt x="331" y="78"/>
                        </a:lnTo>
                        <a:lnTo>
                          <a:pt x="339" y="68"/>
                        </a:lnTo>
                        <a:lnTo>
                          <a:pt x="344" y="73"/>
                        </a:lnTo>
                        <a:lnTo>
                          <a:pt x="342" y="88"/>
                        </a:lnTo>
                        <a:lnTo>
                          <a:pt x="339" y="96"/>
                        </a:lnTo>
                        <a:lnTo>
                          <a:pt x="334" y="103"/>
                        </a:lnTo>
                        <a:lnTo>
                          <a:pt x="331" y="108"/>
                        </a:lnTo>
                        <a:lnTo>
                          <a:pt x="331" y="114"/>
                        </a:lnTo>
                        <a:lnTo>
                          <a:pt x="342" y="111"/>
                        </a:lnTo>
                        <a:lnTo>
                          <a:pt x="351" y="103"/>
                        </a:lnTo>
                        <a:lnTo>
                          <a:pt x="351" y="103"/>
                        </a:lnTo>
                        <a:lnTo>
                          <a:pt x="351" y="103"/>
                        </a:lnTo>
                        <a:close/>
                      </a:path>
                    </a:pathLst>
                  </a:custGeom>
                  <a:solidFill>
                    <a:srgbClr val="B79F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a:latin typeface="Proxima Nova A" panose="02000506030000020004" pitchFamily="2" charset="0"/>
                    </a:endParaRPr>
                  </a:p>
                </p:txBody>
              </p:sp>
              <p:sp>
                <p:nvSpPr>
                  <p:cNvPr id="147" name="Freeform 1058">
                    <a:extLst>
                      <a:ext uri="{FF2B5EF4-FFF2-40B4-BE49-F238E27FC236}">
                        <a16:creationId xmlns:a16="http://schemas.microsoft.com/office/drawing/2014/main" id="{C5956A00-1A77-4AF5-BB25-E08419862E35}"/>
                      </a:ext>
                    </a:extLst>
                  </p:cNvPr>
                  <p:cNvSpPr>
                    <a:spLocks/>
                  </p:cNvSpPr>
                  <p:nvPr/>
                </p:nvSpPr>
                <p:spPr bwMode="auto">
                  <a:xfrm>
                    <a:off x="3243625" y="1629128"/>
                    <a:ext cx="523029" cy="593410"/>
                  </a:xfrm>
                  <a:custGeom>
                    <a:avLst/>
                    <a:gdLst>
                      <a:gd name="T0" fmla="*/ 258 w 379"/>
                      <a:gd name="T1" fmla="*/ 20 h 430"/>
                      <a:gd name="T2" fmla="*/ 231 w 379"/>
                      <a:gd name="T3" fmla="*/ 36 h 430"/>
                      <a:gd name="T4" fmla="*/ 226 w 379"/>
                      <a:gd name="T5" fmla="*/ 55 h 430"/>
                      <a:gd name="T6" fmla="*/ 235 w 379"/>
                      <a:gd name="T7" fmla="*/ 71 h 430"/>
                      <a:gd name="T8" fmla="*/ 261 w 379"/>
                      <a:gd name="T9" fmla="*/ 86 h 430"/>
                      <a:gd name="T10" fmla="*/ 276 w 379"/>
                      <a:gd name="T11" fmla="*/ 138 h 430"/>
                      <a:gd name="T12" fmla="*/ 306 w 379"/>
                      <a:gd name="T13" fmla="*/ 176 h 430"/>
                      <a:gd name="T14" fmla="*/ 308 w 379"/>
                      <a:gd name="T15" fmla="*/ 161 h 430"/>
                      <a:gd name="T16" fmla="*/ 319 w 379"/>
                      <a:gd name="T17" fmla="*/ 179 h 430"/>
                      <a:gd name="T18" fmla="*/ 334 w 379"/>
                      <a:gd name="T19" fmla="*/ 186 h 430"/>
                      <a:gd name="T20" fmla="*/ 343 w 379"/>
                      <a:gd name="T21" fmla="*/ 203 h 430"/>
                      <a:gd name="T22" fmla="*/ 339 w 379"/>
                      <a:gd name="T23" fmla="*/ 218 h 430"/>
                      <a:gd name="T24" fmla="*/ 368 w 379"/>
                      <a:gd name="T25" fmla="*/ 234 h 430"/>
                      <a:gd name="T26" fmla="*/ 373 w 379"/>
                      <a:gd name="T27" fmla="*/ 252 h 430"/>
                      <a:gd name="T28" fmla="*/ 373 w 379"/>
                      <a:gd name="T29" fmla="*/ 272 h 430"/>
                      <a:gd name="T30" fmla="*/ 376 w 379"/>
                      <a:gd name="T31" fmla="*/ 309 h 430"/>
                      <a:gd name="T32" fmla="*/ 368 w 379"/>
                      <a:gd name="T33" fmla="*/ 309 h 430"/>
                      <a:gd name="T34" fmla="*/ 353 w 379"/>
                      <a:gd name="T35" fmla="*/ 319 h 430"/>
                      <a:gd name="T36" fmla="*/ 333 w 379"/>
                      <a:gd name="T37" fmla="*/ 337 h 430"/>
                      <a:gd name="T38" fmla="*/ 338 w 379"/>
                      <a:gd name="T39" fmla="*/ 347 h 430"/>
                      <a:gd name="T40" fmla="*/ 318 w 379"/>
                      <a:gd name="T41" fmla="*/ 352 h 430"/>
                      <a:gd name="T42" fmla="*/ 291 w 379"/>
                      <a:gd name="T43" fmla="*/ 347 h 430"/>
                      <a:gd name="T44" fmla="*/ 290 w 379"/>
                      <a:gd name="T45" fmla="*/ 355 h 430"/>
                      <a:gd name="T46" fmla="*/ 281 w 379"/>
                      <a:gd name="T47" fmla="*/ 375 h 430"/>
                      <a:gd name="T48" fmla="*/ 286 w 379"/>
                      <a:gd name="T49" fmla="*/ 390 h 430"/>
                      <a:gd name="T50" fmla="*/ 268 w 379"/>
                      <a:gd name="T51" fmla="*/ 402 h 430"/>
                      <a:gd name="T52" fmla="*/ 248 w 379"/>
                      <a:gd name="T53" fmla="*/ 399 h 430"/>
                      <a:gd name="T54" fmla="*/ 213 w 379"/>
                      <a:gd name="T55" fmla="*/ 397 h 430"/>
                      <a:gd name="T56" fmla="*/ 196 w 379"/>
                      <a:gd name="T57" fmla="*/ 394 h 430"/>
                      <a:gd name="T58" fmla="*/ 181 w 379"/>
                      <a:gd name="T59" fmla="*/ 410 h 430"/>
                      <a:gd name="T60" fmla="*/ 170 w 379"/>
                      <a:gd name="T61" fmla="*/ 430 h 430"/>
                      <a:gd name="T62" fmla="*/ 158 w 379"/>
                      <a:gd name="T63" fmla="*/ 415 h 430"/>
                      <a:gd name="T64" fmla="*/ 163 w 379"/>
                      <a:gd name="T65" fmla="*/ 395 h 430"/>
                      <a:gd name="T66" fmla="*/ 155 w 379"/>
                      <a:gd name="T67" fmla="*/ 390 h 430"/>
                      <a:gd name="T68" fmla="*/ 147 w 379"/>
                      <a:gd name="T69" fmla="*/ 389 h 430"/>
                      <a:gd name="T70" fmla="*/ 143 w 379"/>
                      <a:gd name="T71" fmla="*/ 379 h 430"/>
                      <a:gd name="T72" fmla="*/ 115 w 379"/>
                      <a:gd name="T73" fmla="*/ 367 h 430"/>
                      <a:gd name="T74" fmla="*/ 73 w 379"/>
                      <a:gd name="T75" fmla="*/ 367 h 430"/>
                      <a:gd name="T76" fmla="*/ 5 w 379"/>
                      <a:gd name="T77" fmla="*/ 360 h 430"/>
                      <a:gd name="T78" fmla="*/ 10 w 379"/>
                      <a:gd name="T79" fmla="*/ 332 h 430"/>
                      <a:gd name="T80" fmla="*/ 12 w 379"/>
                      <a:gd name="T81" fmla="*/ 297 h 430"/>
                      <a:gd name="T82" fmla="*/ 32 w 379"/>
                      <a:gd name="T83" fmla="*/ 267 h 430"/>
                      <a:gd name="T84" fmla="*/ 70 w 379"/>
                      <a:gd name="T85" fmla="*/ 221 h 430"/>
                      <a:gd name="T86" fmla="*/ 110 w 379"/>
                      <a:gd name="T87" fmla="*/ 203 h 430"/>
                      <a:gd name="T88" fmla="*/ 87 w 379"/>
                      <a:gd name="T89" fmla="*/ 194 h 430"/>
                      <a:gd name="T90" fmla="*/ 105 w 379"/>
                      <a:gd name="T91" fmla="*/ 151 h 430"/>
                      <a:gd name="T92" fmla="*/ 95 w 379"/>
                      <a:gd name="T93" fmla="*/ 101 h 430"/>
                      <a:gd name="T94" fmla="*/ 133 w 379"/>
                      <a:gd name="T95" fmla="*/ 68 h 430"/>
                      <a:gd name="T96" fmla="*/ 188 w 379"/>
                      <a:gd name="T97" fmla="*/ 55 h 430"/>
                      <a:gd name="T98" fmla="*/ 191 w 379"/>
                      <a:gd name="T99" fmla="*/ 23 h 430"/>
                      <a:gd name="T100" fmla="*/ 231 w 379"/>
                      <a:gd name="T101" fmla="*/ 15 h 430"/>
                      <a:gd name="T102" fmla="*/ 258 w 379"/>
                      <a:gd name="T103" fmla="*/ 10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79" h="430">
                        <a:moveTo>
                          <a:pt x="258" y="10"/>
                        </a:moveTo>
                        <a:lnTo>
                          <a:pt x="266" y="20"/>
                        </a:lnTo>
                        <a:lnTo>
                          <a:pt x="258" y="20"/>
                        </a:lnTo>
                        <a:lnTo>
                          <a:pt x="250" y="22"/>
                        </a:lnTo>
                        <a:lnTo>
                          <a:pt x="251" y="28"/>
                        </a:lnTo>
                        <a:lnTo>
                          <a:pt x="231" y="36"/>
                        </a:lnTo>
                        <a:lnTo>
                          <a:pt x="231" y="45"/>
                        </a:lnTo>
                        <a:lnTo>
                          <a:pt x="235" y="56"/>
                        </a:lnTo>
                        <a:lnTo>
                          <a:pt x="226" y="55"/>
                        </a:lnTo>
                        <a:lnTo>
                          <a:pt x="223" y="65"/>
                        </a:lnTo>
                        <a:lnTo>
                          <a:pt x="233" y="66"/>
                        </a:lnTo>
                        <a:lnTo>
                          <a:pt x="235" y="71"/>
                        </a:lnTo>
                        <a:lnTo>
                          <a:pt x="243" y="70"/>
                        </a:lnTo>
                        <a:lnTo>
                          <a:pt x="253" y="80"/>
                        </a:lnTo>
                        <a:lnTo>
                          <a:pt x="261" y="86"/>
                        </a:lnTo>
                        <a:lnTo>
                          <a:pt x="268" y="106"/>
                        </a:lnTo>
                        <a:lnTo>
                          <a:pt x="268" y="123"/>
                        </a:lnTo>
                        <a:lnTo>
                          <a:pt x="276" y="138"/>
                        </a:lnTo>
                        <a:lnTo>
                          <a:pt x="293" y="179"/>
                        </a:lnTo>
                        <a:lnTo>
                          <a:pt x="296" y="183"/>
                        </a:lnTo>
                        <a:lnTo>
                          <a:pt x="306" y="176"/>
                        </a:lnTo>
                        <a:lnTo>
                          <a:pt x="309" y="171"/>
                        </a:lnTo>
                        <a:lnTo>
                          <a:pt x="304" y="166"/>
                        </a:lnTo>
                        <a:lnTo>
                          <a:pt x="308" y="161"/>
                        </a:lnTo>
                        <a:lnTo>
                          <a:pt x="314" y="163"/>
                        </a:lnTo>
                        <a:lnTo>
                          <a:pt x="321" y="171"/>
                        </a:lnTo>
                        <a:lnTo>
                          <a:pt x="319" y="179"/>
                        </a:lnTo>
                        <a:lnTo>
                          <a:pt x="323" y="184"/>
                        </a:lnTo>
                        <a:lnTo>
                          <a:pt x="329" y="181"/>
                        </a:lnTo>
                        <a:lnTo>
                          <a:pt x="334" y="186"/>
                        </a:lnTo>
                        <a:lnTo>
                          <a:pt x="339" y="186"/>
                        </a:lnTo>
                        <a:lnTo>
                          <a:pt x="346" y="193"/>
                        </a:lnTo>
                        <a:lnTo>
                          <a:pt x="343" y="203"/>
                        </a:lnTo>
                        <a:lnTo>
                          <a:pt x="346" y="208"/>
                        </a:lnTo>
                        <a:lnTo>
                          <a:pt x="346" y="213"/>
                        </a:lnTo>
                        <a:lnTo>
                          <a:pt x="339" y="218"/>
                        </a:lnTo>
                        <a:lnTo>
                          <a:pt x="341" y="224"/>
                        </a:lnTo>
                        <a:lnTo>
                          <a:pt x="353" y="231"/>
                        </a:lnTo>
                        <a:lnTo>
                          <a:pt x="368" y="234"/>
                        </a:lnTo>
                        <a:lnTo>
                          <a:pt x="361" y="243"/>
                        </a:lnTo>
                        <a:lnTo>
                          <a:pt x="366" y="249"/>
                        </a:lnTo>
                        <a:lnTo>
                          <a:pt x="373" y="252"/>
                        </a:lnTo>
                        <a:lnTo>
                          <a:pt x="369" y="264"/>
                        </a:lnTo>
                        <a:lnTo>
                          <a:pt x="364" y="276"/>
                        </a:lnTo>
                        <a:lnTo>
                          <a:pt x="373" y="272"/>
                        </a:lnTo>
                        <a:lnTo>
                          <a:pt x="379" y="284"/>
                        </a:lnTo>
                        <a:lnTo>
                          <a:pt x="374" y="294"/>
                        </a:lnTo>
                        <a:lnTo>
                          <a:pt x="376" y="309"/>
                        </a:lnTo>
                        <a:lnTo>
                          <a:pt x="376" y="321"/>
                        </a:lnTo>
                        <a:lnTo>
                          <a:pt x="369" y="319"/>
                        </a:lnTo>
                        <a:lnTo>
                          <a:pt x="368" y="309"/>
                        </a:lnTo>
                        <a:lnTo>
                          <a:pt x="358" y="311"/>
                        </a:lnTo>
                        <a:lnTo>
                          <a:pt x="349" y="311"/>
                        </a:lnTo>
                        <a:lnTo>
                          <a:pt x="353" y="319"/>
                        </a:lnTo>
                        <a:lnTo>
                          <a:pt x="341" y="327"/>
                        </a:lnTo>
                        <a:lnTo>
                          <a:pt x="333" y="331"/>
                        </a:lnTo>
                        <a:lnTo>
                          <a:pt x="333" y="337"/>
                        </a:lnTo>
                        <a:lnTo>
                          <a:pt x="344" y="336"/>
                        </a:lnTo>
                        <a:lnTo>
                          <a:pt x="348" y="344"/>
                        </a:lnTo>
                        <a:lnTo>
                          <a:pt x="338" y="347"/>
                        </a:lnTo>
                        <a:lnTo>
                          <a:pt x="336" y="354"/>
                        </a:lnTo>
                        <a:lnTo>
                          <a:pt x="328" y="357"/>
                        </a:lnTo>
                        <a:lnTo>
                          <a:pt x="318" y="352"/>
                        </a:lnTo>
                        <a:lnTo>
                          <a:pt x="306" y="351"/>
                        </a:lnTo>
                        <a:lnTo>
                          <a:pt x="301" y="352"/>
                        </a:lnTo>
                        <a:lnTo>
                          <a:pt x="291" y="347"/>
                        </a:lnTo>
                        <a:lnTo>
                          <a:pt x="288" y="344"/>
                        </a:lnTo>
                        <a:lnTo>
                          <a:pt x="283" y="346"/>
                        </a:lnTo>
                        <a:lnTo>
                          <a:pt x="290" y="355"/>
                        </a:lnTo>
                        <a:lnTo>
                          <a:pt x="293" y="357"/>
                        </a:lnTo>
                        <a:lnTo>
                          <a:pt x="290" y="365"/>
                        </a:lnTo>
                        <a:lnTo>
                          <a:pt x="281" y="375"/>
                        </a:lnTo>
                        <a:lnTo>
                          <a:pt x="286" y="380"/>
                        </a:lnTo>
                        <a:lnTo>
                          <a:pt x="291" y="384"/>
                        </a:lnTo>
                        <a:lnTo>
                          <a:pt x="286" y="390"/>
                        </a:lnTo>
                        <a:lnTo>
                          <a:pt x="281" y="392"/>
                        </a:lnTo>
                        <a:lnTo>
                          <a:pt x="278" y="389"/>
                        </a:lnTo>
                        <a:lnTo>
                          <a:pt x="268" y="402"/>
                        </a:lnTo>
                        <a:lnTo>
                          <a:pt x="260" y="405"/>
                        </a:lnTo>
                        <a:lnTo>
                          <a:pt x="251" y="405"/>
                        </a:lnTo>
                        <a:lnTo>
                          <a:pt x="248" y="399"/>
                        </a:lnTo>
                        <a:lnTo>
                          <a:pt x="236" y="390"/>
                        </a:lnTo>
                        <a:lnTo>
                          <a:pt x="226" y="395"/>
                        </a:lnTo>
                        <a:lnTo>
                          <a:pt x="213" y="397"/>
                        </a:lnTo>
                        <a:lnTo>
                          <a:pt x="211" y="404"/>
                        </a:lnTo>
                        <a:lnTo>
                          <a:pt x="203" y="399"/>
                        </a:lnTo>
                        <a:lnTo>
                          <a:pt x="196" y="394"/>
                        </a:lnTo>
                        <a:lnTo>
                          <a:pt x="190" y="397"/>
                        </a:lnTo>
                        <a:lnTo>
                          <a:pt x="181" y="405"/>
                        </a:lnTo>
                        <a:lnTo>
                          <a:pt x="181" y="410"/>
                        </a:lnTo>
                        <a:lnTo>
                          <a:pt x="173" y="415"/>
                        </a:lnTo>
                        <a:lnTo>
                          <a:pt x="175" y="425"/>
                        </a:lnTo>
                        <a:lnTo>
                          <a:pt x="170" y="430"/>
                        </a:lnTo>
                        <a:lnTo>
                          <a:pt x="163" y="427"/>
                        </a:lnTo>
                        <a:lnTo>
                          <a:pt x="163" y="420"/>
                        </a:lnTo>
                        <a:lnTo>
                          <a:pt x="158" y="415"/>
                        </a:lnTo>
                        <a:lnTo>
                          <a:pt x="162" y="405"/>
                        </a:lnTo>
                        <a:lnTo>
                          <a:pt x="168" y="400"/>
                        </a:lnTo>
                        <a:lnTo>
                          <a:pt x="163" y="395"/>
                        </a:lnTo>
                        <a:lnTo>
                          <a:pt x="163" y="389"/>
                        </a:lnTo>
                        <a:lnTo>
                          <a:pt x="158" y="385"/>
                        </a:lnTo>
                        <a:lnTo>
                          <a:pt x="155" y="390"/>
                        </a:lnTo>
                        <a:lnTo>
                          <a:pt x="157" y="395"/>
                        </a:lnTo>
                        <a:lnTo>
                          <a:pt x="150" y="395"/>
                        </a:lnTo>
                        <a:lnTo>
                          <a:pt x="147" y="389"/>
                        </a:lnTo>
                        <a:lnTo>
                          <a:pt x="150" y="382"/>
                        </a:lnTo>
                        <a:lnTo>
                          <a:pt x="152" y="377"/>
                        </a:lnTo>
                        <a:lnTo>
                          <a:pt x="143" y="379"/>
                        </a:lnTo>
                        <a:lnTo>
                          <a:pt x="133" y="379"/>
                        </a:lnTo>
                        <a:lnTo>
                          <a:pt x="125" y="370"/>
                        </a:lnTo>
                        <a:lnTo>
                          <a:pt x="115" y="367"/>
                        </a:lnTo>
                        <a:lnTo>
                          <a:pt x="100" y="367"/>
                        </a:lnTo>
                        <a:lnTo>
                          <a:pt x="80" y="372"/>
                        </a:lnTo>
                        <a:lnTo>
                          <a:pt x="73" y="367"/>
                        </a:lnTo>
                        <a:lnTo>
                          <a:pt x="62" y="367"/>
                        </a:lnTo>
                        <a:lnTo>
                          <a:pt x="35" y="365"/>
                        </a:lnTo>
                        <a:lnTo>
                          <a:pt x="5" y="360"/>
                        </a:lnTo>
                        <a:lnTo>
                          <a:pt x="0" y="352"/>
                        </a:lnTo>
                        <a:lnTo>
                          <a:pt x="9" y="344"/>
                        </a:lnTo>
                        <a:lnTo>
                          <a:pt x="10" y="332"/>
                        </a:lnTo>
                        <a:lnTo>
                          <a:pt x="17" y="324"/>
                        </a:lnTo>
                        <a:lnTo>
                          <a:pt x="5" y="304"/>
                        </a:lnTo>
                        <a:lnTo>
                          <a:pt x="12" y="297"/>
                        </a:lnTo>
                        <a:lnTo>
                          <a:pt x="10" y="286"/>
                        </a:lnTo>
                        <a:lnTo>
                          <a:pt x="29" y="279"/>
                        </a:lnTo>
                        <a:lnTo>
                          <a:pt x="32" y="267"/>
                        </a:lnTo>
                        <a:lnTo>
                          <a:pt x="40" y="262"/>
                        </a:lnTo>
                        <a:lnTo>
                          <a:pt x="64" y="236"/>
                        </a:lnTo>
                        <a:lnTo>
                          <a:pt x="70" y="221"/>
                        </a:lnTo>
                        <a:lnTo>
                          <a:pt x="88" y="213"/>
                        </a:lnTo>
                        <a:lnTo>
                          <a:pt x="100" y="208"/>
                        </a:lnTo>
                        <a:lnTo>
                          <a:pt x="110" y="203"/>
                        </a:lnTo>
                        <a:lnTo>
                          <a:pt x="103" y="194"/>
                        </a:lnTo>
                        <a:lnTo>
                          <a:pt x="92" y="203"/>
                        </a:lnTo>
                        <a:lnTo>
                          <a:pt x="87" y="194"/>
                        </a:lnTo>
                        <a:lnTo>
                          <a:pt x="90" y="173"/>
                        </a:lnTo>
                        <a:lnTo>
                          <a:pt x="90" y="163"/>
                        </a:lnTo>
                        <a:lnTo>
                          <a:pt x="105" y="151"/>
                        </a:lnTo>
                        <a:lnTo>
                          <a:pt x="97" y="130"/>
                        </a:lnTo>
                        <a:lnTo>
                          <a:pt x="88" y="115"/>
                        </a:lnTo>
                        <a:lnTo>
                          <a:pt x="95" y="101"/>
                        </a:lnTo>
                        <a:lnTo>
                          <a:pt x="112" y="81"/>
                        </a:lnTo>
                        <a:lnTo>
                          <a:pt x="125" y="78"/>
                        </a:lnTo>
                        <a:lnTo>
                          <a:pt x="133" y="68"/>
                        </a:lnTo>
                        <a:lnTo>
                          <a:pt x="160" y="63"/>
                        </a:lnTo>
                        <a:lnTo>
                          <a:pt x="175" y="61"/>
                        </a:lnTo>
                        <a:lnTo>
                          <a:pt x="188" y="55"/>
                        </a:lnTo>
                        <a:lnTo>
                          <a:pt x="196" y="38"/>
                        </a:lnTo>
                        <a:lnTo>
                          <a:pt x="196" y="31"/>
                        </a:lnTo>
                        <a:lnTo>
                          <a:pt x="191" y="23"/>
                        </a:lnTo>
                        <a:lnTo>
                          <a:pt x="216" y="33"/>
                        </a:lnTo>
                        <a:lnTo>
                          <a:pt x="216" y="15"/>
                        </a:lnTo>
                        <a:lnTo>
                          <a:pt x="231" y="15"/>
                        </a:lnTo>
                        <a:lnTo>
                          <a:pt x="250" y="0"/>
                        </a:lnTo>
                        <a:lnTo>
                          <a:pt x="258" y="10"/>
                        </a:lnTo>
                        <a:lnTo>
                          <a:pt x="258" y="10"/>
                        </a:lnTo>
                        <a:lnTo>
                          <a:pt x="258" y="10"/>
                        </a:lnTo>
                        <a:close/>
                      </a:path>
                    </a:pathLst>
                  </a:custGeom>
                  <a:solidFill>
                    <a:srgbClr val="77B8E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dirty="0">
                      <a:latin typeface="Proxima Nova A" panose="02000506030000020004" pitchFamily="2" charset="0"/>
                    </a:endParaRPr>
                  </a:p>
                </p:txBody>
              </p:sp>
              <p:sp>
                <p:nvSpPr>
                  <p:cNvPr id="148" name="Freeform 1060">
                    <a:extLst>
                      <a:ext uri="{FF2B5EF4-FFF2-40B4-BE49-F238E27FC236}">
                        <a16:creationId xmlns:a16="http://schemas.microsoft.com/office/drawing/2014/main" id="{68FC74DB-AFA0-46D1-9A3E-9F180C12DF82}"/>
                      </a:ext>
                    </a:extLst>
                  </p:cNvPr>
                  <p:cNvSpPr>
                    <a:spLocks/>
                  </p:cNvSpPr>
                  <p:nvPr/>
                </p:nvSpPr>
                <p:spPr bwMode="auto">
                  <a:xfrm>
                    <a:off x="3336087" y="1952053"/>
                    <a:ext cx="543729" cy="655511"/>
                  </a:xfrm>
                  <a:custGeom>
                    <a:avLst/>
                    <a:gdLst>
                      <a:gd name="T0" fmla="*/ 327 w 394"/>
                      <a:gd name="T1" fmla="*/ 27 h 475"/>
                      <a:gd name="T2" fmla="*/ 345 w 394"/>
                      <a:gd name="T3" fmla="*/ 62 h 475"/>
                      <a:gd name="T4" fmla="*/ 379 w 394"/>
                      <a:gd name="T5" fmla="*/ 78 h 475"/>
                      <a:gd name="T6" fmla="*/ 372 w 394"/>
                      <a:gd name="T7" fmla="*/ 117 h 475"/>
                      <a:gd name="T8" fmla="*/ 344 w 394"/>
                      <a:gd name="T9" fmla="*/ 146 h 475"/>
                      <a:gd name="T10" fmla="*/ 326 w 394"/>
                      <a:gd name="T11" fmla="*/ 195 h 475"/>
                      <a:gd name="T12" fmla="*/ 336 w 394"/>
                      <a:gd name="T13" fmla="*/ 249 h 475"/>
                      <a:gd name="T14" fmla="*/ 340 w 394"/>
                      <a:gd name="T15" fmla="*/ 309 h 475"/>
                      <a:gd name="T16" fmla="*/ 312 w 394"/>
                      <a:gd name="T17" fmla="*/ 304 h 475"/>
                      <a:gd name="T18" fmla="*/ 306 w 394"/>
                      <a:gd name="T19" fmla="*/ 331 h 475"/>
                      <a:gd name="T20" fmla="*/ 312 w 394"/>
                      <a:gd name="T21" fmla="*/ 349 h 475"/>
                      <a:gd name="T22" fmla="*/ 345 w 394"/>
                      <a:gd name="T23" fmla="*/ 352 h 475"/>
                      <a:gd name="T24" fmla="*/ 364 w 394"/>
                      <a:gd name="T25" fmla="*/ 364 h 475"/>
                      <a:gd name="T26" fmla="*/ 380 w 394"/>
                      <a:gd name="T27" fmla="*/ 397 h 475"/>
                      <a:gd name="T28" fmla="*/ 374 w 394"/>
                      <a:gd name="T29" fmla="*/ 426 h 475"/>
                      <a:gd name="T30" fmla="*/ 349 w 394"/>
                      <a:gd name="T31" fmla="*/ 452 h 475"/>
                      <a:gd name="T32" fmla="*/ 321 w 394"/>
                      <a:gd name="T33" fmla="*/ 452 h 475"/>
                      <a:gd name="T34" fmla="*/ 301 w 394"/>
                      <a:gd name="T35" fmla="*/ 475 h 475"/>
                      <a:gd name="T36" fmla="*/ 306 w 394"/>
                      <a:gd name="T37" fmla="*/ 441 h 475"/>
                      <a:gd name="T38" fmla="*/ 291 w 394"/>
                      <a:gd name="T39" fmla="*/ 394 h 475"/>
                      <a:gd name="T40" fmla="*/ 267 w 394"/>
                      <a:gd name="T41" fmla="*/ 426 h 475"/>
                      <a:gd name="T42" fmla="*/ 242 w 394"/>
                      <a:gd name="T43" fmla="*/ 414 h 475"/>
                      <a:gd name="T44" fmla="*/ 226 w 394"/>
                      <a:gd name="T45" fmla="*/ 407 h 475"/>
                      <a:gd name="T46" fmla="*/ 204 w 394"/>
                      <a:gd name="T47" fmla="*/ 416 h 475"/>
                      <a:gd name="T48" fmla="*/ 209 w 394"/>
                      <a:gd name="T49" fmla="*/ 450 h 475"/>
                      <a:gd name="T50" fmla="*/ 178 w 394"/>
                      <a:gd name="T51" fmla="*/ 436 h 475"/>
                      <a:gd name="T52" fmla="*/ 189 w 394"/>
                      <a:gd name="T53" fmla="*/ 399 h 475"/>
                      <a:gd name="T54" fmla="*/ 158 w 394"/>
                      <a:gd name="T55" fmla="*/ 357 h 475"/>
                      <a:gd name="T56" fmla="*/ 131 w 394"/>
                      <a:gd name="T57" fmla="*/ 301 h 475"/>
                      <a:gd name="T58" fmla="*/ 121 w 394"/>
                      <a:gd name="T59" fmla="*/ 273 h 475"/>
                      <a:gd name="T60" fmla="*/ 118 w 394"/>
                      <a:gd name="T61" fmla="*/ 234 h 475"/>
                      <a:gd name="T62" fmla="*/ 86 w 394"/>
                      <a:gd name="T63" fmla="*/ 239 h 475"/>
                      <a:gd name="T64" fmla="*/ 53 w 394"/>
                      <a:gd name="T65" fmla="*/ 218 h 475"/>
                      <a:gd name="T66" fmla="*/ 15 w 394"/>
                      <a:gd name="T67" fmla="*/ 226 h 475"/>
                      <a:gd name="T68" fmla="*/ 15 w 394"/>
                      <a:gd name="T69" fmla="*/ 180 h 475"/>
                      <a:gd name="T70" fmla="*/ 3 w 394"/>
                      <a:gd name="T71" fmla="*/ 161 h 475"/>
                      <a:gd name="T72" fmla="*/ 11 w 394"/>
                      <a:gd name="T73" fmla="*/ 136 h 475"/>
                      <a:gd name="T74" fmla="*/ 75 w 394"/>
                      <a:gd name="T75" fmla="*/ 143 h 475"/>
                      <a:gd name="T76" fmla="*/ 86 w 394"/>
                      <a:gd name="T77" fmla="*/ 156 h 475"/>
                      <a:gd name="T78" fmla="*/ 93 w 394"/>
                      <a:gd name="T79" fmla="*/ 173 h 475"/>
                      <a:gd name="T80" fmla="*/ 108 w 394"/>
                      <a:gd name="T81" fmla="*/ 191 h 475"/>
                      <a:gd name="T82" fmla="*/ 129 w 394"/>
                      <a:gd name="T83" fmla="*/ 158 h 475"/>
                      <a:gd name="T84" fmla="*/ 169 w 394"/>
                      <a:gd name="T85" fmla="*/ 155 h 475"/>
                      <a:gd name="T86" fmla="*/ 209 w 394"/>
                      <a:gd name="T87" fmla="*/ 155 h 475"/>
                      <a:gd name="T88" fmla="*/ 214 w 394"/>
                      <a:gd name="T89" fmla="*/ 140 h 475"/>
                      <a:gd name="T90" fmla="*/ 223 w 394"/>
                      <a:gd name="T91" fmla="*/ 107 h 475"/>
                      <a:gd name="T92" fmla="*/ 269 w 394"/>
                      <a:gd name="T93" fmla="*/ 120 h 475"/>
                      <a:gd name="T94" fmla="*/ 264 w 394"/>
                      <a:gd name="T95" fmla="*/ 95 h 475"/>
                      <a:gd name="T96" fmla="*/ 301 w 394"/>
                      <a:gd name="T97" fmla="*/ 73 h 475"/>
                      <a:gd name="T98" fmla="*/ 312 w 394"/>
                      <a:gd name="T99" fmla="*/ 48 h 475"/>
                      <a:gd name="T100" fmla="*/ 294 w 394"/>
                      <a:gd name="T101" fmla="*/ 5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94" h="475">
                        <a:moveTo>
                          <a:pt x="301" y="0"/>
                        </a:moveTo>
                        <a:lnTo>
                          <a:pt x="314" y="10"/>
                        </a:lnTo>
                        <a:lnTo>
                          <a:pt x="316" y="17"/>
                        </a:lnTo>
                        <a:lnTo>
                          <a:pt x="321" y="17"/>
                        </a:lnTo>
                        <a:lnTo>
                          <a:pt x="327" y="27"/>
                        </a:lnTo>
                        <a:lnTo>
                          <a:pt x="336" y="28"/>
                        </a:lnTo>
                        <a:lnTo>
                          <a:pt x="342" y="40"/>
                        </a:lnTo>
                        <a:lnTo>
                          <a:pt x="342" y="48"/>
                        </a:lnTo>
                        <a:lnTo>
                          <a:pt x="336" y="58"/>
                        </a:lnTo>
                        <a:lnTo>
                          <a:pt x="345" y="62"/>
                        </a:lnTo>
                        <a:lnTo>
                          <a:pt x="345" y="67"/>
                        </a:lnTo>
                        <a:lnTo>
                          <a:pt x="357" y="73"/>
                        </a:lnTo>
                        <a:lnTo>
                          <a:pt x="365" y="72"/>
                        </a:lnTo>
                        <a:lnTo>
                          <a:pt x="375" y="75"/>
                        </a:lnTo>
                        <a:lnTo>
                          <a:pt x="379" y="78"/>
                        </a:lnTo>
                        <a:lnTo>
                          <a:pt x="380" y="75"/>
                        </a:lnTo>
                        <a:lnTo>
                          <a:pt x="394" y="78"/>
                        </a:lnTo>
                        <a:lnTo>
                          <a:pt x="394" y="93"/>
                        </a:lnTo>
                        <a:lnTo>
                          <a:pt x="379" y="105"/>
                        </a:lnTo>
                        <a:lnTo>
                          <a:pt x="372" y="117"/>
                        </a:lnTo>
                        <a:lnTo>
                          <a:pt x="372" y="130"/>
                        </a:lnTo>
                        <a:lnTo>
                          <a:pt x="359" y="133"/>
                        </a:lnTo>
                        <a:lnTo>
                          <a:pt x="354" y="131"/>
                        </a:lnTo>
                        <a:lnTo>
                          <a:pt x="345" y="135"/>
                        </a:lnTo>
                        <a:lnTo>
                          <a:pt x="344" y="146"/>
                        </a:lnTo>
                        <a:lnTo>
                          <a:pt x="342" y="155"/>
                        </a:lnTo>
                        <a:lnTo>
                          <a:pt x="345" y="158"/>
                        </a:lnTo>
                        <a:lnTo>
                          <a:pt x="336" y="170"/>
                        </a:lnTo>
                        <a:lnTo>
                          <a:pt x="327" y="186"/>
                        </a:lnTo>
                        <a:lnTo>
                          <a:pt x="326" y="195"/>
                        </a:lnTo>
                        <a:lnTo>
                          <a:pt x="324" y="206"/>
                        </a:lnTo>
                        <a:lnTo>
                          <a:pt x="324" y="216"/>
                        </a:lnTo>
                        <a:lnTo>
                          <a:pt x="331" y="228"/>
                        </a:lnTo>
                        <a:lnTo>
                          <a:pt x="339" y="236"/>
                        </a:lnTo>
                        <a:lnTo>
                          <a:pt x="336" y="249"/>
                        </a:lnTo>
                        <a:lnTo>
                          <a:pt x="331" y="263"/>
                        </a:lnTo>
                        <a:lnTo>
                          <a:pt x="332" y="273"/>
                        </a:lnTo>
                        <a:lnTo>
                          <a:pt x="344" y="278"/>
                        </a:lnTo>
                        <a:lnTo>
                          <a:pt x="345" y="294"/>
                        </a:lnTo>
                        <a:lnTo>
                          <a:pt x="340" y="309"/>
                        </a:lnTo>
                        <a:lnTo>
                          <a:pt x="337" y="303"/>
                        </a:lnTo>
                        <a:lnTo>
                          <a:pt x="332" y="299"/>
                        </a:lnTo>
                        <a:lnTo>
                          <a:pt x="326" y="299"/>
                        </a:lnTo>
                        <a:lnTo>
                          <a:pt x="321" y="304"/>
                        </a:lnTo>
                        <a:lnTo>
                          <a:pt x="312" y="304"/>
                        </a:lnTo>
                        <a:lnTo>
                          <a:pt x="307" y="304"/>
                        </a:lnTo>
                        <a:lnTo>
                          <a:pt x="309" y="316"/>
                        </a:lnTo>
                        <a:lnTo>
                          <a:pt x="311" y="321"/>
                        </a:lnTo>
                        <a:lnTo>
                          <a:pt x="309" y="328"/>
                        </a:lnTo>
                        <a:lnTo>
                          <a:pt x="306" y="331"/>
                        </a:lnTo>
                        <a:lnTo>
                          <a:pt x="301" y="336"/>
                        </a:lnTo>
                        <a:lnTo>
                          <a:pt x="296" y="342"/>
                        </a:lnTo>
                        <a:lnTo>
                          <a:pt x="297" y="349"/>
                        </a:lnTo>
                        <a:lnTo>
                          <a:pt x="304" y="351"/>
                        </a:lnTo>
                        <a:lnTo>
                          <a:pt x="312" y="349"/>
                        </a:lnTo>
                        <a:lnTo>
                          <a:pt x="321" y="347"/>
                        </a:lnTo>
                        <a:lnTo>
                          <a:pt x="327" y="352"/>
                        </a:lnTo>
                        <a:lnTo>
                          <a:pt x="336" y="361"/>
                        </a:lnTo>
                        <a:lnTo>
                          <a:pt x="345" y="357"/>
                        </a:lnTo>
                        <a:lnTo>
                          <a:pt x="345" y="352"/>
                        </a:lnTo>
                        <a:lnTo>
                          <a:pt x="354" y="352"/>
                        </a:lnTo>
                        <a:lnTo>
                          <a:pt x="357" y="349"/>
                        </a:lnTo>
                        <a:lnTo>
                          <a:pt x="359" y="356"/>
                        </a:lnTo>
                        <a:lnTo>
                          <a:pt x="362" y="356"/>
                        </a:lnTo>
                        <a:lnTo>
                          <a:pt x="364" y="364"/>
                        </a:lnTo>
                        <a:lnTo>
                          <a:pt x="370" y="367"/>
                        </a:lnTo>
                        <a:lnTo>
                          <a:pt x="379" y="367"/>
                        </a:lnTo>
                        <a:lnTo>
                          <a:pt x="380" y="372"/>
                        </a:lnTo>
                        <a:lnTo>
                          <a:pt x="380" y="394"/>
                        </a:lnTo>
                        <a:lnTo>
                          <a:pt x="380" y="397"/>
                        </a:lnTo>
                        <a:lnTo>
                          <a:pt x="387" y="402"/>
                        </a:lnTo>
                        <a:lnTo>
                          <a:pt x="379" y="406"/>
                        </a:lnTo>
                        <a:lnTo>
                          <a:pt x="379" y="412"/>
                        </a:lnTo>
                        <a:lnTo>
                          <a:pt x="370" y="421"/>
                        </a:lnTo>
                        <a:lnTo>
                          <a:pt x="374" y="426"/>
                        </a:lnTo>
                        <a:lnTo>
                          <a:pt x="379" y="427"/>
                        </a:lnTo>
                        <a:lnTo>
                          <a:pt x="375" y="431"/>
                        </a:lnTo>
                        <a:lnTo>
                          <a:pt x="374" y="444"/>
                        </a:lnTo>
                        <a:lnTo>
                          <a:pt x="367" y="444"/>
                        </a:lnTo>
                        <a:lnTo>
                          <a:pt x="349" y="452"/>
                        </a:lnTo>
                        <a:lnTo>
                          <a:pt x="345" y="454"/>
                        </a:lnTo>
                        <a:lnTo>
                          <a:pt x="337" y="455"/>
                        </a:lnTo>
                        <a:lnTo>
                          <a:pt x="332" y="454"/>
                        </a:lnTo>
                        <a:lnTo>
                          <a:pt x="329" y="457"/>
                        </a:lnTo>
                        <a:lnTo>
                          <a:pt x="321" y="452"/>
                        </a:lnTo>
                        <a:lnTo>
                          <a:pt x="312" y="457"/>
                        </a:lnTo>
                        <a:lnTo>
                          <a:pt x="321" y="465"/>
                        </a:lnTo>
                        <a:lnTo>
                          <a:pt x="312" y="465"/>
                        </a:lnTo>
                        <a:lnTo>
                          <a:pt x="306" y="470"/>
                        </a:lnTo>
                        <a:lnTo>
                          <a:pt x="301" y="475"/>
                        </a:lnTo>
                        <a:lnTo>
                          <a:pt x="296" y="472"/>
                        </a:lnTo>
                        <a:lnTo>
                          <a:pt x="301" y="467"/>
                        </a:lnTo>
                        <a:lnTo>
                          <a:pt x="301" y="455"/>
                        </a:lnTo>
                        <a:lnTo>
                          <a:pt x="306" y="445"/>
                        </a:lnTo>
                        <a:lnTo>
                          <a:pt x="306" y="441"/>
                        </a:lnTo>
                        <a:lnTo>
                          <a:pt x="301" y="421"/>
                        </a:lnTo>
                        <a:lnTo>
                          <a:pt x="301" y="416"/>
                        </a:lnTo>
                        <a:lnTo>
                          <a:pt x="307" y="411"/>
                        </a:lnTo>
                        <a:lnTo>
                          <a:pt x="301" y="399"/>
                        </a:lnTo>
                        <a:lnTo>
                          <a:pt x="291" y="394"/>
                        </a:lnTo>
                        <a:lnTo>
                          <a:pt x="286" y="397"/>
                        </a:lnTo>
                        <a:lnTo>
                          <a:pt x="284" y="402"/>
                        </a:lnTo>
                        <a:lnTo>
                          <a:pt x="272" y="411"/>
                        </a:lnTo>
                        <a:lnTo>
                          <a:pt x="266" y="416"/>
                        </a:lnTo>
                        <a:lnTo>
                          <a:pt x="267" y="426"/>
                        </a:lnTo>
                        <a:lnTo>
                          <a:pt x="261" y="424"/>
                        </a:lnTo>
                        <a:lnTo>
                          <a:pt x="257" y="429"/>
                        </a:lnTo>
                        <a:lnTo>
                          <a:pt x="252" y="422"/>
                        </a:lnTo>
                        <a:lnTo>
                          <a:pt x="247" y="419"/>
                        </a:lnTo>
                        <a:lnTo>
                          <a:pt x="242" y="414"/>
                        </a:lnTo>
                        <a:lnTo>
                          <a:pt x="246" y="406"/>
                        </a:lnTo>
                        <a:lnTo>
                          <a:pt x="236" y="402"/>
                        </a:lnTo>
                        <a:lnTo>
                          <a:pt x="227" y="399"/>
                        </a:lnTo>
                        <a:lnTo>
                          <a:pt x="223" y="399"/>
                        </a:lnTo>
                        <a:lnTo>
                          <a:pt x="226" y="407"/>
                        </a:lnTo>
                        <a:lnTo>
                          <a:pt x="221" y="411"/>
                        </a:lnTo>
                        <a:lnTo>
                          <a:pt x="229" y="416"/>
                        </a:lnTo>
                        <a:lnTo>
                          <a:pt x="229" y="421"/>
                        </a:lnTo>
                        <a:lnTo>
                          <a:pt x="221" y="417"/>
                        </a:lnTo>
                        <a:lnTo>
                          <a:pt x="204" y="416"/>
                        </a:lnTo>
                        <a:lnTo>
                          <a:pt x="206" y="426"/>
                        </a:lnTo>
                        <a:lnTo>
                          <a:pt x="206" y="429"/>
                        </a:lnTo>
                        <a:lnTo>
                          <a:pt x="206" y="436"/>
                        </a:lnTo>
                        <a:lnTo>
                          <a:pt x="209" y="444"/>
                        </a:lnTo>
                        <a:lnTo>
                          <a:pt x="209" y="450"/>
                        </a:lnTo>
                        <a:lnTo>
                          <a:pt x="204" y="445"/>
                        </a:lnTo>
                        <a:lnTo>
                          <a:pt x="201" y="442"/>
                        </a:lnTo>
                        <a:lnTo>
                          <a:pt x="196" y="445"/>
                        </a:lnTo>
                        <a:lnTo>
                          <a:pt x="184" y="444"/>
                        </a:lnTo>
                        <a:lnTo>
                          <a:pt x="178" y="436"/>
                        </a:lnTo>
                        <a:lnTo>
                          <a:pt x="186" y="427"/>
                        </a:lnTo>
                        <a:lnTo>
                          <a:pt x="184" y="419"/>
                        </a:lnTo>
                        <a:lnTo>
                          <a:pt x="189" y="411"/>
                        </a:lnTo>
                        <a:lnTo>
                          <a:pt x="184" y="411"/>
                        </a:lnTo>
                        <a:lnTo>
                          <a:pt x="189" y="399"/>
                        </a:lnTo>
                        <a:lnTo>
                          <a:pt x="196" y="401"/>
                        </a:lnTo>
                        <a:lnTo>
                          <a:pt x="191" y="391"/>
                        </a:lnTo>
                        <a:lnTo>
                          <a:pt x="184" y="376"/>
                        </a:lnTo>
                        <a:lnTo>
                          <a:pt x="178" y="369"/>
                        </a:lnTo>
                        <a:lnTo>
                          <a:pt x="158" y="357"/>
                        </a:lnTo>
                        <a:lnTo>
                          <a:pt x="141" y="341"/>
                        </a:lnTo>
                        <a:lnTo>
                          <a:pt x="141" y="331"/>
                        </a:lnTo>
                        <a:lnTo>
                          <a:pt x="131" y="329"/>
                        </a:lnTo>
                        <a:lnTo>
                          <a:pt x="131" y="311"/>
                        </a:lnTo>
                        <a:lnTo>
                          <a:pt x="131" y="301"/>
                        </a:lnTo>
                        <a:lnTo>
                          <a:pt x="124" y="288"/>
                        </a:lnTo>
                        <a:lnTo>
                          <a:pt x="129" y="283"/>
                        </a:lnTo>
                        <a:lnTo>
                          <a:pt x="133" y="278"/>
                        </a:lnTo>
                        <a:lnTo>
                          <a:pt x="133" y="273"/>
                        </a:lnTo>
                        <a:lnTo>
                          <a:pt x="121" y="273"/>
                        </a:lnTo>
                        <a:lnTo>
                          <a:pt x="118" y="268"/>
                        </a:lnTo>
                        <a:lnTo>
                          <a:pt x="114" y="264"/>
                        </a:lnTo>
                        <a:lnTo>
                          <a:pt x="114" y="251"/>
                        </a:lnTo>
                        <a:lnTo>
                          <a:pt x="119" y="244"/>
                        </a:lnTo>
                        <a:lnTo>
                          <a:pt x="118" y="234"/>
                        </a:lnTo>
                        <a:lnTo>
                          <a:pt x="110" y="238"/>
                        </a:lnTo>
                        <a:lnTo>
                          <a:pt x="110" y="231"/>
                        </a:lnTo>
                        <a:lnTo>
                          <a:pt x="93" y="239"/>
                        </a:lnTo>
                        <a:lnTo>
                          <a:pt x="90" y="234"/>
                        </a:lnTo>
                        <a:lnTo>
                          <a:pt x="86" y="239"/>
                        </a:lnTo>
                        <a:lnTo>
                          <a:pt x="73" y="238"/>
                        </a:lnTo>
                        <a:lnTo>
                          <a:pt x="71" y="231"/>
                        </a:lnTo>
                        <a:lnTo>
                          <a:pt x="58" y="228"/>
                        </a:lnTo>
                        <a:lnTo>
                          <a:pt x="61" y="221"/>
                        </a:lnTo>
                        <a:lnTo>
                          <a:pt x="53" y="218"/>
                        </a:lnTo>
                        <a:lnTo>
                          <a:pt x="46" y="215"/>
                        </a:lnTo>
                        <a:lnTo>
                          <a:pt x="38" y="223"/>
                        </a:lnTo>
                        <a:lnTo>
                          <a:pt x="25" y="221"/>
                        </a:lnTo>
                        <a:lnTo>
                          <a:pt x="18" y="229"/>
                        </a:lnTo>
                        <a:lnTo>
                          <a:pt x="15" y="226"/>
                        </a:lnTo>
                        <a:lnTo>
                          <a:pt x="15" y="218"/>
                        </a:lnTo>
                        <a:lnTo>
                          <a:pt x="8" y="206"/>
                        </a:lnTo>
                        <a:lnTo>
                          <a:pt x="15" y="203"/>
                        </a:lnTo>
                        <a:lnTo>
                          <a:pt x="18" y="196"/>
                        </a:lnTo>
                        <a:lnTo>
                          <a:pt x="15" y="180"/>
                        </a:lnTo>
                        <a:lnTo>
                          <a:pt x="18" y="173"/>
                        </a:lnTo>
                        <a:lnTo>
                          <a:pt x="21" y="163"/>
                        </a:lnTo>
                        <a:lnTo>
                          <a:pt x="13" y="165"/>
                        </a:lnTo>
                        <a:lnTo>
                          <a:pt x="5" y="168"/>
                        </a:lnTo>
                        <a:lnTo>
                          <a:pt x="3" y="161"/>
                        </a:lnTo>
                        <a:lnTo>
                          <a:pt x="0" y="156"/>
                        </a:lnTo>
                        <a:lnTo>
                          <a:pt x="5" y="150"/>
                        </a:lnTo>
                        <a:lnTo>
                          <a:pt x="11" y="148"/>
                        </a:lnTo>
                        <a:lnTo>
                          <a:pt x="13" y="143"/>
                        </a:lnTo>
                        <a:lnTo>
                          <a:pt x="11" y="136"/>
                        </a:lnTo>
                        <a:lnTo>
                          <a:pt x="30" y="133"/>
                        </a:lnTo>
                        <a:lnTo>
                          <a:pt x="46" y="131"/>
                        </a:lnTo>
                        <a:lnTo>
                          <a:pt x="60" y="136"/>
                        </a:lnTo>
                        <a:lnTo>
                          <a:pt x="66" y="143"/>
                        </a:lnTo>
                        <a:lnTo>
                          <a:pt x="75" y="143"/>
                        </a:lnTo>
                        <a:lnTo>
                          <a:pt x="85" y="141"/>
                        </a:lnTo>
                        <a:lnTo>
                          <a:pt x="78" y="153"/>
                        </a:lnTo>
                        <a:lnTo>
                          <a:pt x="83" y="161"/>
                        </a:lnTo>
                        <a:lnTo>
                          <a:pt x="90" y="160"/>
                        </a:lnTo>
                        <a:lnTo>
                          <a:pt x="86" y="156"/>
                        </a:lnTo>
                        <a:lnTo>
                          <a:pt x="91" y="150"/>
                        </a:lnTo>
                        <a:lnTo>
                          <a:pt x="96" y="153"/>
                        </a:lnTo>
                        <a:lnTo>
                          <a:pt x="95" y="161"/>
                        </a:lnTo>
                        <a:lnTo>
                          <a:pt x="100" y="165"/>
                        </a:lnTo>
                        <a:lnTo>
                          <a:pt x="93" y="173"/>
                        </a:lnTo>
                        <a:lnTo>
                          <a:pt x="91" y="180"/>
                        </a:lnTo>
                        <a:lnTo>
                          <a:pt x="95" y="186"/>
                        </a:lnTo>
                        <a:lnTo>
                          <a:pt x="96" y="193"/>
                        </a:lnTo>
                        <a:lnTo>
                          <a:pt x="105" y="195"/>
                        </a:lnTo>
                        <a:lnTo>
                          <a:pt x="108" y="191"/>
                        </a:lnTo>
                        <a:lnTo>
                          <a:pt x="106" y="181"/>
                        </a:lnTo>
                        <a:lnTo>
                          <a:pt x="114" y="175"/>
                        </a:lnTo>
                        <a:lnTo>
                          <a:pt x="114" y="168"/>
                        </a:lnTo>
                        <a:lnTo>
                          <a:pt x="124" y="160"/>
                        </a:lnTo>
                        <a:lnTo>
                          <a:pt x="129" y="158"/>
                        </a:lnTo>
                        <a:lnTo>
                          <a:pt x="136" y="165"/>
                        </a:lnTo>
                        <a:lnTo>
                          <a:pt x="146" y="168"/>
                        </a:lnTo>
                        <a:lnTo>
                          <a:pt x="146" y="161"/>
                        </a:lnTo>
                        <a:lnTo>
                          <a:pt x="159" y="160"/>
                        </a:lnTo>
                        <a:lnTo>
                          <a:pt x="169" y="155"/>
                        </a:lnTo>
                        <a:lnTo>
                          <a:pt x="178" y="161"/>
                        </a:lnTo>
                        <a:lnTo>
                          <a:pt x="184" y="170"/>
                        </a:lnTo>
                        <a:lnTo>
                          <a:pt x="194" y="171"/>
                        </a:lnTo>
                        <a:lnTo>
                          <a:pt x="201" y="166"/>
                        </a:lnTo>
                        <a:lnTo>
                          <a:pt x="209" y="155"/>
                        </a:lnTo>
                        <a:lnTo>
                          <a:pt x="214" y="158"/>
                        </a:lnTo>
                        <a:lnTo>
                          <a:pt x="223" y="151"/>
                        </a:lnTo>
                        <a:lnTo>
                          <a:pt x="226" y="148"/>
                        </a:lnTo>
                        <a:lnTo>
                          <a:pt x="221" y="148"/>
                        </a:lnTo>
                        <a:lnTo>
                          <a:pt x="214" y="140"/>
                        </a:lnTo>
                        <a:lnTo>
                          <a:pt x="223" y="131"/>
                        </a:lnTo>
                        <a:lnTo>
                          <a:pt x="226" y="121"/>
                        </a:lnTo>
                        <a:lnTo>
                          <a:pt x="221" y="118"/>
                        </a:lnTo>
                        <a:lnTo>
                          <a:pt x="216" y="110"/>
                        </a:lnTo>
                        <a:lnTo>
                          <a:pt x="223" y="107"/>
                        </a:lnTo>
                        <a:lnTo>
                          <a:pt x="226" y="112"/>
                        </a:lnTo>
                        <a:lnTo>
                          <a:pt x="234" y="117"/>
                        </a:lnTo>
                        <a:lnTo>
                          <a:pt x="242" y="113"/>
                        </a:lnTo>
                        <a:lnTo>
                          <a:pt x="259" y="121"/>
                        </a:lnTo>
                        <a:lnTo>
                          <a:pt x="269" y="120"/>
                        </a:lnTo>
                        <a:lnTo>
                          <a:pt x="272" y="112"/>
                        </a:lnTo>
                        <a:lnTo>
                          <a:pt x="281" y="108"/>
                        </a:lnTo>
                        <a:lnTo>
                          <a:pt x="277" y="100"/>
                        </a:lnTo>
                        <a:lnTo>
                          <a:pt x="264" y="102"/>
                        </a:lnTo>
                        <a:lnTo>
                          <a:pt x="264" y="95"/>
                        </a:lnTo>
                        <a:lnTo>
                          <a:pt x="272" y="95"/>
                        </a:lnTo>
                        <a:lnTo>
                          <a:pt x="286" y="83"/>
                        </a:lnTo>
                        <a:lnTo>
                          <a:pt x="282" y="75"/>
                        </a:lnTo>
                        <a:lnTo>
                          <a:pt x="294" y="75"/>
                        </a:lnTo>
                        <a:lnTo>
                          <a:pt x="301" y="73"/>
                        </a:lnTo>
                        <a:lnTo>
                          <a:pt x="304" y="85"/>
                        </a:lnTo>
                        <a:lnTo>
                          <a:pt x="311" y="85"/>
                        </a:lnTo>
                        <a:lnTo>
                          <a:pt x="311" y="70"/>
                        </a:lnTo>
                        <a:lnTo>
                          <a:pt x="306" y="60"/>
                        </a:lnTo>
                        <a:lnTo>
                          <a:pt x="312" y="48"/>
                        </a:lnTo>
                        <a:lnTo>
                          <a:pt x="306" y="38"/>
                        </a:lnTo>
                        <a:lnTo>
                          <a:pt x="297" y="40"/>
                        </a:lnTo>
                        <a:lnTo>
                          <a:pt x="307" y="17"/>
                        </a:lnTo>
                        <a:lnTo>
                          <a:pt x="299" y="13"/>
                        </a:lnTo>
                        <a:lnTo>
                          <a:pt x="294" y="5"/>
                        </a:lnTo>
                        <a:lnTo>
                          <a:pt x="301" y="0"/>
                        </a:lnTo>
                        <a:lnTo>
                          <a:pt x="301" y="0"/>
                        </a:lnTo>
                        <a:lnTo>
                          <a:pt x="301" y="0"/>
                        </a:lnTo>
                        <a:close/>
                      </a:path>
                    </a:pathLst>
                  </a:custGeom>
                  <a:solidFill>
                    <a:srgbClr val="B79F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a:latin typeface="Proxima Nova A" panose="02000506030000020004" pitchFamily="2" charset="0"/>
                    </a:endParaRPr>
                  </a:p>
                </p:txBody>
              </p:sp>
              <p:sp>
                <p:nvSpPr>
                  <p:cNvPr id="149" name="Freeform 1062">
                    <a:extLst>
                      <a:ext uri="{FF2B5EF4-FFF2-40B4-BE49-F238E27FC236}">
                        <a16:creationId xmlns:a16="http://schemas.microsoft.com/office/drawing/2014/main" id="{BD218C80-A9FC-4DDF-8002-F36B314F43E5}"/>
                      </a:ext>
                    </a:extLst>
                  </p:cNvPr>
                  <p:cNvSpPr>
                    <a:spLocks/>
                  </p:cNvSpPr>
                  <p:nvPr/>
                </p:nvSpPr>
                <p:spPr bwMode="auto">
                  <a:xfrm>
                    <a:off x="3877056" y="1844412"/>
                    <a:ext cx="609970" cy="550629"/>
                  </a:xfrm>
                  <a:custGeom>
                    <a:avLst/>
                    <a:gdLst>
                      <a:gd name="T0" fmla="*/ 321 w 442"/>
                      <a:gd name="T1" fmla="*/ 344 h 399"/>
                      <a:gd name="T2" fmla="*/ 339 w 442"/>
                      <a:gd name="T3" fmla="*/ 317 h 399"/>
                      <a:gd name="T4" fmla="*/ 341 w 442"/>
                      <a:gd name="T5" fmla="*/ 288 h 399"/>
                      <a:gd name="T6" fmla="*/ 361 w 442"/>
                      <a:gd name="T7" fmla="*/ 266 h 399"/>
                      <a:gd name="T8" fmla="*/ 364 w 442"/>
                      <a:gd name="T9" fmla="*/ 243 h 399"/>
                      <a:gd name="T10" fmla="*/ 376 w 442"/>
                      <a:gd name="T11" fmla="*/ 219 h 399"/>
                      <a:gd name="T12" fmla="*/ 407 w 442"/>
                      <a:gd name="T13" fmla="*/ 203 h 399"/>
                      <a:gd name="T14" fmla="*/ 435 w 442"/>
                      <a:gd name="T15" fmla="*/ 190 h 399"/>
                      <a:gd name="T16" fmla="*/ 434 w 442"/>
                      <a:gd name="T17" fmla="*/ 171 h 399"/>
                      <a:gd name="T18" fmla="*/ 402 w 442"/>
                      <a:gd name="T19" fmla="*/ 153 h 399"/>
                      <a:gd name="T20" fmla="*/ 381 w 442"/>
                      <a:gd name="T21" fmla="*/ 146 h 399"/>
                      <a:gd name="T22" fmla="*/ 351 w 442"/>
                      <a:gd name="T23" fmla="*/ 135 h 399"/>
                      <a:gd name="T24" fmla="*/ 339 w 442"/>
                      <a:gd name="T25" fmla="*/ 113 h 399"/>
                      <a:gd name="T26" fmla="*/ 329 w 442"/>
                      <a:gd name="T27" fmla="*/ 98 h 399"/>
                      <a:gd name="T28" fmla="*/ 309 w 442"/>
                      <a:gd name="T29" fmla="*/ 88 h 399"/>
                      <a:gd name="T30" fmla="*/ 294 w 442"/>
                      <a:gd name="T31" fmla="*/ 75 h 399"/>
                      <a:gd name="T32" fmla="*/ 268 w 442"/>
                      <a:gd name="T33" fmla="*/ 75 h 399"/>
                      <a:gd name="T34" fmla="*/ 249 w 442"/>
                      <a:gd name="T35" fmla="*/ 67 h 399"/>
                      <a:gd name="T36" fmla="*/ 224 w 442"/>
                      <a:gd name="T37" fmla="*/ 43 h 399"/>
                      <a:gd name="T38" fmla="*/ 218 w 442"/>
                      <a:gd name="T39" fmla="*/ 20 h 399"/>
                      <a:gd name="T40" fmla="*/ 194 w 442"/>
                      <a:gd name="T41" fmla="*/ 0 h 399"/>
                      <a:gd name="T42" fmla="*/ 170 w 442"/>
                      <a:gd name="T43" fmla="*/ 28 h 399"/>
                      <a:gd name="T44" fmla="*/ 181 w 442"/>
                      <a:gd name="T45" fmla="*/ 58 h 399"/>
                      <a:gd name="T46" fmla="*/ 163 w 442"/>
                      <a:gd name="T47" fmla="*/ 57 h 399"/>
                      <a:gd name="T48" fmla="*/ 150 w 442"/>
                      <a:gd name="T49" fmla="*/ 43 h 399"/>
                      <a:gd name="T50" fmla="*/ 131 w 442"/>
                      <a:gd name="T51" fmla="*/ 37 h 399"/>
                      <a:gd name="T52" fmla="*/ 115 w 442"/>
                      <a:gd name="T53" fmla="*/ 37 h 399"/>
                      <a:gd name="T54" fmla="*/ 93 w 442"/>
                      <a:gd name="T55" fmla="*/ 30 h 399"/>
                      <a:gd name="T56" fmla="*/ 73 w 442"/>
                      <a:gd name="T57" fmla="*/ 42 h 399"/>
                      <a:gd name="T58" fmla="*/ 47 w 442"/>
                      <a:gd name="T59" fmla="*/ 45 h 399"/>
                      <a:gd name="T60" fmla="*/ 33 w 442"/>
                      <a:gd name="T61" fmla="*/ 73 h 399"/>
                      <a:gd name="T62" fmla="*/ 23 w 442"/>
                      <a:gd name="T63" fmla="*/ 78 h 399"/>
                      <a:gd name="T64" fmla="*/ 30 w 442"/>
                      <a:gd name="T65" fmla="*/ 91 h 399"/>
                      <a:gd name="T66" fmla="*/ 27 w 442"/>
                      <a:gd name="T67" fmla="*/ 123 h 399"/>
                      <a:gd name="T68" fmla="*/ 30 w 442"/>
                      <a:gd name="T69" fmla="*/ 146 h 399"/>
                      <a:gd name="T70" fmla="*/ 0 w 442"/>
                      <a:gd name="T71" fmla="*/ 161 h 399"/>
                      <a:gd name="T72" fmla="*/ 37 w 442"/>
                      <a:gd name="T73" fmla="*/ 180 h 399"/>
                      <a:gd name="T74" fmla="*/ 47 w 442"/>
                      <a:gd name="T75" fmla="*/ 203 h 399"/>
                      <a:gd name="T76" fmla="*/ 32 w 442"/>
                      <a:gd name="T77" fmla="*/ 221 h 399"/>
                      <a:gd name="T78" fmla="*/ 30 w 442"/>
                      <a:gd name="T79" fmla="*/ 254 h 399"/>
                      <a:gd name="T80" fmla="*/ 48 w 442"/>
                      <a:gd name="T81" fmla="*/ 268 h 399"/>
                      <a:gd name="T82" fmla="*/ 65 w 442"/>
                      <a:gd name="T83" fmla="*/ 286 h 399"/>
                      <a:gd name="T84" fmla="*/ 100 w 442"/>
                      <a:gd name="T85" fmla="*/ 259 h 399"/>
                      <a:gd name="T86" fmla="*/ 116 w 442"/>
                      <a:gd name="T87" fmla="*/ 271 h 399"/>
                      <a:gd name="T88" fmla="*/ 133 w 442"/>
                      <a:gd name="T89" fmla="*/ 281 h 399"/>
                      <a:gd name="T90" fmla="*/ 170 w 442"/>
                      <a:gd name="T91" fmla="*/ 301 h 399"/>
                      <a:gd name="T92" fmla="*/ 146 w 442"/>
                      <a:gd name="T93" fmla="*/ 312 h 399"/>
                      <a:gd name="T94" fmla="*/ 160 w 442"/>
                      <a:gd name="T95" fmla="*/ 326 h 399"/>
                      <a:gd name="T96" fmla="*/ 178 w 442"/>
                      <a:gd name="T97" fmla="*/ 344 h 399"/>
                      <a:gd name="T98" fmla="*/ 194 w 442"/>
                      <a:gd name="T99" fmla="*/ 341 h 399"/>
                      <a:gd name="T100" fmla="*/ 206 w 442"/>
                      <a:gd name="T101" fmla="*/ 357 h 399"/>
                      <a:gd name="T102" fmla="*/ 223 w 442"/>
                      <a:gd name="T103" fmla="*/ 364 h 399"/>
                      <a:gd name="T104" fmla="*/ 236 w 442"/>
                      <a:gd name="T105" fmla="*/ 382 h 399"/>
                      <a:gd name="T106" fmla="*/ 251 w 442"/>
                      <a:gd name="T107" fmla="*/ 384 h 399"/>
                      <a:gd name="T108" fmla="*/ 269 w 442"/>
                      <a:gd name="T109" fmla="*/ 381 h 399"/>
                      <a:gd name="T110" fmla="*/ 281 w 442"/>
                      <a:gd name="T111" fmla="*/ 386 h 399"/>
                      <a:gd name="T112" fmla="*/ 294 w 442"/>
                      <a:gd name="T113" fmla="*/ 389 h 399"/>
                      <a:gd name="T114" fmla="*/ 306 w 442"/>
                      <a:gd name="T115" fmla="*/ 399 h 399"/>
                      <a:gd name="T116" fmla="*/ 317 w 442"/>
                      <a:gd name="T117" fmla="*/ 37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2" h="399">
                        <a:moveTo>
                          <a:pt x="317" y="379"/>
                        </a:moveTo>
                        <a:lnTo>
                          <a:pt x="319" y="359"/>
                        </a:lnTo>
                        <a:lnTo>
                          <a:pt x="321" y="344"/>
                        </a:lnTo>
                        <a:lnTo>
                          <a:pt x="336" y="337"/>
                        </a:lnTo>
                        <a:lnTo>
                          <a:pt x="342" y="329"/>
                        </a:lnTo>
                        <a:lnTo>
                          <a:pt x="339" y="317"/>
                        </a:lnTo>
                        <a:lnTo>
                          <a:pt x="346" y="314"/>
                        </a:lnTo>
                        <a:lnTo>
                          <a:pt x="337" y="296"/>
                        </a:lnTo>
                        <a:lnTo>
                          <a:pt x="341" y="288"/>
                        </a:lnTo>
                        <a:lnTo>
                          <a:pt x="352" y="278"/>
                        </a:lnTo>
                        <a:lnTo>
                          <a:pt x="359" y="274"/>
                        </a:lnTo>
                        <a:lnTo>
                          <a:pt x="361" y="266"/>
                        </a:lnTo>
                        <a:lnTo>
                          <a:pt x="351" y="261"/>
                        </a:lnTo>
                        <a:lnTo>
                          <a:pt x="351" y="253"/>
                        </a:lnTo>
                        <a:lnTo>
                          <a:pt x="364" y="243"/>
                        </a:lnTo>
                        <a:lnTo>
                          <a:pt x="372" y="238"/>
                        </a:lnTo>
                        <a:lnTo>
                          <a:pt x="376" y="229"/>
                        </a:lnTo>
                        <a:lnTo>
                          <a:pt x="376" y="219"/>
                        </a:lnTo>
                        <a:lnTo>
                          <a:pt x="387" y="216"/>
                        </a:lnTo>
                        <a:lnTo>
                          <a:pt x="394" y="216"/>
                        </a:lnTo>
                        <a:lnTo>
                          <a:pt x="407" y="203"/>
                        </a:lnTo>
                        <a:lnTo>
                          <a:pt x="415" y="190"/>
                        </a:lnTo>
                        <a:lnTo>
                          <a:pt x="420" y="185"/>
                        </a:lnTo>
                        <a:lnTo>
                          <a:pt x="435" y="190"/>
                        </a:lnTo>
                        <a:lnTo>
                          <a:pt x="442" y="186"/>
                        </a:lnTo>
                        <a:lnTo>
                          <a:pt x="439" y="175"/>
                        </a:lnTo>
                        <a:lnTo>
                          <a:pt x="434" y="171"/>
                        </a:lnTo>
                        <a:lnTo>
                          <a:pt x="424" y="171"/>
                        </a:lnTo>
                        <a:lnTo>
                          <a:pt x="409" y="163"/>
                        </a:lnTo>
                        <a:lnTo>
                          <a:pt x="402" y="153"/>
                        </a:lnTo>
                        <a:lnTo>
                          <a:pt x="392" y="146"/>
                        </a:lnTo>
                        <a:lnTo>
                          <a:pt x="387" y="141"/>
                        </a:lnTo>
                        <a:lnTo>
                          <a:pt x="381" y="146"/>
                        </a:lnTo>
                        <a:lnTo>
                          <a:pt x="374" y="145"/>
                        </a:lnTo>
                        <a:lnTo>
                          <a:pt x="362" y="140"/>
                        </a:lnTo>
                        <a:lnTo>
                          <a:pt x="351" y="135"/>
                        </a:lnTo>
                        <a:lnTo>
                          <a:pt x="339" y="126"/>
                        </a:lnTo>
                        <a:lnTo>
                          <a:pt x="339" y="118"/>
                        </a:lnTo>
                        <a:lnTo>
                          <a:pt x="339" y="113"/>
                        </a:lnTo>
                        <a:lnTo>
                          <a:pt x="344" y="106"/>
                        </a:lnTo>
                        <a:lnTo>
                          <a:pt x="337" y="101"/>
                        </a:lnTo>
                        <a:lnTo>
                          <a:pt x="329" y="98"/>
                        </a:lnTo>
                        <a:lnTo>
                          <a:pt x="322" y="98"/>
                        </a:lnTo>
                        <a:lnTo>
                          <a:pt x="314" y="91"/>
                        </a:lnTo>
                        <a:lnTo>
                          <a:pt x="309" y="88"/>
                        </a:lnTo>
                        <a:lnTo>
                          <a:pt x="301" y="85"/>
                        </a:lnTo>
                        <a:lnTo>
                          <a:pt x="297" y="80"/>
                        </a:lnTo>
                        <a:lnTo>
                          <a:pt x="294" y="75"/>
                        </a:lnTo>
                        <a:lnTo>
                          <a:pt x="284" y="72"/>
                        </a:lnTo>
                        <a:lnTo>
                          <a:pt x="274" y="70"/>
                        </a:lnTo>
                        <a:lnTo>
                          <a:pt x="268" y="75"/>
                        </a:lnTo>
                        <a:lnTo>
                          <a:pt x="263" y="78"/>
                        </a:lnTo>
                        <a:lnTo>
                          <a:pt x="249" y="73"/>
                        </a:lnTo>
                        <a:lnTo>
                          <a:pt x="249" y="67"/>
                        </a:lnTo>
                        <a:lnTo>
                          <a:pt x="243" y="63"/>
                        </a:lnTo>
                        <a:lnTo>
                          <a:pt x="234" y="53"/>
                        </a:lnTo>
                        <a:lnTo>
                          <a:pt x="224" y="43"/>
                        </a:lnTo>
                        <a:lnTo>
                          <a:pt x="216" y="35"/>
                        </a:lnTo>
                        <a:lnTo>
                          <a:pt x="218" y="27"/>
                        </a:lnTo>
                        <a:lnTo>
                          <a:pt x="218" y="20"/>
                        </a:lnTo>
                        <a:lnTo>
                          <a:pt x="206" y="10"/>
                        </a:lnTo>
                        <a:lnTo>
                          <a:pt x="201" y="5"/>
                        </a:lnTo>
                        <a:lnTo>
                          <a:pt x="194" y="0"/>
                        </a:lnTo>
                        <a:lnTo>
                          <a:pt x="189" y="10"/>
                        </a:lnTo>
                        <a:lnTo>
                          <a:pt x="184" y="20"/>
                        </a:lnTo>
                        <a:lnTo>
                          <a:pt x="170" y="28"/>
                        </a:lnTo>
                        <a:lnTo>
                          <a:pt x="170" y="42"/>
                        </a:lnTo>
                        <a:lnTo>
                          <a:pt x="181" y="52"/>
                        </a:lnTo>
                        <a:lnTo>
                          <a:pt x="181" y="58"/>
                        </a:lnTo>
                        <a:lnTo>
                          <a:pt x="175" y="55"/>
                        </a:lnTo>
                        <a:lnTo>
                          <a:pt x="170" y="57"/>
                        </a:lnTo>
                        <a:lnTo>
                          <a:pt x="163" y="57"/>
                        </a:lnTo>
                        <a:lnTo>
                          <a:pt x="158" y="52"/>
                        </a:lnTo>
                        <a:lnTo>
                          <a:pt x="158" y="47"/>
                        </a:lnTo>
                        <a:lnTo>
                          <a:pt x="150" y="43"/>
                        </a:lnTo>
                        <a:lnTo>
                          <a:pt x="143" y="43"/>
                        </a:lnTo>
                        <a:lnTo>
                          <a:pt x="138" y="45"/>
                        </a:lnTo>
                        <a:lnTo>
                          <a:pt x="131" y="37"/>
                        </a:lnTo>
                        <a:lnTo>
                          <a:pt x="125" y="40"/>
                        </a:lnTo>
                        <a:lnTo>
                          <a:pt x="121" y="45"/>
                        </a:lnTo>
                        <a:lnTo>
                          <a:pt x="115" y="37"/>
                        </a:lnTo>
                        <a:lnTo>
                          <a:pt x="106" y="37"/>
                        </a:lnTo>
                        <a:lnTo>
                          <a:pt x="100" y="30"/>
                        </a:lnTo>
                        <a:lnTo>
                          <a:pt x="93" y="30"/>
                        </a:lnTo>
                        <a:lnTo>
                          <a:pt x="85" y="40"/>
                        </a:lnTo>
                        <a:lnTo>
                          <a:pt x="80" y="37"/>
                        </a:lnTo>
                        <a:lnTo>
                          <a:pt x="73" y="42"/>
                        </a:lnTo>
                        <a:lnTo>
                          <a:pt x="57" y="48"/>
                        </a:lnTo>
                        <a:lnTo>
                          <a:pt x="52" y="45"/>
                        </a:lnTo>
                        <a:lnTo>
                          <a:pt x="47" y="45"/>
                        </a:lnTo>
                        <a:lnTo>
                          <a:pt x="40" y="57"/>
                        </a:lnTo>
                        <a:lnTo>
                          <a:pt x="30" y="67"/>
                        </a:lnTo>
                        <a:lnTo>
                          <a:pt x="33" y="73"/>
                        </a:lnTo>
                        <a:lnTo>
                          <a:pt x="32" y="78"/>
                        </a:lnTo>
                        <a:lnTo>
                          <a:pt x="23" y="73"/>
                        </a:lnTo>
                        <a:lnTo>
                          <a:pt x="23" y="78"/>
                        </a:lnTo>
                        <a:lnTo>
                          <a:pt x="25" y="83"/>
                        </a:lnTo>
                        <a:lnTo>
                          <a:pt x="32" y="87"/>
                        </a:lnTo>
                        <a:lnTo>
                          <a:pt x="30" y="91"/>
                        </a:lnTo>
                        <a:lnTo>
                          <a:pt x="20" y="96"/>
                        </a:lnTo>
                        <a:lnTo>
                          <a:pt x="22" y="121"/>
                        </a:lnTo>
                        <a:lnTo>
                          <a:pt x="27" y="123"/>
                        </a:lnTo>
                        <a:lnTo>
                          <a:pt x="20" y="130"/>
                        </a:lnTo>
                        <a:lnTo>
                          <a:pt x="30" y="143"/>
                        </a:lnTo>
                        <a:lnTo>
                          <a:pt x="30" y="146"/>
                        </a:lnTo>
                        <a:lnTo>
                          <a:pt x="8" y="146"/>
                        </a:lnTo>
                        <a:lnTo>
                          <a:pt x="0" y="156"/>
                        </a:lnTo>
                        <a:lnTo>
                          <a:pt x="0" y="161"/>
                        </a:lnTo>
                        <a:lnTo>
                          <a:pt x="10" y="161"/>
                        </a:lnTo>
                        <a:lnTo>
                          <a:pt x="22" y="171"/>
                        </a:lnTo>
                        <a:lnTo>
                          <a:pt x="37" y="180"/>
                        </a:lnTo>
                        <a:lnTo>
                          <a:pt x="50" y="188"/>
                        </a:lnTo>
                        <a:lnTo>
                          <a:pt x="50" y="196"/>
                        </a:lnTo>
                        <a:lnTo>
                          <a:pt x="47" y="203"/>
                        </a:lnTo>
                        <a:lnTo>
                          <a:pt x="35" y="211"/>
                        </a:lnTo>
                        <a:lnTo>
                          <a:pt x="32" y="214"/>
                        </a:lnTo>
                        <a:lnTo>
                          <a:pt x="32" y="221"/>
                        </a:lnTo>
                        <a:lnTo>
                          <a:pt x="28" y="234"/>
                        </a:lnTo>
                        <a:lnTo>
                          <a:pt x="27" y="243"/>
                        </a:lnTo>
                        <a:lnTo>
                          <a:pt x="30" y="254"/>
                        </a:lnTo>
                        <a:lnTo>
                          <a:pt x="35" y="269"/>
                        </a:lnTo>
                        <a:lnTo>
                          <a:pt x="42" y="273"/>
                        </a:lnTo>
                        <a:lnTo>
                          <a:pt x="48" y="268"/>
                        </a:lnTo>
                        <a:lnTo>
                          <a:pt x="55" y="271"/>
                        </a:lnTo>
                        <a:lnTo>
                          <a:pt x="53" y="279"/>
                        </a:lnTo>
                        <a:lnTo>
                          <a:pt x="65" y="286"/>
                        </a:lnTo>
                        <a:lnTo>
                          <a:pt x="78" y="276"/>
                        </a:lnTo>
                        <a:lnTo>
                          <a:pt x="88" y="264"/>
                        </a:lnTo>
                        <a:lnTo>
                          <a:pt x="100" y="259"/>
                        </a:lnTo>
                        <a:lnTo>
                          <a:pt x="110" y="254"/>
                        </a:lnTo>
                        <a:lnTo>
                          <a:pt x="115" y="261"/>
                        </a:lnTo>
                        <a:lnTo>
                          <a:pt x="116" y="271"/>
                        </a:lnTo>
                        <a:lnTo>
                          <a:pt x="121" y="279"/>
                        </a:lnTo>
                        <a:lnTo>
                          <a:pt x="128" y="283"/>
                        </a:lnTo>
                        <a:lnTo>
                          <a:pt x="133" y="281"/>
                        </a:lnTo>
                        <a:lnTo>
                          <a:pt x="145" y="291"/>
                        </a:lnTo>
                        <a:lnTo>
                          <a:pt x="160" y="294"/>
                        </a:lnTo>
                        <a:lnTo>
                          <a:pt x="170" y="301"/>
                        </a:lnTo>
                        <a:lnTo>
                          <a:pt x="165" y="307"/>
                        </a:lnTo>
                        <a:lnTo>
                          <a:pt x="155" y="311"/>
                        </a:lnTo>
                        <a:lnTo>
                          <a:pt x="146" y="312"/>
                        </a:lnTo>
                        <a:lnTo>
                          <a:pt x="145" y="317"/>
                        </a:lnTo>
                        <a:lnTo>
                          <a:pt x="151" y="322"/>
                        </a:lnTo>
                        <a:lnTo>
                          <a:pt x="160" y="326"/>
                        </a:lnTo>
                        <a:lnTo>
                          <a:pt x="168" y="334"/>
                        </a:lnTo>
                        <a:lnTo>
                          <a:pt x="173" y="344"/>
                        </a:lnTo>
                        <a:lnTo>
                          <a:pt x="178" y="344"/>
                        </a:lnTo>
                        <a:lnTo>
                          <a:pt x="181" y="341"/>
                        </a:lnTo>
                        <a:lnTo>
                          <a:pt x="188" y="339"/>
                        </a:lnTo>
                        <a:lnTo>
                          <a:pt x="194" y="341"/>
                        </a:lnTo>
                        <a:lnTo>
                          <a:pt x="198" y="344"/>
                        </a:lnTo>
                        <a:lnTo>
                          <a:pt x="196" y="351"/>
                        </a:lnTo>
                        <a:lnTo>
                          <a:pt x="206" y="357"/>
                        </a:lnTo>
                        <a:lnTo>
                          <a:pt x="213" y="361"/>
                        </a:lnTo>
                        <a:lnTo>
                          <a:pt x="216" y="366"/>
                        </a:lnTo>
                        <a:lnTo>
                          <a:pt x="223" y="364"/>
                        </a:lnTo>
                        <a:lnTo>
                          <a:pt x="231" y="369"/>
                        </a:lnTo>
                        <a:lnTo>
                          <a:pt x="228" y="379"/>
                        </a:lnTo>
                        <a:lnTo>
                          <a:pt x="236" y="382"/>
                        </a:lnTo>
                        <a:lnTo>
                          <a:pt x="243" y="381"/>
                        </a:lnTo>
                        <a:lnTo>
                          <a:pt x="248" y="376"/>
                        </a:lnTo>
                        <a:lnTo>
                          <a:pt x="251" y="384"/>
                        </a:lnTo>
                        <a:lnTo>
                          <a:pt x="259" y="382"/>
                        </a:lnTo>
                        <a:lnTo>
                          <a:pt x="266" y="386"/>
                        </a:lnTo>
                        <a:lnTo>
                          <a:pt x="269" y="381"/>
                        </a:lnTo>
                        <a:lnTo>
                          <a:pt x="276" y="377"/>
                        </a:lnTo>
                        <a:lnTo>
                          <a:pt x="281" y="379"/>
                        </a:lnTo>
                        <a:lnTo>
                          <a:pt x="281" y="386"/>
                        </a:lnTo>
                        <a:lnTo>
                          <a:pt x="286" y="391"/>
                        </a:lnTo>
                        <a:lnTo>
                          <a:pt x="288" y="384"/>
                        </a:lnTo>
                        <a:lnTo>
                          <a:pt x="294" y="389"/>
                        </a:lnTo>
                        <a:lnTo>
                          <a:pt x="292" y="396"/>
                        </a:lnTo>
                        <a:lnTo>
                          <a:pt x="301" y="397"/>
                        </a:lnTo>
                        <a:lnTo>
                          <a:pt x="306" y="399"/>
                        </a:lnTo>
                        <a:lnTo>
                          <a:pt x="309" y="392"/>
                        </a:lnTo>
                        <a:lnTo>
                          <a:pt x="316" y="386"/>
                        </a:lnTo>
                        <a:lnTo>
                          <a:pt x="317" y="379"/>
                        </a:lnTo>
                        <a:lnTo>
                          <a:pt x="317" y="379"/>
                        </a:lnTo>
                        <a:lnTo>
                          <a:pt x="317" y="379"/>
                        </a:lnTo>
                        <a:close/>
                      </a:path>
                    </a:pathLst>
                  </a:custGeom>
                  <a:solidFill>
                    <a:srgbClr val="B79F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dirty="0">
                      <a:latin typeface="Proxima Nova A" panose="02000506030000020004" pitchFamily="2" charset="0"/>
                    </a:endParaRPr>
                  </a:p>
                </p:txBody>
              </p:sp>
              <p:sp>
                <p:nvSpPr>
                  <p:cNvPr id="150" name="Freeform 1064">
                    <a:extLst>
                      <a:ext uri="{FF2B5EF4-FFF2-40B4-BE49-F238E27FC236}">
                        <a16:creationId xmlns:a16="http://schemas.microsoft.com/office/drawing/2014/main" id="{A3E4F818-CCD8-4042-A8E3-30786EDBCD6F}"/>
                      </a:ext>
                    </a:extLst>
                  </p:cNvPr>
                  <p:cNvSpPr>
                    <a:spLocks/>
                  </p:cNvSpPr>
                  <p:nvPr/>
                </p:nvSpPr>
                <p:spPr bwMode="auto">
                  <a:xfrm>
                    <a:off x="3780454" y="2065215"/>
                    <a:ext cx="1346902" cy="1293081"/>
                  </a:xfrm>
                  <a:custGeom>
                    <a:avLst/>
                    <a:gdLst>
                      <a:gd name="T0" fmla="*/ 811 w 976"/>
                      <a:gd name="T1" fmla="*/ 425 h 937"/>
                      <a:gd name="T2" fmla="*/ 884 w 976"/>
                      <a:gd name="T3" fmla="*/ 468 h 937"/>
                      <a:gd name="T4" fmla="*/ 923 w 976"/>
                      <a:gd name="T5" fmla="*/ 501 h 937"/>
                      <a:gd name="T6" fmla="*/ 904 w 976"/>
                      <a:gd name="T7" fmla="*/ 536 h 937"/>
                      <a:gd name="T8" fmla="*/ 918 w 976"/>
                      <a:gd name="T9" fmla="*/ 579 h 937"/>
                      <a:gd name="T10" fmla="*/ 967 w 976"/>
                      <a:gd name="T11" fmla="*/ 648 h 937"/>
                      <a:gd name="T12" fmla="*/ 899 w 976"/>
                      <a:gd name="T13" fmla="*/ 681 h 937"/>
                      <a:gd name="T14" fmla="*/ 818 w 976"/>
                      <a:gd name="T15" fmla="*/ 744 h 937"/>
                      <a:gd name="T16" fmla="*/ 841 w 976"/>
                      <a:gd name="T17" fmla="*/ 825 h 937"/>
                      <a:gd name="T18" fmla="*/ 803 w 976"/>
                      <a:gd name="T19" fmla="*/ 917 h 937"/>
                      <a:gd name="T20" fmla="*/ 723 w 976"/>
                      <a:gd name="T21" fmla="*/ 895 h 937"/>
                      <a:gd name="T22" fmla="*/ 746 w 976"/>
                      <a:gd name="T23" fmla="*/ 837 h 937"/>
                      <a:gd name="T24" fmla="*/ 687 w 976"/>
                      <a:gd name="T25" fmla="*/ 835 h 937"/>
                      <a:gd name="T26" fmla="*/ 630 w 976"/>
                      <a:gd name="T27" fmla="*/ 797 h 937"/>
                      <a:gd name="T28" fmla="*/ 575 w 976"/>
                      <a:gd name="T29" fmla="*/ 747 h 937"/>
                      <a:gd name="T30" fmla="*/ 540 w 976"/>
                      <a:gd name="T31" fmla="*/ 759 h 937"/>
                      <a:gd name="T32" fmla="*/ 507 w 976"/>
                      <a:gd name="T33" fmla="*/ 789 h 937"/>
                      <a:gd name="T34" fmla="*/ 489 w 976"/>
                      <a:gd name="T35" fmla="*/ 754 h 937"/>
                      <a:gd name="T36" fmla="*/ 436 w 976"/>
                      <a:gd name="T37" fmla="*/ 777 h 937"/>
                      <a:gd name="T38" fmla="*/ 424 w 976"/>
                      <a:gd name="T39" fmla="*/ 769 h 937"/>
                      <a:gd name="T40" fmla="*/ 406 w 976"/>
                      <a:gd name="T41" fmla="*/ 721 h 937"/>
                      <a:gd name="T42" fmla="*/ 358 w 976"/>
                      <a:gd name="T43" fmla="*/ 764 h 937"/>
                      <a:gd name="T44" fmla="*/ 296 w 976"/>
                      <a:gd name="T45" fmla="*/ 771 h 937"/>
                      <a:gd name="T46" fmla="*/ 291 w 976"/>
                      <a:gd name="T47" fmla="*/ 732 h 937"/>
                      <a:gd name="T48" fmla="*/ 249 w 976"/>
                      <a:gd name="T49" fmla="*/ 749 h 937"/>
                      <a:gd name="T50" fmla="*/ 238 w 976"/>
                      <a:gd name="T51" fmla="*/ 732 h 937"/>
                      <a:gd name="T52" fmla="*/ 235 w 976"/>
                      <a:gd name="T53" fmla="*/ 709 h 937"/>
                      <a:gd name="T54" fmla="*/ 218 w 976"/>
                      <a:gd name="T55" fmla="*/ 714 h 937"/>
                      <a:gd name="T56" fmla="*/ 178 w 976"/>
                      <a:gd name="T57" fmla="*/ 729 h 937"/>
                      <a:gd name="T58" fmla="*/ 208 w 976"/>
                      <a:gd name="T59" fmla="*/ 791 h 937"/>
                      <a:gd name="T60" fmla="*/ 236 w 976"/>
                      <a:gd name="T61" fmla="*/ 837 h 937"/>
                      <a:gd name="T62" fmla="*/ 215 w 976"/>
                      <a:gd name="T63" fmla="*/ 887 h 937"/>
                      <a:gd name="T64" fmla="*/ 156 w 976"/>
                      <a:gd name="T65" fmla="*/ 854 h 937"/>
                      <a:gd name="T66" fmla="*/ 135 w 976"/>
                      <a:gd name="T67" fmla="*/ 792 h 937"/>
                      <a:gd name="T68" fmla="*/ 153 w 976"/>
                      <a:gd name="T69" fmla="*/ 722 h 937"/>
                      <a:gd name="T70" fmla="*/ 221 w 976"/>
                      <a:gd name="T71" fmla="*/ 674 h 937"/>
                      <a:gd name="T72" fmla="*/ 245 w 976"/>
                      <a:gd name="T73" fmla="*/ 621 h 937"/>
                      <a:gd name="T74" fmla="*/ 231 w 976"/>
                      <a:gd name="T75" fmla="*/ 530 h 937"/>
                      <a:gd name="T76" fmla="*/ 170 w 976"/>
                      <a:gd name="T77" fmla="*/ 515 h 937"/>
                      <a:gd name="T78" fmla="*/ 153 w 976"/>
                      <a:gd name="T79" fmla="*/ 500 h 937"/>
                      <a:gd name="T80" fmla="*/ 118 w 976"/>
                      <a:gd name="T81" fmla="*/ 513 h 937"/>
                      <a:gd name="T82" fmla="*/ 47 w 976"/>
                      <a:gd name="T83" fmla="*/ 523 h 937"/>
                      <a:gd name="T84" fmla="*/ 70 w 976"/>
                      <a:gd name="T85" fmla="*/ 490 h 937"/>
                      <a:gd name="T86" fmla="*/ 70 w 976"/>
                      <a:gd name="T87" fmla="*/ 443 h 937"/>
                      <a:gd name="T88" fmla="*/ 27 w 976"/>
                      <a:gd name="T89" fmla="*/ 368 h 937"/>
                      <a:gd name="T90" fmla="*/ 58 w 976"/>
                      <a:gd name="T91" fmla="*/ 294 h 937"/>
                      <a:gd name="T92" fmla="*/ 37 w 976"/>
                      <a:gd name="T93" fmla="*/ 237 h 937"/>
                      <a:gd name="T94" fmla="*/ 7 w 976"/>
                      <a:gd name="T95" fmla="*/ 176 h 937"/>
                      <a:gd name="T96" fmla="*/ 18 w 976"/>
                      <a:gd name="T97" fmla="*/ 71 h 937"/>
                      <a:gd name="T98" fmla="*/ 80 w 976"/>
                      <a:gd name="T99" fmla="*/ 0 h 937"/>
                      <a:gd name="T100" fmla="*/ 110 w 976"/>
                      <a:gd name="T101" fmla="*/ 113 h 937"/>
                      <a:gd name="T102" fmla="*/ 191 w 976"/>
                      <a:gd name="T103" fmla="*/ 119 h 937"/>
                      <a:gd name="T104" fmla="*/ 226 w 976"/>
                      <a:gd name="T105" fmla="*/ 162 h 937"/>
                      <a:gd name="T106" fmla="*/ 274 w 976"/>
                      <a:gd name="T107" fmla="*/ 196 h 937"/>
                      <a:gd name="T108" fmla="*/ 321 w 976"/>
                      <a:gd name="T109" fmla="*/ 222 h 937"/>
                      <a:gd name="T110" fmla="*/ 362 w 976"/>
                      <a:gd name="T111" fmla="*/ 234 h 937"/>
                      <a:gd name="T112" fmla="*/ 451 w 976"/>
                      <a:gd name="T113" fmla="*/ 259 h 937"/>
                      <a:gd name="T114" fmla="*/ 567 w 976"/>
                      <a:gd name="T115" fmla="*/ 324 h 937"/>
                      <a:gd name="T116" fmla="*/ 728 w 976"/>
                      <a:gd name="T117" fmla="*/ 393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76" h="937">
                        <a:moveTo>
                          <a:pt x="728" y="393"/>
                        </a:moveTo>
                        <a:lnTo>
                          <a:pt x="731" y="407"/>
                        </a:lnTo>
                        <a:lnTo>
                          <a:pt x="745" y="412"/>
                        </a:lnTo>
                        <a:lnTo>
                          <a:pt x="765" y="415"/>
                        </a:lnTo>
                        <a:lnTo>
                          <a:pt x="780" y="415"/>
                        </a:lnTo>
                        <a:lnTo>
                          <a:pt x="796" y="420"/>
                        </a:lnTo>
                        <a:lnTo>
                          <a:pt x="803" y="433"/>
                        </a:lnTo>
                        <a:lnTo>
                          <a:pt x="813" y="433"/>
                        </a:lnTo>
                        <a:lnTo>
                          <a:pt x="811" y="425"/>
                        </a:lnTo>
                        <a:lnTo>
                          <a:pt x="813" y="412"/>
                        </a:lnTo>
                        <a:lnTo>
                          <a:pt x="818" y="412"/>
                        </a:lnTo>
                        <a:lnTo>
                          <a:pt x="844" y="412"/>
                        </a:lnTo>
                        <a:lnTo>
                          <a:pt x="864" y="422"/>
                        </a:lnTo>
                        <a:lnTo>
                          <a:pt x="871" y="432"/>
                        </a:lnTo>
                        <a:lnTo>
                          <a:pt x="873" y="443"/>
                        </a:lnTo>
                        <a:lnTo>
                          <a:pt x="886" y="450"/>
                        </a:lnTo>
                        <a:lnTo>
                          <a:pt x="883" y="462"/>
                        </a:lnTo>
                        <a:lnTo>
                          <a:pt x="884" y="468"/>
                        </a:lnTo>
                        <a:lnTo>
                          <a:pt x="891" y="471"/>
                        </a:lnTo>
                        <a:lnTo>
                          <a:pt x="894" y="476"/>
                        </a:lnTo>
                        <a:lnTo>
                          <a:pt x="898" y="481"/>
                        </a:lnTo>
                        <a:lnTo>
                          <a:pt x="896" y="496"/>
                        </a:lnTo>
                        <a:lnTo>
                          <a:pt x="908" y="498"/>
                        </a:lnTo>
                        <a:lnTo>
                          <a:pt x="911" y="501"/>
                        </a:lnTo>
                        <a:lnTo>
                          <a:pt x="916" y="501"/>
                        </a:lnTo>
                        <a:lnTo>
                          <a:pt x="919" y="498"/>
                        </a:lnTo>
                        <a:lnTo>
                          <a:pt x="923" y="501"/>
                        </a:lnTo>
                        <a:lnTo>
                          <a:pt x="923" y="511"/>
                        </a:lnTo>
                        <a:lnTo>
                          <a:pt x="919" y="516"/>
                        </a:lnTo>
                        <a:lnTo>
                          <a:pt x="923" y="518"/>
                        </a:lnTo>
                        <a:lnTo>
                          <a:pt x="936" y="521"/>
                        </a:lnTo>
                        <a:lnTo>
                          <a:pt x="946" y="530"/>
                        </a:lnTo>
                        <a:lnTo>
                          <a:pt x="936" y="536"/>
                        </a:lnTo>
                        <a:lnTo>
                          <a:pt x="921" y="538"/>
                        </a:lnTo>
                        <a:lnTo>
                          <a:pt x="913" y="533"/>
                        </a:lnTo>
                        <a:lnTo>
                          <a:pt x="904" y="536"/>
                        </a:lnTo>
                        <a:lnTo>
                          <a:pt x="903" y="541"/>
                        </a:lnTo>
                        <a:lnTo>
                          <a:pt x="901" y="548"/>
                        </a:lnTo>
                        <a:lnTo>
                          <a:pt x="881" y="548"/>
                        </a:lnTo>
                        <a:lnTo>
                          <a:pt x="878" y="555"/>
                        </a:lnTo>
                        <a:lnTo>
                          <a:pt x="884" y="561"/>
                        </a:lnTo>
                        <a:lnTo>
                          <a:pt x="891" y="561"/>
                        </a:lnTo>
                        <a:lnTo>
                          <a:pt x="903" y="568"/>
                        </a:lnTo>
                        <a:lnTo>
                          <a:pt x="916" y="571"/>
                        </a:lnTo>
                        <a:lnTo>
                          <a:pt x="918" y="579"/>
                        </a:lnTo>
                        <a:lnTo>
                          <a:pt x="914" y="589"/>
                        </a:lnTo>
                        <a:lnTo>
                          <a:pt x="898" y="589"/>
                        </a:lnTo>
                        <a:lnTo>
                          <a:pt x="899" y="598"/>
                        </a:lnTo>
                        <a:lnTo>
                          <a:pt x="899" y="606"/>
                        </a:lnTo>
                        <a:lnTo>
                          <a:pt x="916" y="618"/>
                        </a:lnTo>
                        <a:lnTo>
                          <a:pt x="931" y="631"/>
                        </a:lnTo>
                        <a:lnTo>
                          <a:pt x="949" y="634"/>
                        </a:lnTo>
                        <a:lnTo>
                          <a:pt x="954" y="641"/>
                        </a:lnTo>
                        <a:lnTo>
                          <a:pt x="967" y="648"/>
                        </a:lnTo>
                        <a:lnTo>
                          <a:pt x="976" y="653"/>
                        </a:lnTo>
                        <a:lnTo>
                          <a:pt x="967" y="668"/>
                        </a:lnTo>
                        <a:lnTo>
                          <a:pt x="956" y="664"/>
                        </a:lnTo>
                        <a:lnTo>
                          <a:pt x="939" y="661"/>
                        </a:lnTo>
                        <a:lnTo>
                          <a:pt x="928" y="668"/>
                        </a:lnTo>
                        <a:lnTo>
                          <a:pt x="913" y="664"/>
                        </a:lnTo>
                        <a:lnTo>
                          <a:pt x="908" y="671"/>
                        </a:lnTo>
                        <a:lnTo>
                          <a:pt x="908" y="676"/>
                        </a:lnTo>
                        <a:lnTo>
                          <a:pt x="899" y="681"/>
                        </a:lnTo>
                        <a:lnTo>
                          <a:pt x="888" y="689"/>
                        </a:lnTo>
                        <a:lnTo>
                          <a:pt x="878" y="699"/>
                        </a:lnTo>
                        <a:lnTo>
                          <a:pt x="879" y="706"/>
                        </a:lnTo>
                        <a:lnTo>
                          <a:pt x="873" y="712"/>
                        </a:lnTo>
                        <a:lnTo>
                          <a:pt x="863" y="711"/>
                        </a:lnTo>
                        <a:lnTo>
                          <a:pt x="848" y="719"/>
                        </a:lnTo>
                        <a:lnTo>
                          <a:pt x="828" y="731"/>
                        </a:lnTo>
                        <a:lnTo>
                          <a:pt x="816" y="739"/>
                        </a:lnTo>
                        <a:lnTo>
                          <a:pt x="818" y="744"/>
                        </a:lnTo>
                        <a:lnTo>
                          <a:pt x="815" y="754"/>
                        </a:lnTo>
                        <a:lnTo>
                          <a:pt x="810" y="766"/>
                        </a:lnTo>
                        <a:lnTo>
                          <a:pt x="815" y="779"/>
                        </a:lnTo>
                        <a:lnTo>
                          <a:pt x="819" y="792"/>
                        </a:lnTo>
                        <a:lnTo>
                          <a:pt x="823" y="802"/>
                        </a:lnTo>
                        <a:lnTo>
                          <a:pt x="829" y="809"/>
                        </a:lnTo>
                        <a:lnTo>
                          <a:pt x="836" y="814"/>
                        </a:lnTo>
                        <a:lnTo>
                          <a:pt x="836" y="820"/>
                        </a:lnTo>
                        <a:lnTo>
                          <a:pt x="841" y="825"/>
                        </a:lnTo>
                        <a:lnTo>
                          <a:pt x="838" y="837"/>
                        </a:lnTo>
                        <a:lnTo>
                          <a:pt x="833" y="840"/>
                        </a:lnTo>
                        <a:lnTo>
                          <a:pt x="823" y="849"/>
                        </a:lnTo>
                        <a:lnTo>
                          <a:pt x="831" y="860"/>
                        </a:lnTo>
                        <a:lnTo>
                          <a:pt x="824" y="870"/>
                        </a:lnTo>
                        <a:lnTo>
                          <a:pt x="821" y="885"/>
                        </a:lnTo>
                        <a:lnTo>
                          <a:pt x="819" y="899"/>
                        </a:lnTo>
                        <a:lnTo>
                          <a:pt x="813" y="908"/>
                        </a:lnTo>
                        <a:lnTo>
                          <a:pt x="803" y="917"/>
                        </a:lnTo>
                        <a:lnTo>
                          <a:pt x="800" y="927"/>
                        </a:lnTo>
                        <a:lnTo>
                          <a:pt x="790" y="935"/>
                        </a:lnTo>
                        <a:lnTo>
                          <a:pt x="775" y="937"/>
                        </a:lnTo>
                        <a:lnTo>
                          <a:pt x="761" y="935"/>
                        </a:lnTo>
                        <a:lnTo>
                          <a:pt x="750" y="925"/>
                        </a:lnTo>
                        <a:lnTo>
                          <a:pt x="741" y="915"/>
                        </a:lnTo>
                        <a:lnTo>
                          <a:pt x="736" y="908"/>
                        </a:lnTo>
                        <a:lnTo>
                          <a:pt x="725" y="902"/>
                        </a:lnTo>
                        <a:lnTo>
                          <a:pt x="723" y="895"/>
                        </a:lnTo>
                        <a:lnTo>
                          <a:pt x="736" y="895"/>
                        </a:lnTo>
                        <a:lnTo>
                          <a:pt x="733" y="885"/>
                        </a:lnTo>
                        <a:lnTo>
                          <a:pt x="743" y="875"/>
                        </a:lnTo>
                        <a:lnTo>
                          <a:pt x="740" y="865"/>
                        </a:lnTo>
                        <a:lnTo>
                          <a:pt x="733" y="864"/>
                        </a:lnTo>
                        <a:lnTo>
                          <a:pt x="730" y="852"/>
                        </a:lnTo>
                        <a:lnTo>
                          <a:pt x="733" y="840"/>
                        </a:lnTo>
                        <a:lnTo>
                          <a:pt x="740" y="842"/>
                        </a:lnTo>
                        <a:lnTo>
                          <a:pt x="746" y="837"/>
                        </a:lnTo>
                        <a:lnTo>
                          <a:pt x="738" y="827"/>
                        </a:lnTo>
                        <a:lnTo>
                          <a:pt x="730" y="825"/>
                        </a:lnTo>
                        <a:lnTo>
                          <a:pt x="728" y="819"/>
                        </a:lnTo>
                        <a:lnTo>
                          <a:pt x="718" y="822"/>
                        </a:lnTo>
                        <a:lnTo>
                          <a:pt x="705" y="824"/>
                        </a:lnTo>
                        <a:lnTo>
                          <a:pt x="695" y="820"/>
                        </a:lnTo>
                        <a:lnTo>
                          <a:pt x="690" y="825"/>
                        </a:lnTo>
                        <a:lnTo>
                          <a:pt x="692" y="830"/>
                        </a:lnTo>
                        <a:lnTo>
                          <a:pt x="687" y="835"/>
                        </a:lnTo>
                        <a:lnTo>
                          <a:pt x="682" y="829"/>
                        </a:lnTo>
                        <a:lnTo>
                          <a:pt x="677" y="820"/>
                        </a:lnTo>
                        <a:lnTo>
                          <a:pt x="670" y="825"/>
                        </a:lnTo>
                        <a:lnTo>
                          <a:pt x="668" y="820"/>
                        </a:lnTo>
                        <a:lnTo>
                          <a:pt x="673" y="812"/>
                        </a:lnTo>
                        <a:lnTo>
                          <a:pt x="667" y="814"/>
                        </a:lnTo>
                        <a:lnTo>
                          <a:pt x="662" y="807"/>
                        </a:lnTo>
                        <a:lnTo>
                          <a:pt x="648" y="800"/>
                        </a:lnTo>
                        <a:lnTo>
                          <a:pt x="630" y="797"/>
                        </a:lnTo>
                        <a:lnTo>
                          <a:pt x="625" y="787"/>
                        </a:lnTo>
                        <a:lnTo>
                          <a:pt x="627" y="777"/>
                        </a:lnTo>
                        <a:lnTo>
                          <a:pt x="612" y="772"/>
                        </a:lnTo>
                        <a:lnTo>
                          <a:pt x="597" y="771"/>
                        </a:lnTo>
                        <a:lnTo>
                          <a:pt x="592" y="766"/>
                        </a:lnTo>
                        <a:lnTo>
                          <a:pt x="584" y="767"/>
                        </a:lnTo>
                        <a:lnTo>
                          <a:pt x="585" y="759"/>
                        </a:lnTo>
                        <a:lnTo>
                          <a:pt x="589" y="751"/>
                        </a:lnTo>
                        <a:lnTo>
                          <a:pt x="575" y="747"/>
                        </a:lnTo>
                        <a:lnTo>
                          <a:pt x="570" y="751"/>
                        </a:lnTo>
                        <a:lnTo>
                          <a:pt x="569" y="757"/>
                        </a:lnTo>
                        <a:lnTo>
                          <a:pt x="574" y="761"/>
                        </a:lnTo>
                        <a:lnTo>
                          <a:pt x="567" y="767"/>
                        </a:lnTo>
                        <a:lnTo>
                          <a:pt x="559" y="766"/>
                        </a:lnTo>
                        <a:lnTo>
                          <a:pt x="564" y="759"/>
                        </a:lnTo>
                        <a:lnTo>
                          <a:pt x="557" y="754"/>
                        </a:lnTo>
                        <a:lnTo>
                          <a:pt x="544" y="754"/>
                        </a:lnTo>
                        <a:lnTo>
                          <a:pt x="540" y="759"/>
                        </a:lnTo>
                        <a:lnTo>
                          <a:pt x="542" y="767"/>
                        </a:lnTo>
                        <a:lnTo>
                          <a:pt x="537" y="781"/>
                        </a:lnTo>
                        <a:lnTo>
                          <a:pt x="537" y="789"/>
                        </a:lnTo>
                        <a:lnTo>
                          <a:pt x="532" y="787"/>
                        </a:lnTo>
                        <a:lnTo>
                          <a:pt x="525" y="787"/>
                        </a:lnTo>
                        <a:lnTo>
                          <a:pt x="525" y="792"/>
                        </a:lnTo>
                        <a:lnTo>
                          <a:pt x="520" y="792"/>
                        </a:lnTo>
                        <a:lnTo>
                          <a:pt x="514" y="786"/>
                        </a:lnTo>
                        <a:lnTo>
                          <a:pt x="507" y="789"/>
                        </a:lnTo>
                        <a:lnTo>
                          <a:pt x="500" y="787"/>
                        </a:lnTo>
                        <a:lnTo>
                          <a:pt x="490" y="789"/>
                        </a:lnTo>
                        <a:lnTo>
                          <a:pt x="480" y="791"/>
                        </a:lnTo>
                        <a:lnTo>
                          <a:pt x="484" y="786"/>
                        </a:lnTo>
                        <a:lnTo>
                          <a:pt x="490" y="776"/>
                        </a:lnTo>
                        <a:lnTo>
                          <a:pt x="494" y="769"/>
                        </a:lnTo>
                        <a:lnTo>
                          <a:pt x="495" y="754"/>
                        </a:lnTo>
                        <a:lnTo>
                          <a:pt x="490" y="751"/>
                        </a:lnTo>
                        <a:lnTo>
                          <a:pt x="489" y="754"/>
                        </a:lnTo>
                        <a:lnTo>
                          <a:pt x="485" y="759"/>
                        </a:lnTo>
                        <a:lnTo>
                          <a:pt x="479" y="759"/>
                        </a:lnTo>
                        <a:lnTo>
                          <a:pt x="469" y="762"/>
                        </a:lnTo>
                        <a:lnTo>
                          <a:pt x="459" y="762"/>
                        </a:lnTo>
                        <a:lnTo>
                          <a:pt x="454" y="767"/>
                        </a:lnTo>
                        <a:lnTo>
                          <a:pt x="449" y="772"/>
                        </a:lnTo>
                        <a:lnTo>
                          <a:pt x="442" y="777"/>
                        </a:lnTo>
                        <a:lnTo>
                          <a:pt x="434" y="781"/>
                        </a:lnTo>
                        <a:lnTo>
                          <a:pt x="436" y="777"/>
                        </a:lnTo>
                        <a:lnTo>
                          <a:pt x="439" y="772"/>
                        </a:lnTo>
                        <a:lnTo>
                          <a:pt x="434" y="769"/>
                        </a:lnTo>
                        <a:lnTo>
                          <a:pt x="429" y="772"/>
                        </a:lnTo>
                        <a:lnTo>
                          <a:pt x="431" y="776"/>
                        </a:lnTo>
                        <a:lnTo>
                          <a:pt x="422" y="777"/>
                        </a:lnTo>
                        <a:lnTo>
                          <a:pt x="414" y="777"/>
                        </a:lnTo>
                        <a:lnTo>
                          <a:pt x="411" y="771"/>
                        </a:lnTo>
                        <a:lnTo>
                          <a:pt x="417" y="769"/>
                        </a:lnTo>
                        <a:lnTo>
                          <a:pt x="424" y="769"/>
                        </a:lnTo>
                        <a:lnTo>
                          <a:pt x="421" y="761"/>
                        </a:lnTo>
                        <a:lnTo>
                          <a:pt x="426" y="757"/>
                        </a:lnTo>
                        <a:lnTo>
                          <a:pt x="432" y="749"/>
                        </a:lnTo>
                        <a:lnTo>
                          <a:pt x="432" y="744"/>
                        </a:lnTo>
                        <a:lnTo>
                          <a:pt x="424" y="742"/>
                        </a:lnTo>
                        <a:lnTo>
                          <a:pt x="419" y="734"/>
                        </a:lnTo>
                        <a:lnTo>
                          <a:pt x="417" y="726"/>
                        </a:lnTo>
                        <a:lnTo>
                          <a:pt x="419" y="717"/>
                        </a:lnTo>
                        <a:lnTo>
                          <a:pt x="406" y="721"/>
                        </a:lnTo>
                        <a:lnTo>
                          <a:pt x="394" y="729"/>
                        </a:lnTo>
                        <a:lnTo>
                          <a:pt x="382" y="729"/>
                        </a:lnTo>
                        <a:lnTo>
                          <a:pt x="377" y="739"/>
                        </a:lnTo>
                        <a:lnTo>
                          <a:pt x="369" y="739"/>
                        </a:lnTo>
                        <a:lnTo>
                          <a:pt x="364" y="746"/>
                        </a:lnTo>
                        <a:lnTo>
                          <a:pt x="356" y="746"/>
                        </a:lnTo>
                        <a:lnTo>
                          <a:pt x="358" y="751"/>
                        </a:lnTo>
                        <a:lnTo>
                          <a:pt x="359" y="757"/>
                        </a:lnTo>
                        <a:lnTo>
                          <a:pt x="358" y="764"/>
                        </a:lnTo>
                        <a:lnTo>
                          <a:pt x="351" y="759"/>
                        </a:lnTo>
                        <a:lnTo>
                          <a:pt x="341" y="759"/>
                        </a:lnTo>
                        <a:lnTo>
                          <a:pt x="328" y="757"/>
                        </a:lnTo>
                        <a:lnTo>
                          <a:pt x="321" y="756"/>
                        </a:lnTo>
                        <a:lnTo>
                          <a:pt x="318" y="761"/>
                        </a:lnTo>
                        <a:lnTo>
                          <a:pt x="311" y="766"/>
                        </a:lnTo>
                        <a:lnTo>
                          <a:pt x="306" y="759"/>
                        </a:lnTo>
                        <a:lnTo>
                          <a:pt x="301" y="762"/>
                        </a:lnTo>
                        <a:lnTo>
                          <a:pt x="296" y="771"/>
                        </a:lnTo>
                        <a:lnTo>
                          <a:pt x="293" y="766"/>
                        </a:lnTo>
                        <a:lnTo>
                          <a:pt x="296" y="761"/>
                        </a:lnTo>
                        <a:lnTo>
                          <a:pt x="298" y="752"/>
                        </a:lnTo>
                        <a:lnTo>
                          <a:pt x="304" y="749"/>
                        </a:lnTo>
                        <a:lnTo>
                          <a:pt x="309" y="741"/>
                        </a:lnTo>
                        <a:lnTo>
                          <a:pt x="306" y="736"/>
                        </a:lnTo>
                        <a:lnTo>
                          <a:pt x="303" y="741"/>
                        </a:lnTo>
                        <a:lnTo>
                          <a:pt x="296" y="739"/>
                        </a:lnTo>
                        <a:lnTo>
                          <a:pt x="291" y="732"/>
                        </a:lnTo>
                        <a:lnTo>
                          <a:pt x="286" y="736"/>
                        </a:lnTo>
                        <a:lnTo>
                          <a:pt x="288" y="744"/>
                        </a:lnTo>
                        <a:lnTo>
                          <a:pt x="283" y="749"/>
                        </a:lnTo>
                        <a:lnTo>
                          <a:pt x="286" y="751"/>
                        </a:lnTo>
                        <a:lnTo>
                          <a:pt x="281" y="759"/>
                        </a:lnTo>
                        <a:lnTo>
                          <a:pt x="264" y="761"/>
                        </a:lnTo>
                        <a:lnTo>
                          <a:pt x="259" y="752"/>
                        </a:lnTo>
                        <a:lnTo>
                          <a:pt x="253" y="754"/>
                        </a:lnTo>
                        <a:lnTo>
                          <a:pt x="249" y="749"/>
                        </a:lnTo>
                        <a:lnTo>
                          <a:pt x="254" y="746"/>
                        </a:lnTo>
                        <a:lnTo>
                          <a:pt x="249" y="742"/>
                        </a:lnTo>
                        <a:lnTo>
                          <a:pt x="245" y="744"/>
                        </a:lnTo>
                        <a:lnTo>
                          <a:pt x="243" y="739"/>
                        </a:lnTo>
                        <a:lnTo>
                          <a:pt x="235" y="746"/>
                        </a:lnTo>
                        <a:lnTo>
                          <a:pt x="231" y="749"/>
                        </a:lnTo>
                        <a:lnTo>
                          <a:pt x="228" y="744"/>
                        </a:lnTo>
                        <a:lnTo>
                          <a:pt x="233" y="739"/>
                        </a:lnTo>
                        <a:lnTo>
                          <a:pt x="238" y="732"/>
                        </a:lnTo>
                        <a:lnTo>
                          <a:pt x="231" y="727"/>
                        </a:lnTo>
                        <a:lnTo>
                          <a:pt x="226" y="734"/>
                        </a:lnTo>
                        <a:lnTo>
                          <a:pt x="223" y="739"/>
                        </a:lnTo>
                        <a:lnTo>
                          <a:pt x="220" y="734"/>
                        </a:lnTo>
                        <a:lnTo>
                          <a:pt x="226" y="726"/>
                        </a:lnTo>
                        <a:lnTo>
                          <a:pt x="235" y="719"/>
                        </a:lnTo>
                        <a:lnTo>
                          <a:pt x="241" y="721"/>
                        </a:lnTo>
                        <a:lnTo>
                          <a:pt x="241" y="714"/>
                        </a:lnTo>
                        <a:lnTo>
                          <a:pt x="235" y="709"/>
                        </a:lnTo>
                        <a:lnTo>
                          <a:pt x="236" y="701"/>
                        </a:lnTo>
                        <a:lnTo>
                          <a:pt x="230" y="694"/>
                        </a:lnTo>
                        <a:lnTo>
                          <a:pt x="228" y="701"/>
                        </a:lnTo>
                        <a:lnTo>
                          <a:pt x="226" y="706"/>
                        </a:lnTo>
                        <a:lnTo>
                          <a:pt x="225" y="711"/>
                        </a:lnTo>
                        <a:lnTo>
                          <a:pt x="221" y="706"/>
                        </a:lnTo>
                        <a:lnTo>
                          <a:pt x="216" y="706"/>
                        </a:lnTo>
                        <a:lnTo>
                          <a:pt x="215" y="711"/>
                        </a:lnTo>
                        <a:lnTo>
                          <a:pt x="218" y="714"/>
                        </a:lnTo>
                        <a:lnTo>
                          <a:pt x="215" y="719"/>
                        </a:lnTo>
                        <a:lnTo>
                          <a:pt x="208" y="726"/>
                        </a:lnTo>
                        <a:lnTo>
                          <a:pt x="200" y="721"/>
                        </a:lnTo>
                        <a:lnTo>
                          <a:pt x="205" y="716"/>
                        </a:lnTo>
                        <a:lnTo>
                          <a:pt x="205" y="709"/>
                        </a:lnTo>
                        <a:lnTo>
                          <a:pt x="190" y="719"/>
                        </a:lnTo>
                        <a:lnTo>
                          <a:pt x="191" y="726"/>
                        </a:lnTo>
                        <a:lnTo>
                          <a:pt x="186" y="731"/>
                        </a:lnTo>
                        <a:lnTo>
                          <a:pt x="178" y="729"/>
                        </a:lnTo>
                        <a:lnTo>
                          <a:pt x="175" y="734"/>
                        </a:lnTo>
                        <a:lnTo>
                          <a:pt x="178" y="736"/>
                        </a:lnTo>
                        <a:lnTo>
                          <a:pt x="190" y="736"/>
                        </a:lnTo>
                        <a:lnTo>
                          <a:pt x="195" y="747"/>
                        </a:lnTo>
                        <a:lnTo>
                          <a:pt x="193" y="754"/>
                        </a:lnTo>
                        <a:lnTo>
                          <a:pt x="195" y="757"/>
                        </a:lnTo>
                        <a:lnTo>
                          <a:pt x="198" y="771"/>
                        </a:lnTo>
                        <a:lnTo>
                          <a:pt x="201" y="784"/>
                        </a:lnTo>
                        <a:lnTo>
                          <a:pt x="208" y="791"/>
                        </a:lnTo>
                        <a:lnTo>
                          <a:pt x="215" y="797"/>
                        </a:lnTo>
                        <a:lnTo>
                          <a:pt x="215" y="807"/>
                        </a:lnTo>
                        <a:lnTo>
                          <a:pt x="215" y="814"/>
                        </a:lnTo>
                        <a:lnTo>
                          <a:pt x="221" y="819"/>
                        </a:lnTo>
                        <a:lnTo>
                          <a:pt x="216" y="824"/>
                        </a:lnTo>
                        <a:lnTo>
                          <a:pt x="211" y="829"/>
                        </a:lnTo>
                        <a:lnTo>
                          <a:pt x="218" y="834"/>
                        </a:lnTo>
                        <a:lnTo>
                          <a:pt x="230" y="829"/>
                        </a:lnTo>
                        <a:lnTo>
                          <a:pt x="236" y="837"/>
                        </a:lnTo>
                        <a:lnTo>
                          <a:pt x="240" y="844"/>
                        </a:lnTo>
                        <a:lnTo>
                          <a:pt x="231" y="849"/>
                        </a:lnTo>
                        <a:lnTo>
                          <a:pt x="235" y="855"/>
                        </a:lnTo>
                        <a:lnTo>
                          <a:pt x="243" y="857"/>
                        </a:lnTo>
                        <a:lnTo>
                          <a:pt x="243" y="870"/>
                        </a:lnTo>
                        <a:lnTo>
                          <a:pt x="235" y="880"/>
                        </a:lnTo>
                        <a:lnTo>
                          <a:pt x="226" y="885"/>
                        </a:lnTo>
                        <a:lnTo>
                          <a:pt x="220" y="890"/>
                        </a:lnTo>
                        <a:lnTo>
                          <a:pt x="215" y="887"/>
                        </a:lnTo>
                        <a:lnTo>
                          <a:pt x="206" y="889"/>
                        </a:lnTo>
                        <a:lnTo>
                          <a:pt x="203" y="882"/>
                        </a:lnTo>
                        <a:lnTo>
                          <a:pt x="188" y="867"/>
                        </a:lnTo>
                        <a:lnTo>
                          <a:pt x="185" y="864"/>
                        </a:lnTo>
                        <a:lnTo>
                          <a:pt x="180" y="867"/>
                        </a:lnTo>
                        <a:lnTo>
                          <a:pt x="165" y="879"/>
                        </a:lnTo>
                        <a:lnTo>
                          <a:pt x="156" y="870"/>
                        </a:lnTo>
                        <a:lnTo>
                          <a:pt x="158" y="865"/>
                        </a:lnTo>
                        <a:lnTo>
                          <a:pt x="156" y="854"/>
                        </a:lnTo>
                        <a:lnTo>
                          <a:pt x="151" y="854"/>
                        </a:lnTo>
                        <a:lnTo>
                          <a:pt x="146" y="847"/>
                        </a:lnTo>
                        <a:lnTo>
                          <a:pt x="143" y="842"/>
                        </a:lnTo>
                        <a:lnTo>
                          <a:pt x="146" y="835"/>
                        </a:lnTo>
                        <a:lnTo>
                          <a:pt x="151" y="824"/>
                        </a:lnTo>
                        <a:lnTo>
                          <a:pt x="146" y="814"/>
                        </a:lnTo>
                        <a:lnTo>
                          <a:pt x="145" y="804"/>
                        </a:lnTo>
                        <a:lnTo>
                          <a:pt x="140" y="799"/>
                        </a:lnTo>
                        <a:lnTo>
                          <a:pt x="135" y="792"/>
                        </a:lnTo>
                        <a:lnTo>
                          <a:pt x="156" y="774"/>
                        </a:lnTo>
                        <a:lnTo>
                          <a:pt x="158" y="764"/>
                        </a:lnTo>
                        <a:lnTo>
                          <a:pt x="163" y="754"/>
                        </a:lnTo>
                        <a:lnTo>
                          <a:pt x="173" y="752"/>
                        </a:lnTo>
                        <a:lnTo>
                          <a:pt x="165" y="746"/>
                        </a:lnTo>
                        <a:lnTo>
                          <a:pt x="165" y="739"/>
                        </a:lnTo>
                        <a:lnTo>
                          <a:pt x="155" y="732"/>
                        </a:lnTo>
                        <a:lnTo>
                          <a:pt x="160" y="727"/>
                        </a:lnTo>
                        <a:lnTo>
                          <a:pt x="153" y="722"/>
                        </a:lnTo>
                        <a:lnTo>
                          <a:pt x="160" y="711"/>
                        </a:lnTo>
                        <a:lnTo>
                          <a:pt x="168" y="704"/>
                        </a:lnTo>
                        <a:lnTo>
                          <a:pt x="166" y="699"/>
                        </a:lnTo>
                        <a:lnTo>
                          <a:pt x="178" y="694"/>
                        </a:lnTo>
                        <a:lnTo>
                          <a:pt x="190" y="697"/>
                        </a:lnTo>
                        <a:lnTo>
                          <a:pt x="200" y="692"/>
                        </a:lnTo>
                        <a:lnTo>
                          <a:pt x="211" y="687"/>
                        </a:lnTo>
                        <a:lnTo>
                          <a:pt x="223" y="683"/>
                        </a:lnTo>
                        <a:lnTo>
                          <a:pt x="221" y="674"/>
                        </a:lnTo>
                        <a:lnTo>
                          <a:pt x="218" y="664"/>
                        </a:lnTo>
                        <a:lnTo>
                          <a:pt x="228" y="666"/>
                        </a:lnTo>
                        <a:lnTo>
                          <a:pt x="233" y="661"/>
                        </a:lnTo>
                        <a:lnTo>
                          <a:pt x="230" y="658"/>
                        </a:lnTo>
                        <a:lnTo>
                          <a:pt x="233" y="651"/>
                        </a:lnTo>
                        <a:lnTo>
                          <a:pt x="240" y="641"/>
                        </a:lnTo>
                        <a:lnTo>
                          <a:pt x="245" y="629"/>
                        </a:lnTo>
                        <a:lnTo>
                          <a:pt x="251" y="624"/>
                        </a:lnTo>
                        <a:lnTo>
                          <a:pt x="245" y="621"/>
                        </a:lnTo>
                        <a:lnTo>
                          <a:pt x="240" y="614"/>
                        </a:lnTo>
                        <a:lnTo>
                          <a:pt x="249" y="613"/>
                        </a:lnTo>
                        <a:lnTo>
                          <a:pt x="249" y="604"/>
                        </a:lnTo>
                        <a:lnTo>
                          <a:pt x="264" y="591"/>
                        </a:lnTo>
                        <a:lnTo>
                          <a:pt x="261" y="581"/>
                        </a:lnTo>
                        <a:lnTo>
                          <a:pt x="256" y="568"/>
                        </a:lnTo>
                        <a:lnTo>
                          <a:pt x="246" y="538"/>
                        </a:lnTo>
                        <a:lnTo>
                          <a:pt x="240" y="533"/>
                        </a:lnTo>
                        <a:lnTo>
                          <a:pt x="231" y="530"/>
                        </a:lnTo>
                        <a:lnTo>
                          <a:pt x="226" y="525"/>
                        </a:lnTo>
                        <a:lnTo>
                          <a:pt x="220" y="520"/>
                        </a:lnTo>
                        <a:lnTo>
                          <a:pt x="211" y="516"/>
                        </a:lnTo>
                        <a:lnTo>
                          <a:pt x="203" y="518"/>
                        </a:lnTo>
                        <a:lnTo>
                          <a:pt x="193" y="521"/>
                        </a:lnTo>
                        <a:lnTo>
                          <a:pt x="188" y="520"/>
                        </a:lnTo>
                        <a:lnTo>
                          <a:pt x="183" y="520"/>
                        </a:lnTo>
                        <a:lnTo>
                          <a:pt x="176" y="515"/>
                        </a:lnTo>
                        <a:lnTo>
                          <a:pt x="170" y="515"/>
                        </a:lnTo>
                        <a:lnTo>
                          <a:pt x="170" y="510"/>
                        </a:lnTo>
                        <a:lnTo>
                          <a:pt x="165" y="505"/>
                        </a:lnTo>
                        <a:lnTo>
                          <a:pt x="156" y="513"/>
                        </a:lnTo>
                        <a:lnTo>
                          <a:pt x="150" y="516"/>
                        </a:lnTo>
                        <a:lnTo>
                          <a:pt x="143" y="518"/>
                        </a:lnTo>
                        <a:lnTo>
                          <a:pt x="143" y="513"/>
                        </a:lnTo>
                        <a:lnTo>
                          <a:pt x="150" y="508"/>
                        </a:lnTo>
                        <a:lnTo>
                          <a:pt x="153" y="505"/>
                        </a:lnTo>
                        <a:lnTo>
                          <a:pt x="153" y="500"/>
                        </a:lnTo>
                        <a:lnTo>
                          <a:pt x="148" y="498"/>
                        </a:lnTo>
                        <a:lnTo>
                          <a:pt x="143" y="498"/>
                        </a:lnTo>
                        <a:lnTo>
                          <a:pt x="138" y="496"/>
                        </a:lnTo>
                        <a:lnTo>
                          <a:pt x="128" y="496"/>
                        </a:lnTo>
                        <a:lnTo>
                          <a:pt x="128" y="501"/>
                        </a:lnTo>
                        <a:lnTo>
                          <a:pt x="133" y="503"/>
                        </a:lnTo>
                        <a:lnTo>
                          <a:pt x="127" y="508"/>
                        </a:lnTo>
                        <a:lnTo>
                          <a:pt x="123" y="515"/>
                        </a:lnTo>
                        <a:lnTo>
                          <a:pt x="118" y="513"/>
                        </a:lnTo>
                        <a:lnTo>
                          <a:pt x="120" y="505"/>
                        </a:lnTo>
                        <a:lnTo>
                          <a:pt x="107" y="508"/>
                        </a:lnTo>
                        <a:lnTo>
                          <a:pt x="98" y="505"/>
                        </a:lnTo>
                        <a:lnTo>
                          <a:pt x="88" y="500"/>
                        </a:lnTo>
                        <a:lnTo>
                          <a:pt x="75" y="510"/>
                        </a:lnTo>
                        <a:lnTo>
                          <a:pt x="62" y="515"/>
                        </a:lnTo>
                        <a:lnTo>
                          <a:pt x="52" y="513"/>
                        </a:lnTo>
                        <a:lnTo>
                          <a:pt x="53" y="523"/>
                        </a:lnTo>
                        <a:lnTo>
                          <a:pt x="47" y="523"/>
                        </a:lnTo>
                        <a:lnTo>
                          <a:pt x="43" y="516"/>
                        </a:lnTo>
                        <a:lnTo>
                          <a:pt x="45" y="511"/>
                        </a:lnTo>
                        <a:lnTo>
                          <a:pt x="52" y="503"/>
                        </a:lnTo>
                        <a:lnTo>
                          <a:pt x="68" y="496"/>
                        </a:lnTo>
                        <a:lnTo>
                          <a:pt x="83" y="495"/>
                        </a:lnTo>
                        <a:lnTo>
                          <a:pt x="85" y="486"/>
                        </a:lnTo>
                        <a:lnTo>
                          <a:pt x="82" y="483"/>
                        </a:lnTo>
                        <a:lnTo>
                          <a:pt x="75" y="485"/>
                        </a:lnTo>
                        <a:lnTo>
                          <a:pt x="70" y="490"/>
                        </a:lnTo>
                        <a:lnTo>
                          <a:pt x="62" y="485"/>
                        </a:lnTo>
                        <a:lnTo>
                          <a:pt x="57" y="480"/>
                        </a:lnTo>
                        <a:lnTo>
                          <a:pt x="55" y="471"/>
                        </a:lnTo>
                        <a:lnTo>
                          <a:pt x="62" y="473"/>
                        </a:lnTo>
                        <a:lnTo>
                          <a:pt x="67" y="473"/>
                        </a:lnTo>
                        <a:lnTo>
                          <a:pt x="75" y="460"/>
                        </a:lnTo>
                        <a:lnTo>
                          <a:pt x="70" y="457"/>
                        </a:lnTo>
                        <a:lnTo>
                          <a:pt x="65" y="455"/>
                        </a:lnTo>
                        <a:lnTo>
                          <a:pt x="70" y="443"/>
                        </a:lnTo>
                        <a:lnTo>
                          <a:pt x="63" y="443"/>
                        </a:lnTo>
                        <a:lnTo>
                          <a:pt x="57" y="438"/>
                        </a:lnTo>
                        <a:lnTo>
                          <a:pt x="48" y="432"/>
                        </a:lnTo>
                        <a:lnTo>
                          <a:pt x="43" y="422"/>
                        </a:lnTo>
                        <a:lnTo>
                          <a:pt x="38" y="413"/>
                        </a:lnTo>
                        <a:lnTo>
                          <a:pt x="30" y="402"/>
                        </a:lnTo>
                        <a:lnTo>
                          <a:pt x="33" y="388"/>
                        </a:lnTo>
                        <a:lnTo>
                          <a:pt x="30" y="378"/>
                        </a:lnTo>
                        <a:lnTo>
                          <a:pt x="27" y="368"/>
                        </a:lnTo>
                        <a:lnTo>
                          <a:pt x="43" y="360"/>
                        </a:lnTo>
                        <a:lnTo>
                          <a:pt x="50" y="359"/>
                        </a:lnTo>
                        <a:lnTo>
                          <a:pt x="53" y="345"/>
                        </a:lnTo>
                        <a:lnTo>
                          <a:pt x="47" y="335"/>
                        </a:lnTo>
                        <a:lnTo>
                          <a:pt x="55" y="327"/>
                        </a:lnTo>
                        <a:lnTo>
                          <a:pt x="57" y="322"/>
                        </a:lnTo>
                        <a:lnTo>
                          <a:pt x="65" y="317"/>
                        </a:lnTo>
                        <a:lnTo>
                          <a:pt x="57" y="312"/>
                        </a:lnTo>
                        <a:lnTo>
                          <a:pt x="58" y="294"/>
                        </a:lnTo>
                        <a:lnTo>
                          <a:pt x="55" y="282"/>
                        </a:lnTo>
                        <a:lnTo>
                          <a:pt x="43" y="282"/>
                        </a:lnTo>
                        <a:lnTo>
                          <a:pt x="38" y="280"/>
                        </a:lnTo>
                        <a:lnTo>
                          <a:pt x="38" y="272"/>
                        </a:lnTo>
                        <a:lnTo>
                          <a:pt x="33" y="270"/>
                        </a:lnTo>
                        <a:lnTo>
                          <a:pt x="33" y="265"/>
                        </a:lnTo>
                        <a:lnTo>
                          <a:pt x="37" y="252"/>
                        </a:lnTo>
                        <a:lnTo>
                          <a:pt x="38" y="246"/>
                        </a:lnTo>
                        <a:lnTo>
                          <a:pt x="37" y="237"/>
                        </a:lnTo>
                        <a:lnTo>
                          <a:pt x="28" y="237"/>
                        </a:lnTo>
                        <a:lnTo>
                          <a:pt x="25" y="231"/>
                        </a:lnTo>
                        <a:lnTo>
                          <a:pt x="20" y="229"/>
                        </a:lnTo>
                        <a:lnTo>
                          <a:pt x="17" y="222"/>
                        </a:lnTo>
                        <a:lnTo>
                          <a:pt x="20" y="214"/>
                        </a:lnTo>
                        <a:lnTo>
                          <a:pt x="20" y="204"/>
                        </a:lnTo>
                        <a:lnTo>
                          <a:pt x="22" y="194"/>
                        </a:lnTo>
                        <a:lnTo>
                          <a:pt x="9" y="191"/>
                        </a:lnTo>
                        <a:lnTo>
                          <a:pt x="7" y="176"/>
                        </a:lnTo>
                        <a:lnTo>
                          <a:pt x="14" y="166"/>
                        </a:lnTo>
                        <a:lnTo>
                          <a:pt x="15" y="151"/>
                        </a:lnTo>
                        <a:lnTo>
                          <a:pt x="5" y="141"/>
                        </a:lnTo>
                        <a:lnTo>
                          <a:pt x="0" y="131"/>
                        </a:lnTo>
                        <a:lnTo>
                          <a:pt x="2" y="113"/>
                        </a:lnTo>
                        <a:lnTo>
                          <a:pt x="5" y="101"/>
                        </a:lnTo>
                        <a:lnTo>
                          <a:pt x="14" y="86"/>
                        </a:lnTo>
                        <a:lnTo>
                          <a:pt x="23" y="74"/>
                        </a:lnTo>
                        <a:lnTo>
                          <a:pt x="18" y="71"/>
                        </a:lnTo>
                        <a:lnTo>
                          <a:pt x="20" y="51"/>
                        </a:lnTo>
                        <a:lnTo>
                          <a:pt x="28" y="49"/>
                        </a:lnTo>
                        <a:lnTo>
                          <a:pt x="37" y="51"/>
                        </a:lnTo>
                        <a:lnTo>
                          <a:pt x="52" y="44"/>
                        </a:lnTo>
                        <a:lnTo>
                          <a:pt x="48" y="31"/>
                        </a:lnTo>
                        <a:lnTo>
                          <a:pt x="57" y="23"/>
                        </a:lnTo>
                        <a:lnTo>
                          <a:pt x="68" y="13"/>
                        </a:lnTo>
                        <a:lnTo>
                          <a:pt x="70" y="1"/>
                        </a:lnTo>
                        <a:lnTo>
                          <a:pt x="80" y="0"/>
                        </a:lnTo>
                        <a:lnTo>
                          <a:pt x="93" y="13"/>
                        </a:lnTo>
                        <a:lnTo>
                          <a:pt x="120" y="26"/>
                        </a:lnTo>
                        <a:lnTo>
                          <a:pt x="120" y="36"/>
                        </a:lnTo>
                        <a:lnTo>
                          <a:pt x="115" y="41"/>
                        </a:lnTo>
                        <a:lnTo>
                          <a:pt x="100" y="53"/>
                        </a:lnTo>
                        <a:lnTo>
                          <a:pt x="103" y="61"/>
                        </a:lnTo>
                        <a:lnTo>
                          <a:pt x="97" y="81"/>
                        </a:lnTo>
                        <a:lnTo>
                          <a:pt x="105" y="109"/>
                        </a:lnTo>
                        <a:lnTo>
                          <a:pt x="110" y="113"/>
                        </a:lnTo>
                        <a:lnTo>
                          <a:pt x="120" y="106"/>
                        </a:lnTo>
                        <a:lnTo>
                          <a:pt x="125" y="111"/>
                        </a:lnTo>
                        <a:lnTo>
                          <a:pt x="123" y="118"/>
                        </a:lnTo>
                        <a:lnTo>
                          <a:pt x="135" y="124"/>
                        </a:lnTo>
                        <a:lnTo>
                          <a:pt x="148" y="114"/>
                        </a:lnTo>
                        <a:lnTo>
                          <a:pt x="158" y="101"/>
                        </a:lnTo>
                        <a:lnTo>
                          <a:pt x="178" y="93"/>
                        </a:lnTo>
                        <a:lnTo>
                          <a:pt x="185" y="101"/>
                        </a:lnTo>
                        <a:lnTo>
                          <a:pt x="191" y="119"/>
                        </a:lnTo>
                        <a:lnTo>
                          <a:pt x="200" y="123"/>
                        </a:lnTo>
                        <a:lnTo>
                          <a:pt x="203" y="118"/>
                        </a:lnTo>
                        <a:lnTo>
                          <a:pt x="215" y="129"/>
                        </a:lnTo>
                        <a:lnTo>
                          <a:pt x="241" y="139"/>
                        </a:lnTo>
                        <a:lnTo>
                          <a:pt x="235" y="144"/>
                        </a:lnTo>
                        <a:lnTo>
                          <a:pt x="223" y="149"/>
                        </a:lnTo>
                        <a:lnTo>
                          <a:pt x="216" y="151"/>
                        </a:lnTo>
                        <a:lnTo>
                          <a:pt x="215" y="159"/>
                        </a:lnTo>
                        <a:lnTo>
                          <a:pt x="226" y="162"/>
                        </a:lnTo>
                        <a:lnTo>
                          <a:pt x="231" y="164"/>
                        </a:lnTo>
                        <a:lnTo>
                          <a:pt x="236" y="174"/>
                        </a:lnTo>
                        <a:lnTo>
                          <a:pt x="243" y="181"/>
                        </a:lnTo>
                        <a:lnTo>
                          <a:pt x="246" y="182"/>
                        </a:lnTo>
                        <a:lnTo>
                          <a:pt x="251" y="177"/>
                        </a:lnTo>
                        <a:lnTo>
                          <a:pt x="259" y="177"/>
                        </a:lnTo>
                        <a:lnTo>
                          <a:pt x="268" y="181"/>
                        </a:lnTo>
                        <a:lnTo>
                          <a:pt x="266" y="191"/>
                        </a:lnTo>
                        <a:lnTo>
                          <a:pt x="274" y="196"/>
                        </a:lnTo>
                        <a:lnTo>
                          <a:pt x="283" y="199"/>
                        </a:lnTo>
                        <a:lnTo>
                          <a:pt x="286" y="206"/>
                        </a:lnTo>
                        <a:lnTo>
                          <a:pt x="293" y="201"/>
                        </a:lnTo>
                        <a:lnTo>
                          <a:pt x="301" y="207"/>
                        </a:lnTo>
                        <a:lnTo>
                          <a:pt x="298" y="217"/>
                        </a:lnTo>
                        <a:lnTo>
                          <a:pt x="304" y="222"/>
                        </a:lnTo>
                        <a:lnTo>
                          <a:pt x="313" y="219"/>
                        </a:lnTo>
                        <a:lnTo>
                          <a:pt x="318" y="214"/>
                        </a:lnTo>
                        <a:lnTo>
                          <a:pt x="321" y="222"/>
                        </a:lnTo>
                        <a:lnTo>
                          <a:pt x="328" y="219"/>
                        </a:lnTo>
                        <a:lnTo>
                          <a:pt x="334" y="224"/>
                        </a:lnTo>
                        <a:lnTo>
                          <a:pt x="336" y="219"/>
                        </a:lnTo>
                        <a:lnTo>
                          <a:pt x="348" y="214"/>
                        </a:lnTo>
                        <a:lnTo>
                          <a:pt x="353" y="226"/>
                        </a:lnTo>
                        <a:lnTo>
                          <a:pt x="354" y="229"/>
                        </a:lnTo>
                        <a:lnTo>
                          <a:pt x="356" y="221"/>
                        </a:lnTo>
                        <a:lnTo>
                          <a:pt x="364" y="227"/>
                        </a:lnTo>
                        <a:lnTo>
                          <a:pt x="362" y="234"/>
                        </a:lnTo>
                        <a:lnTo>
                          <a:pt x="367" y="236"/>
                        </a:lnTo>
                        <a:lnTo>
                          <a:pt x="377" y="237"/>
                        </a:lnTo>
                        <a:lnTo>
                          <a:pt x="377" y="231"/>
                        </a:lnTo>
                        <a:lnTo>
                          <a:pt x="382" y="224"/>
                        </a:lnTo>
                        <a:lnTo>
                          <a:pt x="386" y="216"/>
                        </a:lnTo>
                        <a:lnTo>
                          <a:pt x="397" y="226"/>
                        </a:lnTo>
                        <a:lnTo>
                          <a:pt x="419" y="239"/>
                        </a:lnTo>
                        <a:lnTo>
                          <a:pt x="436" y="254"/>
                        </a:lnTo>
                        <a:lnTo>
                          <a:pt x="451" y="259"/>
                        </a:lnTo>
                        <a:lnTo>
                          <a:pt x="462" y="257"/>
                        </a:lnTo>
                        <a:lnTo>
                          <a:pt x="475" y="264"/>
                        </a:lnTo>
                        <a:lnTo>
                          <a:pt x="502" y="277"/>
                        </a:lnTo>
                        <a:lnTo>
                          <a:pt x="517" y="280"/>
                        </a:lnTo>
                        <a:lnTo>
                          <a:pt x="534" y="290"/>
                        </a:lnTo>
                        <a:lnTo>
                          <a:pt x="545" y="304"/>
                        </a:lnTo>
                        <a:lnTo>
                          <a:pt x="552" y="317"/>
                        </a:lnTo>
                        <a:lnTo>
                          <a:pt x="562" y="317"/>
                        </a:lnTo>
                        <a:lnTo>
                          <a:pt x="567" y="324"/>
                        </a:lnTo>
                        <a:lnTo>
                          <a:pt x="623" y="362"/>
                        </a:lnTo>
                        <a:lnTo>
                          <a:pt x="625" y="354"/>
                        </a:lnTo>
                        <a:lnTo>
                          <a:pt x="635" y="350"/>
                        </a:lnTo>
                        <a:lnTo>
                          <a:pt x="665" y="365"/>
                        </a:lnTo>
                        <a:lnTo>
                          <a:pt x="693" y="383"/>
                        </a:lnTo>
                        <a:lnTo>
                          <a:pt x="713" y="380"/>
                        </a:lnTo>
                        <a:lnTo>
                          <a:pt x="726" y="378"/>
                        </a:lnTo>
                        <a:lnTo>
                          <a:pt x="728" y="393"/>
                        </a:lnTo>
                        <a:lnTo>
                          <a:pt x="728" y="393"/>
                        </a:lnTo>
                        <a:lnTo>
                          <a:pt x="728" y="393"/>
                        </a:lnTo>
                        <a:close/>
                      </a:path>
                    </a:pathLst>
                  </a:custGeom>
                  <a:solidFill>
                    <a:srgbClr val="77B8E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dirty="0">
                      <a:latin typeface="Proxima Nova A" panose="02000506030000020004" pitchFamily="2" charset="0"/>
                    </a:endParaRPr>
                  </a:p>
                </p:txBody>
              </p:sp>
              <p:sp>
                <p:nvSpPr>
                  <p:cNvPr id="151" name="Freeform 1066">
                    <a:extLst>
                      <a:ext uri="{FF2B5EF4-FFF2-40B4-BE49-F238E27FC236}">
                        <a16:creationId xmlns:a16="http://schemas.microsoft.com/office/drawing/2014/main" id="{456520CC-42DB-458D-8A30-D4AA0B2E748E}"/>
                      </a:ext>
                    </a:extLst>
                  </p:cNvPr>
                  <p:cNvSpPr>
                    <a:spLocks/>
                  </p:cNvSpPr>
                  <p:nvPr/>
                </p:nvSpPr>
                <p:spPr bwMode="auto">
                  <a:xfrm>
                    <a:off x="6057492" y="2824228"/>
                    <a:ext cx="529929" cy="205623"/>
                  </a:xfrm>
                  <a:custGeom>
                    <a:avLst/>
                    <a:gdLst>
                      <a:gd name="T0" fmla="*/ 353 w 384"/>
                      <a:gd name="T1" fmla="*/ 136 h 149"/>
                      <a:gd name="T2" fmla="*/ 356 w 384"/>
                      <a:gd name="T3" fmla="*/ 129 h 149"/>
                      <a:gd name="T4" fmla="*/ 374 w 384"/>
                      <a:gd name="T5" fmla="*/ 121 h 149"/>
                      <a:gd name="T6" fmla="*/ 384 w 384"/>
                      <a:gd name="T7" fmla="*/ 99 h 149"/>
                      <a:gd name="T8" fmla="*/ 358 w 384"/>
                      <a:gd name="T9" fmla="*/ 81 h 149"/>
                      <a:gd name="T10" fmla="*/ 368 w 384"/>
                      <a:gd name="T11" fmla="*/ 66 h 149"/>
                      <a:gd name="T12" fmla="*/ 343 w 384"/>
                      <a:gd name="T13" fmla="*/ 56 h 149"/>
                      <a:gd name="T14" fmla="*/ 321 w 384"/>
                      <a:gd name="T15" fmla="*/ 48 h 149"/>
                      <a:gd name="T16" fmla="*/ 305 w 384"/>
                      <a:gd name="T17" fmla="*/ 56 h 149"/>
                      <a:gd name="T18" fmla="*/ 301 w 384"/>
                      <a:gd name="T19" fmla="*/ 33 h 149"/>
                      <a:gd name="T20" fmla="*/ 296 w 384"/>
                      <a:gd name="T21" fmla="*/ 16 h 149"/>
                      <a:gd name="T22" fmla="*/ 310 w 384"/>
                      <a:gd name="T23" fmla="*/ 1 h 149"/>
                      <a:gd name="T24" fmla="*/ 290 w 384"/>
                      <a:gd name="T25" fmla="*/ 6 h 149"/>
                      <a:gd name="T26" fmla="*/ 265 w 384"/>
                      <a:gd name="T27" fmla="*/ 11 h 149"/>
                      <a:gd name="T28" fmla="*/ 250 w 384"/>
                      <a:gd name="T29" fmla="*/ 1 h 149"/>
                      <a:gd name="T30" fmla="*/ 240 w 384"/>
                      <a:gd name="T31" fmla="*/ 20 h 149"/>
                      <a:gd name="T32" fmla="*/ 231 w 384"/>
                      <a:gd name="T33" fmla="*/ 31 h 149"/>
                      <a:gd name="T34" fmla="*/ 230 w 384"/>
                      <a:gd name="T35" fmla="*/ 20 h 149"/>
                      <a:gd name="T36" fmla="*/ 220 w 384"/>
                      <a:gd name="T37" fmla="*/ 16 h 149"/>
                      <a:gd name="T38" fmla="*/ 213 w 384"/>
                      <a:gd name="T39" fmla="*/ 26 h 149"/>
                      <a:gd name="T40" fmla="*/ 213 w 384"/>
                      <a:gd name="T41" fmla="*/ 34 h 149"/>
                      <a:gd name="T42" fmla="*/ 206 w 384"/>
                      <a:gd name="T43" fmla="*/ 41 h 149"/>
                      <a:gd name="T44" fmla="*/ 183 w 384"/>
                      <a:gd name="T45" fmla="*/ 58 h 149"/>
                      <a:gd name="T46" fmla="*/ 173 w 384"/>
                      <a:gd name="T47" fmla="*/ 49 h 149"/>
                      <a:gd name="T48" fmla="*/ 162 w 384"/>
                      <a:gd name="T49" fmla="*/ 48 h 149"/>
                      <a:gd name="T50" fmla="*/ 150 w 384"/>
                      <a:gd name="T51" fmla="*/ 43 h 149"/>
                      <a:gd name="T52" fmla="*/ 148 w 384"/>
                      <a:gd name="T53" fmla="*/ 38 h 149"/>
                      <a:gd name="T54" fmla="*/ 135 w 384"/>
                      <a:gd name="T55" fmla="*/ 34 h 149"/>
                      <a:gd name="T56" fmla="*/ 120 w 384"/>
                      <a:gd name="T57" fmla="*/ 39 h 149"/>
                      <a:gd name="T58" fmla="*/ 108 w 384"/>
                      <a:gd name="T59" fmla="*/ 38 h 149"/>
                      <a:gd name="T60" fmla="*/ 95 w 384"/>
                      <a:gd name="T61" fmla="*/ 33 h 149"/>
                      <a:gd name="T62" fmla="*/ 87 w 384"/>
                      <a:gd name="T63" fmla="*/ 43 h 149"/>
                      <a:gd name="T64" fmla="*/ 72 w 384"/>
                      <a:gd name="T65" fmla="*/ 29 h 149"/>
                      <a:gd name="T66" fmla="*/ 49 w 384"/>
                      <a:gd name="T67" fmla="*/ 36 h 149"/>
                      <a:gd name="T68" fmla="*/ 27 w 384"/>
                      <a:gd name="T69" fmla="*/ 48 h 149"/>
                      <a:gd name="T70" fmla="*/ 15 w 384"/>
                      <a:gd name="T71" fmla="*/ 68 h 149"/>
                      <a:gd name="T72" fmla="*/ 19 w 384"/>
                      <a:gd name="T73" fmla="*/ 91 h 149"/>
                      <a:gd name="T74" fmla="*/ 5 w 384"/>
                      <a:gd name="T75" fmla="*/ 103 h 149"/>
                      <a:gd name="T76" fmla="*/ 10 w 384"/>
                      <a:gd name="T77" fmla="*/ 136 h 149"/>
                      <a:gd name="T78" fmla="*/ 40 w 384"/>
                      <a:gd name="T79" fmla="*/ 141 h 149"/>
                      <a:gd name="T80" fmla="*/ 85 w 384"/>
                      <a:gd name="T81" fmla="*/ 147 h 149"/>
                      <a:gd name="T82" fmla="*/ 117 w 384"/>
                      <a:gd name="T83" fmla="*/ 139 h 149"/>
                      <a:gd name="T84" fmla="*/ 133 w 384"/>
                      <a:gd name="T85" fmla="*/ 139 h 149"/>
                      <a:gd name="T86" fmla="*/ 170 w 384"/>
                      <a:gd name="T87" fmla="*/ 133 h 149"/>
                      <a:gd name="T88" fmla="*/ 211 w 384"/>
                      <a:gd name="T89" fmla="*/ 136 h 149"/>
                      <a:gd name="T90" fmla="*/ 238 w 384"/>
                      <a:gd name="T91" fmla="*/ 136 h 149"/>
                      <a:gd name="T92" fmla="*/ 248 w 384"/>
                      <a:gd name="T93" fmla="*/ 137 h 149"/>
                      <a:gd name="T94" fmla="*/ 281 w 384"/>
                      <a:gd name="T95" fmla="*/ 128 h 149"/>
                      <a:gd name="T96" fmla="*/ 310 w 384"/>
                      <a:gd name="T97" fmla="*/ 134 h 149"/>
                      <a:gd name="T98" fmla="*/ 343 w 384"/>
                      <a:gd name="T99" fmla="*/ 14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49">
                        <a:moveTo>
                          <a:pt x="343" y="147"/>
                        </a:moveTo>
                        <a:lnTo>
                          <a:pt x="346" y="142"/>
                        </a:lnTo>
                        <a:lnTo>
                          <a:pt x="351" y="137"/>
                        </a:lnTo>
                        <a:lnTo>
                          <a:pt x="353" y="136"/>
                        </a:lnTo>
                        <a:lnTo>
                          <a:pt x="358" y="136"/>
                        </a:lnTo>
                        <a:lnTo>
                          <a:pt x="358" y="134"/>
                        </a:lnTo>
                        <a:lnTo>
                          <a:pt x="354" y="133"/>
                        </a:lnTo>
                        <a:lnTo>
                          <a:pt x="356" y="129"/>
                        </a:lnTo>
                        <a:lnTo>
                          <a:pt x="361" y="129"/>
                        </a:lnTo>
                        <a:lnTo>
                          <a:pt x="368" y="131"/>
                        </a:lnTo>
                        <a:lnTo>
                          <a:pt x="373" y="126"/>
                        </a:lnTo>
                        <a:lnTo>
                          <a:pt x="374" y="121"/>
                        </a:lnTo>
                        <a:lnTo>
                          <a:pt x="379" y="114"/>
                        </a:lnTo>
                        <a:lnTo>
                          <a:pt x="381" y="109"/>
                        </a:lnTo>
                        <a:lnTo>
                          <a:pt x="384" y="104"/>
                        </a:lnTo>
                        <a:lnTo>
                          <a:pt x="384" y="99"/>
                        </a:lnTo>
                        <a:lnTo>
                          <a:pt x="378" y="93"/>
                        </a:lnTo>
                        <a:lnTo>
                          <a:pt x="366" y="88"/>
                        </a:lnTo>
                        <a:lnTo>
                          <a:pt x="361" y="86"/>
                        </a:lnTo>
                        <a:lnTo>
                          <a:pt x="358" y="81"/>
                        </a:lnTo>
                        <a:lnTo>
                          <a:pt x="359" y="76"/>
                        </a:lnTo>
                        <a:lnTo>
                          <a:pt x="366" y="71"/>
                        </a:lnTo>
                        <a:lnTo>
                          <a:pt x="369" y="68"/>
                        </a:lnTo>
                        <a:lnTo>
                          <a:pt x="368" y="66"/>
                        </a:lnTo>
                        <a:lnTo>
                          <a:pt x="361" y="66"/>
                        </a:lnTo>
                        <a:lnTo>
                          <a:pt x="356" y="69"/>
                        </a:lnTo>
                        <a:lnTo>
                          <a:pt x="351" y="61"/>
                        </a:lnTo>
                        <a:lnTo>
                          <a:pt x="343" y="56"/>
                        </a:lnTo>
                        <a:lnTo>
                          <a:pt x="338" y="53"/>
                        </a:lnTo>
                        <a:lnTo>
                          <a:pt x="333" y="46"/>
                        </a:lnTo>
                        <a:lnTo>
                          <a:pt x="328" y="46"/>
                        </a:lnTo>
                        <a:lnTo>
                          <a:pt x="321" y="48"/>
                        </a:lnTo>
                        <a:lnTo>
                          <a:pt x="316" y="49"/>
                        </a:lnTo>
                        <a:lnTo>
                          <a:pt x="310" y="51"/>
                        </a:lnTo>
                        <a:lnTo>
                          <a:pt x="305" y="53"/>
                        </a:lnTo>
                        <a:lnTo>
                          <a:pt x="305" y="56"/>
                        </a:lnTo>
                        <a:lnTo>
                          <a:pt x="300" y="51"/>
                        </a:lnTo>
                        <a:lnTo>
                          <a:pt x="298" y="46"/>
                        </a:lnTo>
                        <a:lnTo>
                          <a:pt x="300" y="38"/>
                        </a:lnTo>
                        <a:lnTo>
                          <a:pt x="301" y="33"/>
                        </a:lnTo>
                        <a:lnTo>
                          <a:pt x="303" y="28"/>
                        </a:lnTo>
                        <a:lnTo>
                          <a:pt x="303" y="21"/>
                        </a:lnTo>
                        <a:lnTo>
                          <a:pt x="296" y="21"/>
                        </a:lnTo>
                        <a:lnTo>
                          <a:pt x="296" y="16"/>
                        </a:lnTo>
                        <a:lnTo>
                          <a:pt x="300" y="11"/>
                        </a:lnTo>
                        <a:lnTo>
                          <a:pt x="305" y="11"/>
                        </a:lnTo>
                        <a:lnTo>
                          <a:pt x="308" y="8"/>
                        </a:lnTo>
                        <a:lnTo>
                          <a:pt x="310" y="1"/>
                        </a:lnTo>
                        <a:lnTo>
                          <a:pt x="306" y="0"/>
                        </a:lnTo>
                        <a:lnTo>
                          <a:pt x="298" y="1"/>
                        </a:lnTo>
                        <a:lnTo>
                          <a:pt x="293" y="5"/>
                        </a:lnTo>
                        <a:lnTo>
                          <a:pt x="290" y="6"/>
                        </a:lnTo>
                        <a:lnTo>
                          <a:pt x="285" y="5"/>
                        </a:lnTo>
                        <a:lnTo>
                          <a:pt x="273" y="8"/>
                        </a:lnTo>
                        <a:lnTo>
                          <a:pt x="268" y="8"/>
                        </a:lnTo>
                        <a:lnTo>
                          <a:pt x="265" y="11"/>
                        </a:lnTo>
                        <a:lnTo>
                          <a:pt x="260" y="8"/>
                        </a:lnTo>
                        <a:lnTo>
                          <a:pt x="260" y="5"/>
                        </a:lnTo>
                        <a:lnTo>
                          <a:pt x="255" y="1"/>
                        </a:lnTo>
                        <a:lnTo>
                          <a:pt x="250" y="1"/>
                        </a:lnTo>
                        <a:lnTo>
                          <a:pt x="246" y="5"/>
                        </a:lnTo>
                        <a:lnTo>
                          <a:pt x="241" y="10"/>
                        </a:lnTo>
                        <a:lnTo>
                          <a:pt x="240" y="15"/>
                        </a:lnTo>
                        <a:lnTo>
                          <a:pt x="240" y="20"/>
                        </a:lnTo>
                        <a:lnTo>
                          <a:pt x="241" y="21"/>
                        </a:lnTo>
                        <a:lnTo>
                          <a:pt x="238" y="25"/>
                        </a:lnTo>
                        <a:lnTo>
                          <a:pt x="236" y="29"/>
                        </a:lnTo>
                        <a:lnTo>
                          <a:pt x="231" y="31"/>
                        </a:lnTo>
                        <a:lnTo>
                          <a:pt x="228" y="29"/>
                        </a:lnTo>
                        <a:lnTo>
                          <a:pt x="228" y="26"/>
                        </a:lnTo>
                        <a:lnTo>
                          <a:pt x="228" y="23"/>
                        </a:lnTo>
                        <a:lnTo>
                          <a:pt x="230" y="20"/>
                        </a:lnTo>
                        <a:lnTo>
                          <a:pt x="228" y="16"/>
                        </a:lnTo>
                        <a:lnTo>
                          <a:pt x="225" y="15"/>
                        </a:lnTo>
                        <a:lnTo>
                          <a:pt x="221" y="13"/>
                        </a:lnTo>
                        <a:lnTo>
                          <a:pt x="220" y="16"/>
                        </a:lnTo>
                        <a:lnTo>
                          <a:pt x="218" y="18"/>
                        </a:lnTo>
                        <a:lnTo>
                          <a:pt x="220" y="21"/>
                        </a:lnTo>
                        <a:lnTo>
                          <a:pt x="216" y="23"/>
                        </a:lnTo>
                        <a:lnTo>
                          <a:pt x="213" y="26"/>
                        </a:lnTo>
                        <a:lnTo>
                          <a:pt x="210" y="28"/>
                        </a:lnTo>
                        <a:lnTo>
                          <a:pt x="206" y="33"/>
                        </a:lnTo>
                        <a:lnTo>
                          <a:pt x="208" y="36"/>
                        </a:lnTo>
                        <a:lnTo>
                          <a:pt x="213" y="34"/>
                        </a:lnTo>
                        <a:lnTo>
                          <a:pt x="215" y="38"/>
                        </a:lnTo>
                        <a:lnTo>
                          <a:pt x="216" y="38"/>
                        </a:lnTo>
                        <a:lnTo>
                          <a:pt x="211" y="41"/>
                        </a:lnTo>
                        <a:lnTo>
                          <a:pt x="206" y="41"/>
                        </a:lnTo>
                        <a:lnTo>
                          <a:pt x="200" y="43"/>
                        </a:lnTo>
                        <a:lnTo>
                          <a:pt x="193" y="43"/>
                        </a:lnTo>
                        <a:lnTo>
                          <a:pt x="183" y="51"/>
                        </a:lnTo>
                        <a:lnTo>
                          <a:pt x="183" y="58"/>
                        </a:lnTo>
                        <a:lnTo>
                          <a:pt x="178" y="61"/>
                        </a:lnTo>
                        <a:lnTo>
                          <a:pt x="173" y="58"/>
                        </a:lnTo>
                        <a:lnTo>
                          <a:pt x="172" y="53"/>
                        </a:lnTo>
                        <a:lnTo>
                          <a:pt x="173" y="49"/>
                        </a:lnTo>
                        <a:lnTo>
                          <a:pt x="173" y="46"/>
                        </a:lnTo>
                        <a:lnTo>
                          <a:pt x="173" y="39"/>
                        </a:lnTo>
                        <a:lnTo>
                          <a:pt x="167" y="44"/>
                        </a:lnTo>
                        <a:lnTo>
                          <a:pt x="162" y="48"/>
                        </a:lnTo>
                        <a:lnTo>
                          <a:pt x="158" y="51"/>
                        </a:lnTo>
                        <a:lnTo>
                          <a:pt x="153" y="49"/>
                        </a:lnTo>
                        <a:lnTo>
                          <a:pt x="148" y="48"/>
                        </a:lnTo>
                        <a:lnTo>
                          <a:pt x="150" y="43"/>
                        </a:lnTo>
                        <a:lnTo>
                          <a:pt x="153" y="41"/>
                        </a:lnTo>
                        <a:lnTo>
                          <a:pt x="153" y="38"/>
                        </a:lnTo>
                        <a:lnTo>
                          <a:pt x="150" y="36"/>
                        </a:lnTo>
                        <a:lnTo>
                          <a:pt x="148" y="38"/>
                        </a:lnTo>
                        <a:lnTo>
                          <a:pt x="145" y="41"/>
                        </a:lnTo>
                        <a:lnTo>
                          <a:pt x="142" y="38"/>
                        </a:lnTo>
                        <a:lnTo>
                          <a:pt x="142" y="36"/>
                        </a:lnTo>
                        <a:lnTo>
                          <a:pt x="135" y="34"/>
                        </a:lnTo>
                        <a:lnTo>
                          <a:pt x="132" y="36"/>
                        </a:lnTo>
                        <a:lnTo>
                          <a:pt x="128" y="34"/>
                        </a:lnTo>
                        <a:lnTo>
                          <a:pt x="122" y="38"/>
                        </a:lnTo>
                        <a:lnTo>
                          <a:pt x="120" y="39"/>
                        </a:lnTo>
                        <a:lnTo>
                          <a:pt x="117" y="41"/>
                        </a:lnTo>
                        <a:lnTo>
                          <a:pt x="113" y="38"/>
                        </a:lnTo>
                        <a:lnTo>
                          <a:pt x="112" y="34"/>
                        </a:lnTo>
                        <a:lnTo>
                          <a:pt x="108" y="38"/>
                        </a:lnTo>
                        <a:lnTo>
                          <a:pt x="105" y="36"/>
                        </a:lnTo>
                        <a:lnTo>
                          <a:pt x="100" y="39"/>
                        </a:lnTo>
                        <a:lnTo>
                          <a:pt x="97" y="38"/>
                        </a:lnTo>
                        <a:lnTo>
                          <a:pt x="95" y="33"/>
                        </a:lnTo>
                        <a:lnTo>
                          <a:pt x="92" y="36"/>
                        </a:lnTo>
                        <a:lnTo>
                          <a:pt x="90" y="39"/>
                        </a:lnTo>
                        <a:lnTo>
                          <a:pt x="90" y="43"/>
                        </a:lnTo>
                        <a:lnTo>
                          <a:pt x="87" y="43"/>
                        </a:lnTo>
                        <a:lnTo>
                          <a:pt x="83" y="36"/>
                        </a:lnTo>
                        <a:lnTo>
                          <a:pt x="85" y="33"/>
                        </a:lnTo>
                        <a:lnTo>
                          <a:pt x="80" y="29"/>
                        </a:lnTo>
                        <a:lnTo>
                          <a:pt x="72" y="29"/>
                        </a:lnTo>
                        <a:lnTo>
                          <a:pt x="65" y="34"/>
                        </a:lnTo>
                        <a:lnTo>
                          <a:pt x="62" y="33"/>
                        </a:lnTo>
                        <a:lnTo>
                          <a:pt x="54" y="36"/>
                        </a:lnTo>
                        <a:lnTo>
                          <a:pt x="49" y="36"/>
                        </a:lnTo>
                        <a:lnTo>
                          <a:pt x="42" y="39"/>
                        </a:lnTo>
                        <a:lnTo>
                          <a:pt x="37" y="41"/>
                        </a:lnTo>
                        <a:lnTo>
                          <a:pt x="32" y="44"/>
                        </a:lnTo>
                        <a:lnTo>
                          <a:pt x="27" y="48"/>
                        </a:lnTo>
                        <a:lnTo>
                          <a:pt x="24" y="54"/>
                        </a:lnTo>
                        <a:lnTo>
                          <a:pt x="17" y="54"/>
                        </a:lnTo>
                        <a:lnTo>
                          <a:pt x="17" y="59"/>
                        </a:lnTo>
                        <a:lnTo>
                          <a:pt x="15" y="68"/>
                        </a:lnTo>
                        <a:lnTo>
                          <a:pt x="15" y="73"/>
                        </a:lnTo>
                        <a:lnTo>
                          <a:pt x="17" y="79"/>
                        </a:lnTo>
                        <a:lnTo>
                          <a:pt x="20" y="83"/>
                        </a:lnTo>
                        <a:lnTo>
                          <a:pt x="19" y="91"/>
                        </a:lnTo>
                        <a:lnTo>
                          <a:pt x="14" y="94"/>
                        </a:lnTo>
                        <a:lnTo>
                          <a:pt x="7" y="96"/>
                        </a:lnTo>
                        <a:lnTo>
                          <a:pt x="5" y="98"/>
                        </a:lnTo>
                        <a:lnTo>
                          <a:pt x="5" y="103"/>
                        </a:lnTo>
                        <a:lnTo>
                          <a:pt x="2" y="114"/>
                        </a:lnTo>
                        <a:lnTo>
                          <a:pt x="0" y="123"/>
                        </a:lnTo>
                        <a:lnTo>
                          <a:pt x="2" y="129"/>
                        </a:lnTo>
                        <a:lnTo>
                          <a:pt x="10" y="136"/>
                        </a:lnTo>
                        <a:lnTo>
                          <a:pt x="17" y="134"/>
                        </a:lnTo>
                        <a:lnTo>
                          <a:pt x="24" y="134"/>
                        </a:lnTo>
                        <a:lnTo>
                          <a:pt x="30" y="136"/>
                        </a:lnTo>
                        <a:lnTo>
                          <a:pt x="40" y="141"/>
                        </a:lnTo>
                        <a:lnTo>
                          <a:pt x="54" y="139"/>
                        </a:lnTo>
                        <a:lnTo>
                          <a:pt x="67" y="144"/>
                        </a:lnTo>
                        <a:lnTo>
                          <a:pt x="79" y="149"/>
                        </a:lnTo>
                        <a:lnTo>
                          <a:pt x="85" y="147"/>
                        </a:lnTo>
                        <a:lnTo>
                          <a:pt x="95" y="146"/>
                        </a:lnTo>
                        <a:lnTo>
                          <a:pt x="105" y="142"/>
                        </a:lnTo>
                        <a:lnTo>
                          <a:pt x="110" y="141"/>
                        </a:lnTo>
                        <a:lnTo>
                          <a:pt x="117" y="139"/>
                        </a:lnTo>
                        <a:lnTo>
                          <a:pt x="117" y="142"/>
                        </a:lnTo>
                        <a:lnTo>
                          <a:pt x="123" y="144"/>
                        </a:lnTo>
                        <a:lnTo>
                          <a:pt x="125" y="141"/>
                        </a:lnTo>
                        <a:lnTo>
                          <a:pt x="133" y="139"/>
                        </a:lnTo>
                        <a:lnTo>
                          <a:pt x="142" y="141"/>
                        </a:lnTo>
                        <a:lnTo>
                          <a:pt x="148" y="139"/>
                        </a:lnTo>
                        <a:lnTo>
                          <a:pt x="157" y="139"/>
                        </a:lnTo>
                        <a:lnTo>
                          <a:pt x="170" y="133"/>
                        </a:lnTo>
                        <a:lnTo>
                          <a:pt x="178" y="133"/>
                        </a:lnTo>
                        <a:lnTo>
                          <a:pt x="185" y="133"/>
                        </a:lnTo>
                        <a:lnTo>
                          <a:pt x="193" y="133"/>
                        </a:lnTo>
                        <a:lnTo>
                          <a:pt x="211" y="136"/>
                        </a:lnTo>
                        <a:lnTo>
                          <a:pt x="220" y="137"/>
                        </a:lnTo>
                        <a:lnTo>
                          <a:pt x="226" y="137"/>
                        </a:lnTo>
                        <a:lnTo>
                          <a:pt x="235" y="134"/>
                        </a:lnTo>
                        <a:lnTo>
                          <a:pt x="238" y="136"/>
                        </a:lnTo>
                        <a:lnTo>
                          <a:pt x="238" y="139"/>
                        </a:lnTo>
                        <a:lnTo>
                          <a:pt x="240" y="142"/>
                        </a:lnTo>
                        <a:lnTo>
                          <a:pt x="246" y="139"/>
                        </a:lnTo>
                        <a:lnTo>
                          <a:pt x="248" y="137"/>
                        </a:lnTo>
                        <a:lnTo>
                          <a:pt x="256" y="134"/>
                        </a:lnTo>
                        <a:lnTo>
                          <a:pt x="261" y="131"/>
                        </a:lnTo>
                        <a:lnTo>
                          <a:pt x="270" y="129"/>
                        </a:lnTo>
                        <a:lnTo>
                          <a:pt x="281" y="128"/>
                        </a:lnTo>
                        <a:lnTo>
                          <a:pt x="293" y="126"/>
                        </a:lnTo>
                        <a:lnTo>
                          <a:pt x="301" y="126"/>
                        </a:lnTo>
                        <a:lnTo>
                          <a:pt x="305" y="129"/>
                        </a:lnTo>
                        <a:lnTo>
                          <a:pt x="310" y="134"/>
                        </a:lnTo>
                        <a:lnTo>
                          <a:pt x="323" y="141"/>
                        </a:lnTo>
                        <a:lnTo>
                          <a:pt x="329" y="139"/>
                        </a:lnTo>
                        <a:lnTo>
                          <a:pt x="338" y="142"/>
                        </a:lnTo>
                        <a:lnTo>
                          <a:pt x="343" y="147"/>
                        </a:lnTo>
                        <a:lnTo>
                          <a:pt x="343" y="147"/>
                        </a:lnTo>
                        <a:lnTo>
                          <a:pt x="343" y="147"/>
                        </a:lnTo>
                        <a:close/>
                      </a:path>
                    </a:pathLst>
                  </a:custGeom>
                  <a:solidFill>
                    <a:srgbClr val="B79F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dirty="0">
                      <a:latin typeface="Proxima Nova A" panose="02000506030000020004" pitchFamily="2" charset="0"/>
                    </a:endParaRPr>
                  </a:p>
                </p:txBody>
              </p:sp>
              <p:sp>
                <p:nvSpPr>
                  <p:cNvPr id="152" name="Freeform 1068">
                    <a:extLst>
                      <a:ext uri="{FF2B5EF4-FFF2-40B4-BE49-F238E27FC236}">
                        <a16:creationId xmlns:a16="http://schemas.microsoft.com/office/drawing/2014/main" id="{ABB7748A-CAF0-4882-A4F1-CD8CFC1FF6F7}"/>
                      </a:ext>
                    </a:extLst>
                  </p:cNvPr>
                  <p:cNvSpPr>
                    <a:spLocks/>
                  </p:cNvSpPr>
                  <p:nvPr/>
                </p:nvSpPr>
                <p:spPr bwMode="auto">
                  <a:xfrm>
                    <a:off x="6028511" y="2384000"/>
                    <a:ext cx="1092978" cy="832154"/>
                  </a:xfrm>
                  <a:custGeom>
                    <a:avLst/>
                    <a:gdLst>
                      <a:gd name="T0" fmla="*/ 23 w 792"/>
                      <a:gd name="T1" fmla="*/ 367 h 603"/>
                      <a:gd name="T2" fmla="*/ 5 w 792"/>
                      <a:gd name="T3" fmla="*/ 312 h 603"/>
                      <a:gd name="T4" fmla="*/ 16 w 792"/>
                      <a:gd name="T5" fmla="*/ 245 h 603"/>
                      <a:gd name="T6" fmla="*/ 70 w 792"/>
                      <a:gd name="T7" fmla="*/ 226 h 603"/>
                      <a:gd name="T8" fmla="*/ 141 w 792"/>
                      <a:gd name="T9" fmla="*/ 232 h 603"/>
                      <a:gd name="T10" fmla="*/ 211 w 792"/>
                      <a:gd name="T11" fmla="*/ 217 h 603"/>
                      <a:gd name="T12" fmla="*/ 276 w 792"/>
                      <a:gd name="T13" fmla="*/ 199 h 603"/>
                      <a:gd name="T14" fmla="*/ 379 w 792"/>
                      <a:gd name="T15" fmla="*/ 176 h 603"/>
                      <a:gd name="T16" fmla="*/ 429 w 792"/>
                      <a:gd name="T17" fmla="*/ 191 h 603"/>
                      <a:gd name="T18" fmla="*/ 498 w 792"/>
                      <a:gd name="T19" fmla="*/ 177 h 603"/>
                      <a:gd name="T20" fmla="*/ 542 w 792"/>
                      <a:gd name="T21" fmla="*/ 116 h 603"/>
                      <a:gd name="T22" fmla="*/ 566 w 792"/>
                      <a:gd name="T23" fmla="*/ 74 h 603"/>
                      <a:gd name="T24" fmla="*/ 598 w 792"/>
                      <a:gd name="T25" fmla="*/ 78 h 603"/>
                      <a:gd name="T26" fmla="*/ 734 w 792"/>
                      <a:gd name="T27" fmla="*/ 5 h 603"/>
                      <a:gd name="T28" fmla="*/ 759 w 792"/>
                      <a:gd name="T29" fmla="*/ 28 h 603"/>
                      <a:gd name="T30" fmla="*/ 771 w 792"/>
                      <a:gd name="T31" fmla="*/ 79 h 603"/>
                      <a:gd name="T32" fmla="*/ 792 w 792"/>
                      <a:gd name="T33" fmla="*/ 89 h 603"/>
                      <a:gd name="T34" fmla="*/ 753 w 792"/>
                      <a:gd name="T35" fmla="*/ 113 h 603"/>
                      <a:gd name="T36" fmla="*/ 708 w 792"/>
                      <a:gd name="T37" fmla="*/ 139 h 603"/>
                      <a:gd name="T38" fmla="*/ 658 w 792"/>
                      <a:gd name="T39" fmla="*/ 164 h 603"/>
                      <a:gd name="T40" fmla="*/ 621 w 792"/>
                      <a:gd name="T41" fmla="*/ 199 h 603"/>
                      <a:gd name="T42" fmla="*/ 586 w 792"/>
                      <a:gd name="T43" fmla="*/ 245 h 603"/>
                      <a:gd name="T44" fmla="*/ 570 w 792"/>
                      <a:gd name="T45" fmla="*/ 252 h 603"/>
                      <a:gd name="T46" fmla="*/ 550 w 792"/>
                      <a:gd name="T47" fmla="*/ 309 h 603"/>
                      <a:gd name="T48" fmla="*/ 540 w 792"/>
                      <a:gd name="T49" fmla="*/ 337 h 603"/>
                      <a:gd name="T50" fmla="*/ 525 w 792"/>
                      <a:gd name="T51" fmla="*/ 324 h 603"/>
                      <a:gd name="T52" fmla="*/ 477 w 792"/>
                      <a:gd name="T53" fmla="*/ 382 h 603"/>
                      <a:gd name="T54" fmla="*/ 485 w 792"/>
                      <a:gd name="T55" fmla="*/ 425 h 603"/>
                      <a:gd name="T56" fmla="*/ 475 w 792"/>
                      <a:gd name="T57" fmla="*/ 456 h 603"/>
                      <a:gd name="T58" fmla="*/ 455 w 792"/>
                      <a:gd name="T59" fmla="*/ 503 h 603"/>
                      <a:gd name="T60" fmla="*/ 447 w 792"/>
                      <a:gd name="T61" fmla="*/ 558 h 603"/>
                      <a:gd name="T62" fmla="*/ 422 w 792"/>
                      <a:gd name="T63" fmla="*/ 555 h 603"/>
                      <a:gd name="T64" fmla="*/ 402 w 792"/>
                      <a:gd name="T65" fmla="*/ 571 h 603"/>
                      <a:gd name="T66" fmla="*/ 375 w 792"/>
                      <a:gd name="T67" fmla="*/ 603 h 603"/>
                      <a:gd name="T68" fmla="*/ 365 w 792"/>
                      <a:gd name="T69" fmla="*/ 588 h 603"/>
                      <a:gd name="T70" fmla="*/ 349 w 792"/>
                      <a:gd name="T71" fmla="*/ 560 h 603"/>
                      <a:gd name="T72" fmla="*/ 349 w 792"/>
                      <a:gd name="T73" fmla="*/ 510 h 603"/>
                      <a:gd name="T74" fmla="*/ 360 w 792"/>
                      <a:gd name="T75" fmla="*/ 491 h 603"/>
                      <a:gd name="T76" fmla="*/ 372 w 792"/>
                      <a:gd name="T77" fmla="*/ 458 h 603"/>
                      <a:gd name="T78" fmla="*/ 387 w 792"/>
                      <a:gd name="T79" fmla="*/ 450 h 603"/>
                      <a:gd name="T80" fmla="*/ 405 w 792"/>
                      <a:gd name="T81" fmla="*/ 418 h 603"/>
                      <a:gd name="T82" fmla="*/ 382 w 792"/>
                      <a:gd name="T83" fmla="*/ 385 h 603"/>
                      <a:gd name="T84" fmla="*/ 331 w 792"/>
                      <a:gd name="T85" fmla="*/ 372 h 603"/>
                      <a:gd name="T86" fmla="*/ 324 w 792"/>
                      <a:gd name="T87" fmla="*/ 348 h 603"/>
                      <a:gd name="T88" fmla="*/ 329 w 792"/>
                      <a:gd name="T89" fmla="*/ 324 h 603"/>
                      <a:gd name="T90" fmla="*/ 296 w 792"/>
                      <a:gd name="T91" fmla="*/ 329 h 603"/>
                      <a:gd name="T92" fmla="*/ 262 w 792"/>
                      <a:gd name="T93" fmla="*/ 329 h 603"/>
                      <a:gd name="T94" fmla="*/ 249 w 792"/>
                      <a:gd name="T95" fmla="*/ 350 h 603"/>
                      <a:gd name="T96" fmla="*/ 241 w 792"/>
                      <a:gd name="T97" fmla="*/ 340 h 603"/>
                      <a:gd name="T98" fmla="*/ 234 w 792"/>
                      <a:gd name="T99" fmla="*/ 360 h 603"/>
                      <a:gd name="T100" fmla="*/ 193 w 792"/>
                      <a:gd name="T101" fmla="*/ 372 h 603"/>
                      <a:gd name="T102" fmla="*/ 171 w 792"/>
                      <a:gd name="T103" fmla="*/ 368 h 603"/>
                      <a:gd name="T104" fmla="*/ 163 w 792"/>
                      <a:gd name="T105" fmla="*/ 357 h 603"/>
                      <a:gd name="T106" fmla="*/ 129 w 792"/>
                      <a:gd name="T107" fmla="*/ 358 h 603"/>
                      <a:gd name="T108" fmla="*/ 108 w 792"/>
                      <a:gd name="T109" fmla="*/ 363 h 603"/>
                      <a:gd name="T110" fmla="*/ 83 w 792"/>
                      <a:gd name="T111" fmla="*/ 353 h 603"/>
                      <a:gd name="T112" fmla="*/ 45 w 792"/>
                      <a:gd name="T113" fmla="*/ 373 h 603"/>
                      <a:gd name="T114" fmla="*/ 40 w 792"/>
                      <a:gd name="T115" fmla="*/ 412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92" h="603">
                        <a:moveTo>
                          <a:pt x="31" y="415"/>
                        </a:moveTo>
                        <a:lnTo>
                          <a:pt x="25" y="403"/>
                        </a:lnTo>
                        <a:lnTo>
                          <a:pt x="21" y="393"/>
                        </a:lnTo>
                        <a:lnTo>
                          <a:pt x="18" y="390"/>
                        </a:lnTo>
                        <a:lnTo>
                          <a:pt x="18" y="380"/>
                        </a:lnTo>
                        <a:lnTo>
                          <a:pt x="20" y="372"/>
                        </a:lnTo>
                        <a:lnTo>
                          <a:pt x="23" y="367"/>
                        </a:lnTo>
                        <a:lnTo>
                          <a:pt x="25" y="357"/>
                        </a:lnTo>
                        <a:lnTo>
                          <a:pt x="18" y="347"/>
                        </a:lnTo>
                        <a:lnTo>
                          <a:pt x="13" y="344"/>
                        </a:lnTo>
                        <a:lnTo>
                          <a:pt x="10" y="337"/>
                        </a:lnTo>
                        <a:lnTo>
                          <a:pt x="5" y="327"/>
                        </a:lnTo>
                        <a:lnTo>
                          <a:pt x="0" y="320"/>
                        </a:lnTo>
                        <a:lnTo>
                          <a:pt x="5" y="312"/>
                        </a:lnTo>
                        <a:lnTo>
                          <a:pt x="13" y="305"/>
                        </a:lnTo>
                        <a:lnTo>
                          <a:pt x="13" y="302"/>
                        </a:lnTo>
                        <a:lnTo>
                          <a:pt x="13" y="287"/>
                        </a:lnTo>
                        <a:lnTo>
                          <a:pt x="15" y="274"/>
                        </a:lnTo>
                        <a:lnTo>
                          <a:pt x="15" y="260"/>
                        </a:lnTo>
                        <a:lnTo>
                          <a:pt x="11" y="254"/>
                        </a:lnTo>
                        <a:lnTo>
                          <a:pt x="16" y="245"/>
                        </a:lnTo>
                        <a:lnTo>
                          <a:pt x="30" y="247"/>
                        </a:lnTo>
                        <a:lnTo>
                          <a:pt x="40" y="245"/>
                        </a:lnTo>
                        <a:lnTo>
                          <a:pt x="53" y="240"/>
                        </a:lnTo>
                        <a:lnTo>
                          <a:pt x="60" y="239"/>
                        </a:lnTo>
                        <a:lnTo>
                          <a:pt x="56" y="229"/>
                        </a:lnTo>
                        <a:lnTo>
                          <a:pt x="60" y="226"/>
                        </a:lnTo>
                        <a:lnTo>
                          <a:pt x="70" y="226"/>
                        </a:lnTo>
                        <a:lnTo>
                          <a:pt x="78" y="222"/>
                        </a:lnTo>
                        <a:lnTo>
                          <a:pt x="81" y="219"/>
                        </a:lnTo>
                        <a:lnTo>
                          <a:pt x="90" y="222"/>
                        </a:lnTo>
                        <a:lnTo>
                          <a:pt x="98" y="229"/>
                        </a:lnTo>
                        <a:lnTo>
                          <a:pt x="108" y="232"/>
                        </a:lnTo>
                        <a:lnTo>
                          <a:pt x="121" y="234"/>
                        </a:lnTo>
                        <a:lnTo>
                          <a:pt x="141" y="232"/>
                        </a:lnTo>
                        <a:lnTo>
                          <a:pt x="156" y="229"/>
                        </a:lnTo>
                        <a:lnTo>
                          <a:pt x="169" y="226"/>
                        </a:lnTo>
                        <a:lnTo>
                          <a:pt x="183" y="221"/>
                        </a:lnTo>
                        <a:lnTo>
                          <a:pt x="193" y="222"/>
                        </a:lnTo>
                        <a:lnTo>
                          <a:pt x="198" y="227"/>
                        </a:lnTo>
                        <a:lnTo>
                          <a:pt x="206" y="227"/>
                        </a:lnTo>
                        <a:lnTo>
                          <a:pt x="211" y="217"/>
                        </a:lnTo>
                        <a:lnTo>
                          <a:pt x="219" y="219"/>
                        </a:lnTo>
                        <a:lnTo>
                          <a:pt x="227" y="221"/>
                        </a:lnTo>
                        <a:lnTo>
                          <a:pt x="239" y="217"/>
                        </a:lnTo>
                        <a:lnTo>
                          <a:pt x="256" y="214"/>
                        </a:lnTo>
                        <a:lnTo>
                          <a:pt x="264" y="209"/>
                        </a:lnTo>
                        <a:lnTo>
                          <a:pt x="269" y="201"/>
                        </a:lnTo>
                        <a:lnTo>
                          <a:pt x="276" y="199"/>
                        </a:lnTo>
                        <a:lnTo>
                          <a:pt x="294" y="211"/>
                        </a:lnTo>
                        <a:lnTo>
                          <a:pt x="302" y="204"/>
                        </a:lnTo>
                        <a:lnTo>
                          <a:pt x="331" y="197"/>
                        </a:lnTo>
                        <a:lnTo>
                          <a:pt x="352" y="189"/>
                        </a:lnTo>
                        <a:lnTo>
                          <a:pt x="360" y="186"/>
                        </a:lnTo>
                        <a:lnTo>
                          <a:pt x="370" y="179"/>
                        </a:lnTo>
                        <a:lnTo>
                          <a:pt x="379" y="176"/>
                        </a:lnTo>
                        <a:lnTo>
                          <a:pt x="382" y="177"/>
                        </a:lnTo>
                        <a:lnTo>
                          <a:pt x="389" y="179"/>
                        </a:lnTo>
                        <a:lnTo>
                          <a:pt x="392" y="179"/>
                        </a:lnTo>
                        <a:lnTo>
                          <a:pt x="400" y="182"/>
                        </a:lnTo>
                        <a:lnTo>
                          <a:pt x="410" y="191"/>
                        </a:lnTo>
                        <a:lnTo>
                          <a:pt x="417" y="192"/>
                        </a:lnTo>
                        <a:lnTo>
                          <a:pt x="429" y="191"/>
                        </a:lnTo>
                        <a:lnTo>
                          <a:pt x="437" y="186"/>
                        </a:lnTo>
                        <a:lnTo>
                          <a:pt x="452" y="181"/>
                        </a:lnTo>
                        <a:lnTo>
                          <a:pt x="462" y="182"/>
                        </a:lnTo>
                        <a:lnTo>
                          <a:pt x="472" y="184"/>
                        </a:lnTo>
                        <a:lnTo>
                          <a:pt x="485" y="177"/>
                        </a:lnTo>
                        <a:lnTo>
                          <a:pt x="488" y="181"/>
                        </a:lnTo>
                        <a:lnTo>
                          <a:pt x="498" y="177"/>
                        </a:lnTo>
                        <a:lnTo>
                          <a:pt x="505" y="171"/>
                        </a:lnTo>
                        <a:lnTo>
                          <a:pt x="510" y="162"/>
                        </a:lnTo>
                        <a:lnTo>
                          <a:pt x="518" y="162"/>
                        </a:lnTo>
                        <a:lnTo>
                          <a:pt x="520" y="156"/>
                        </a:lnTo>
                        <a:lnTo>
                          <a:pt x="517" y="149"/>
                        </a:lnTo>
                        <a:lnTo>
                          <a:pt x="520" y="141"/>
                        </a:lnTo>
                        <a:lnTo>
                          <a:pt x="542" y="116"/>
                        </a:lnTo>
                        <a:lnTo>
                          <a:pt x="558" y="98"/>
                        </a:lnTo>
                        <a:lnTo>
                          <a:pt x="570" y="89"/>
                        </a:lnTo>
                        <a:lnTo>
                          <a:pt x="562" y="81"/>
                        </a:lnTo>
                        <a:lnTo>
                          <a:pt x="557" y="76"/>
                        </a:lnTo>
                        <a:lnTo>
                          <a:pt x="562" y="71"/>
                        </a:lnTo>
                        <a:lnTo>
                          <a:pt x="568" y="71"/>
                        </a:lnTo>
                        <a:lnTo>
                          <a:pt x="566" y="74"/>
                        </a:lnTo>
                        <a:lnTo>
                          <a:pt x="568" y="79"/>
                        </a:lnTo>
                        <a:lnTo>
                          <a:pt x="575" y="79"/>
                        </a:lnTo>
                        <a:lnTo>
                          <a:pt x="576" y="81"/>
                        </a:lnTo>
                        <a:lnTo>
                          <a:pt x="581" y="79"/>
                        </a:lnTo>
                        <a:lnTo>
                          <a:pt x="588" y="76"/>
                        </a:lnTo>
                        <a:lnTo>
                          <a:pt x="593" y="78"/>
                        </a:lnTo>
                        <a:lnTo>
                          <a:pt x="598" y="78"/>
                        </a:lnTo>
                        <a:lnTo>
                          <a:pt x="616" y="66"/>
                        </a:lnTo>
                        <a:lnTo>
                          <a:pt x="628" y="61"/>
                        </a:lnTo>
                        <a:lnTo>
                          <a:pt x="670" y="38"/>
                        </a:lnTo>
                        <a:lnTo>
                          <a:pt x="693" y="26"/>
                        </a:lnTo>
                        <a:lnTo>
                          <a:pt x="706" y="24"/>
                        </a:lnTo>
                        <a:lnTo>
                          <a:pt x="721" y="21"/>
                        </a:lnTo>
                        <a:lnTo>
                          <a:pt x="734" y="5"/>
                        </a:lnTo>
                        <a:lnTo>
                          <a:pt x="756" y="3"/>
                        </a:lnTo>
                        <a:lnTo>
                          <a:pt x="763" y="5"/>
                        </a:lnTo>
                        <a:lnTo>
                          <a:pt x="771" y="0"/>
                        </a:lnTo>
                        <a:lnTo>
                          <a:pt x="778" y="0"/>
                        </a:lnTo>
                        <a:lnTo>
                          <a:pt x="778" y="6"/>
                        </a:lnTo>
                        <a:lnTo>
                          <a:pt x="773" y="15"/>
                        </a:lnTo>
                        <a:lnTo>
                          <a:pt x="759" y="28"/>
                        </a:lnTo>
                        <a:lnTo>
                          <a:pt x="758" y="36"/>
                        </a:lnTo>
                        <a:lnTo>
                          <a:pt x="754" y="41"/>
                        </a:lnTo>
                        <a:lnTo>
                          <a:pt x="759" y="44"/>
                        </a:lnTo>
                        <a:lnTo>
                          <a:pt x="763" y="56"/>
                        </a:lnTo>
                        <a:lnTo>
                          <a:pt x="771" y="68"/>
                        </a:lnTo>
                        <a:lnTo>
                          <a:pt x="773" y="71"/>
                        </a:lnTo>
                        <a:lnTo>
                          <a:pt x="771" y="79"/>
                        </a:lnTo>
                        <a:lnTo>
                          <a:pt x="771" y="83"/>
                        </a:lnTo>
                        <a:lnTo>
                          <a:pt x="776" y="89"/>
                        </a:lnTo>
                        <a:lnTo>
                          <a:pt x="778" y="83"/>
                        </a:lnTo>
                        <a:lnTo>
                          <a:pt x="784" y="76"/>
                        </a:lnTo>
                        <a:lnTo>
                          <a:pt x="789" y="78"/>
                        </a:lnTo>
                        <a:lnTo>
                          <a:pt x="792" y="84"/>
                        </a:lnTo>
                        <a:lnTo>
                          <a:pt x="792" y="89"/>
                        </a:lnTo>
                        <a:lnTo>
                          <a:pt x="788" y="91"/>
                        </a:lnTo>
                        <a:lnTo>
                          <a:pt x="786" y="98"/>
                        </a:lnTo>
                        <a:lnTo>
                          <a:pt x="778" y="103"/>
                        </a:lnTo>
                        <a:lnTo>
                          <a:pt x="771" y="104"/>
                        </a:lnTo>
                        <a:lnTo>
                          <a:pt x="766" y="106"/>
                        </a:lnTo>
                        <a:lnTo>
                          <a:pt x="758" y="108"/>
                        </a:lnTo>
                        <a:lnTo>
                          <a:pt x="753" y="113"/>
                        </a:lnTo>
                        <a:lnTo>
                          <a:pt x="743" y="113"/>
                        </a:lnTo>
                        <a:lnTo>
                          <a:pt x="736" y="111"/>
                        </a:lnTo>
                        <a:lnTo>
                          <a:pt x="731" y="113"/>
                        </a:lnTo>
                        <a:lnTo>
                          <a:pt x="726" y="123"/>
                        </a:lnTo>
                        <a:lnTo>
                          <a:pt x="726" y="129"/>
                        </a:lnTo>
                        <a:lnTo>
                          <a:pt x="716" y="134"/>
                        </a:lnTo>
                        <a:lnTo>
                          <a:pt x="708" y="139"/>
                        </a:lnTo>
                        <a:lnTo>
                          <a:pt x="699" y="146"/>
                        </a:lnTo>
                        <a:lnTo>
                          <a:pt x="693" y="147"/>
                        </a:lnTo>
                        <a:lnTo>
                          <a:pt x="684" y="154"/>
                        </a:lnTo>
                        <a:lnTo>
                          <a:pt x="675" y="164"/>
                        </a:lnTo>
                        <a:lnTo>
                          <a:pt x="668" y="169"/>
                        </a:lnTo>
                        <a:lnTo>
                          <a:pt x="665" y="164"/>
                        </a:lnTo>
                        <a:lnTo>
                          <a:pt x="658" y="164"/>
                        </a:lnTo>
                        <a:lnTo>
                          <a:pt x="655" y="169"/>
                        </a:lnTo>
                        <a:lnTo>
                          <a:pt x="650" y="177"/>
                        </a:lnTo>
                        <a:lnTo>
                          <a:pt x="648" y="187"/>
                        </a:lnTo>
                        <a:lnTo>
                          <a:pt x="641" y="192"/>
                        </a:lnTo>
                        <a:lnTo>
                          <a:pt x="633" y="197"/>
                        </a:lnTo>
                        <a:lnTo>
                          <a:pt x="626" y="201"/>
                        </a:lnTo>
                        <a:lnTo>
                          <a:pt x="621" y="199"/>
                        </a:lnTo>
                        <a:lnTo>
                          <a:pt x="615" y="207"/>
                        </a:lnTo>
                        <a:lnTo>
                          <a:pt x="608" y="209"/>
                        </a:lnTo>
                        <a:lnTo>
                          <a:pt x="603" y="216"/>
                        </a:lnTo>
                        <a:lnTo>
                          <a:pt x="600" y="226"/>
                        </a:lnTo>
                        <a:lnTo>
                          <a:pt x="596" y="234"/>
                        </a:lnTo>
                        <a:lnTo>
                          <a:pt x="591" y="240"/>
                        </a:lnTo>
                        <a:lnTo>
                          <a:pt x="586" y="245"/>
                        </a:lnTo>
                        <a:lnTo>
                          <a:pt x="583" y="242"/>
                        </a:lnTo>
                        <a:lnTo>
                          <a:pt x="585" y="237"/>
                        </a:lnTo>
                        <a:lnTo>
                          <a:pt x="585" y="232"/>
                        </a:lnTo>
                        <a:lnTo>
                          <a:pt x="581" y="231"/>
                        </a:lnTo>
                        <a:lnTo>
                          <a:pt x="576" y="239"/>
                        </a:lnTo>
                        <a:lnTo>
                          <a:pt x="571" y="247"/>
                        </a:lnTo>
                        <a:lnTo>
                          <a:pt x="570" y="252"/>
                        </a:lnTo>
                        <a:lnTo>
                          <a:pt x="565" y="264"/>
                        </a:lnTo>
                        <a:lnTo>
                          <a:pt x="558" y="274"/>
                        </a:lnTo>
                        <a:lnTo>
                          <a:pt x="552" y="284"/>
                        </a:lnTo>
                        <a:lnTo>
                          <a:pt x="550" y="292"/>
                        </a:lnTo>
                        <a:lnTo>
                          <a:pt x="552" y="297"/>
                        </a:lnTo>
                        <a:lnTo>
                          <a:pt x="553" y="304"/>
                        </a:lnTo>
                        <a:lnTo>
                          <a:pt x="550" y="309"/>
                        </a:lnTo>
                        <a:lnTo>
                          <a:pt x="550" y="315"/>
                        </a:lnTo>
                        <a:lnTo>
                          <a:pt x="557" y="320"/>
                        </a:lnTo>
                        <a:lnTo>
                          <a:pt x="553" y="325"/>
                        </a:lnTo>
                        <a:lnTo>
                          <a:pt x="548" y="332"/>
                        </a:lnTo>
                        <a:lnTo>
                          <a:pt x="545" y="335"/>
                        </a:lnTo>
                        <a:lnTo>
                          <a:pt x="543" y="339"/>
                        </a:lnTo>
                        <a:lnTo>
                          <a:pt x="540" y="337"/>
                        </a:lnTo>
                        <a:lnTo>
                          <a:pt x="535" y="335"/>
                        </a:lnTo>
                        <a:lnTo>
                          <a:pt x="532" y="340"/>
                        </a:lnTo>
                        <a:lnTo>
                          <a:pt x="530" y="339"/>
                        </a:lnTo>
                        <a:lnTo>
                          <a:pt x="530" y="327"/>
                        </a:lnTo>
                        <a:lnTo>
                          <a:pt x="530" y="322"/>
                        </a:lnTo>
                        <a:lnTo>
                          <a:pt x="527" y="320"/>
                        </a:lnTo>
                        <a:lnTo>
                          <a:pt x="525" y="324"/>
                        </a:lnTo>
                        <a:lnTo>
                          <a:pt x="517" y="330"/>
                        </a:lnTo>
                        <a:lnTo>
                          <a:pt x="513" y="340"/>
                        </a:lnTo>
                        <a:lnTo>
                          <a:pt x="508" y="340"/>
                        </a:lnTo>
                        <a:lnTo>
                          <a:pt x="497" y="357"/>
                        </a:lnTo>
                        <a:lnTo>
                          <a:pt x="488" y="368"/>
                        </a:lnTo>
                        <a:lnTo>
                          <a:pt x="482" y="372"/>
                        </a:lnTo>
                        <a:lnTo>
                          <a:pt x="477" y="382"/>
                        </a:lnTo>
                        <a:lnTo>
                          <a:pt x="475" y="390"/>
                        </a:lnTo>
                        <a:lnTo>
                          <a:pt x="477" y="393"/>
                        </a:lnTo>
                        <a:lnTo>
                          <a:pt x="485" y="397"/>
                        </a:lnTo>
                        <a:lnTo>
                          <a:pt x="492" y="400"/>
                        </a:lnTo>
                        <a:lnTo>
                          <a:pt x="495" y="408"/>
                        </a:lnTo>
                        <a:lnTo>
                          <a:pt x="493" y="415"/>
                        </a:lnTo>
                        <a:lnTo>
                          <a:pt x="485" y="425"/>
                        </a:lnTo>
                        <a:lnTo>
                          <a:pt x="478" y="428"/>
                        </a:lnTo>
                        <a:lnTo>
                          <a:pt x="480" y="433"/>
                        </a:lnTo>
                        <a:lnTo>
                          <a:pt x="477" y="440"/>
                        </a:lnTo>
                        <a:lnTo>
                          <a:pt x="475" y="445"/>
                        </a:lnTo>
                        <a:lnTo>
                          <a:pt x="470" y="450"/>
                        </a:lnTo>
                        <a:lnTo>
                          <a:pt x="470" y="456"/>
                        </a:lnTo>
                        <a:lnTo>
                          <a:pt x="475" y="456"/>
                        </a:lnTo>
                        <a:lnTo>
                          <a:pt x="475" y="463"/>
                        </a:lnTo>
                        <a:lnTo>
                          <a:pt x="473" y="470"/>
                        </a:lnTo>
                        <a:lnTo>
                          <a:pt x="468" y="478"/>
                        </a:lnTo>
                        <a:lnTo>
                          <a:pt x="457" y="486"/>
                        </a:lnTo>
                        <a:lnTo>
                          <a:pt x="450" y="493"/>
                        </a:lnTo>
                        <a:lnTo>
                          <a:pt x="450" y="498"/>
                        </a:lnTo>
                        <a:lnTo>
                          <a:pt x="455" y="503"/>
                        </a:lnTo>
                        <a:lnTo>
                          <a:pt x="455" y="511"/>
                        </a:lnTo>
                        <a:lnTo>
                          <a:pt x="448" y="516"/>
                        </a:lnTo>
                        <a:lnTo>
                          <a:pt x="448" y="528"/>
                        </a:lnTo>
                        <a:lnTo>
                          <a:pt x="453" y="535"/>
                        </a:lnTo>
                        <a:lnTo>
                          <a:pt x="457" y="545"/>
                        </a:lnTo>
                        <a:lnTo>
                          <a:pt x="453" y="555"/>
                        </a:lnTo>
                        <a:lnTo>
                          <a:pt x="447" y="558"/>
                        </a:lnTo>
                        <a:lnTo>
                          <a:pt x="442" y="558"/>
                        </a:lnTo>
                        <a:lnTo>
                          <a:pt x="437" y="558"/>
                        </a:lnTo>
                        <a:lnTo>
                          <a:pt x="432" y="558"/>
                        </a:lnTo>
                        <a:lnTo>
                          <a:pt x="429" y="561"/>
                        </a:lnTo>
                        <a:lnTo>
                          <a:pt x="425" y="563"/>
                        </a:lnTo>
                        <a:lnTo>
                          <a:pt x="425" y="558"/>
                        </a:lnTo>
                        <a:lnTo>
                          <a:pt x="422" y="555"/>
                        </a:lnTo>
                        <a:lnTo>
                          <a:pt x="420" y="546"/>
                        </a:lnTo>
                        <a:lnTo>
                          <a:pt x="417" y="541"/>
                        </a:lnTo>
                        <a:lnTo>
                          <a:pt x="414" y="545"/>
                        </a:lnTo>
                        <a:lnTo>
                          <a:pt x="414" y="551"/>
                        </a:lnTo>
                        <a:lnTo>
                          <a:pt x="412" y="561"/>
                        </a:lnTo>
                        <a:lnTo>
                          <a:pt x="409" y="566"/>
                        </a:lnTo>
                        <a:lnTo>
                          <a:pt x="402" y="571"/>
                        </a:lnTo>
                        <a:lnTo>
                          <a:pt x="400" y="581"/>
                        </a:lnTo>
                        <a:lnTo>
                          <a:pt x="395" y="586"/>
                        </a:lnTo>
                        <a:lnTo>
                          <a:pt x="390" y="586"/>
                        </a:lnTo>
                        <a:lnTo>
                          <a:pt x="389" y="599"/>
                        </a:lnTo>
                        <a:lnTo>
                          <a:pt x="385" y="603"/>
                        </a:lnTo>
                        <a:lnTo>
                          <a:pt x="380" y="601"/>
                        </a:lnTo>
                        <a:lnTo>
                          <a:pt x="375" y="603"/>
                        </a:lnTo>
                        <a:lnTo>
                          <a:pt x="372" y="599"/>
                        </a:lnTo>
                        <a:lnTo>
                          <a:pt x="375" y="598"/>
                        </a:lnTo>
                        <a:lnTo>
                          <a:pt x="375" y="596"/>
                        </a:lnTo>
                        <a:lnTo>
                          <a:pt x="377" y="589"/>
                        </a:lnTo>
                        <a:lnTo>
                          <a:pt x="374" y="588"/>
                        </a:lnTo>
                        <a:lnTo>
                          <a:pt x="370" y="586"/>
                        </a:lnTo>
                        <a:lnTo>
                          <a:pt x="365" y="588"/>
                        </a:lnTo>
                        <a:lnTo>
                          <a:pt x="359" y="589"/>
                        </a:lnTo>
                        <a:lnTo>
                          <a:pt x="357" y="586"/>
                        </a:lnTo>
                        <a:lnTo>
                          <a:pt x="349" y="583"/>
                        </a:lnTo>
                        <a:lnTo>
                          <a:pt x="347" y="578"/>
                        </a:lnTo>
                        <a:lnTo>
                          <a:pt x="349" y="571"/>
                        </a:lnTo>
                        <a:lnTo>
                          <a:pt x="350" y="566"/>
                        </a:lnTo>
                        <a:lnTo>
                          <a:pt x="349" y="560"/>
                        </a:lnTo>
                        <a:lnTo>
                          <a:pt x="352" y="556"/>
                        </a:lnTo>
                        <a:lnTo>
                          <a:pt x="347" y="553"/>
                        </a:lnTo>
                        <a:lnTo>
                          <a:pt x="345" y="550"/>
                        </a:lnTo>
                        <a:lnTo>
                          <a:pt x="344" y="543"/>
                        </a:lnTo>
                        <a:lnTo>
                          <a:pt x="344" y="536"/>
                        </a:lnTo>
                        <a:lnTo>
                          <a:pt x="344" y="526"/>
                        </a:lnTo>
                        <a:lnTo>
                          <a:pt x="349" y="510"/>
                        </a:lnTo>
                        <a:lnTo>
                          <a:pt x="349" y="501"/>
                        </a:lnTo>
                        <a:lnTo>
                          <a:pt x="342" y="495"/>
                        </a:lnTo>
                        <a:lnTo>
                          <a:pt x="339" y="490"/>
                        </a:lnTo>
                        <a:lnTo>
                          <a:pt x="340" y="483"/>
                        </a:lnTo>
                        <a:lnTo>
                          <a:pt x="352" y="481"/>
                        </a:lnTo>
                        <a:lnTo>
                          <a:pt x="354" y="486"/>
                        </a:lnTo>
                        <a:lnTo>
                          <a:pt x="360" y="491"/>
                        </a:lnTo>
                        <a:lnTo>
                          <a:pt x="367" y="491"/>
                        </a:lnTo>
                        <a:lnTo>
                          <a:pt x="375" y="485"/>
                        </a:lnTo>
                        <a:lnTo>
                          <a:pt x="372" y="480"/>
                        </a:lnTo>
                        <a:lnTo>
                          <a:pt x="365" y="475"/>
                        </a:lnTo>
                        <a:lnTo>
                          <a:pt x="364" y="468"/>
                        </a:lnTo>
                        <a:lnTo>
                          <a:pt x="367" y="461"/>
                        </a:lnTo>
                        <a:lnTo>
                          <a:pt x="372" y="458"/>
                        </a:lnTo>
                        <a:lnTo>
                          <a:pt x="372" y="456"/>
                        </a:lnTo>
                        <a:lnTo>
                          <a:pt x="379" y="456"/>
                        </a:lnTo>
                        <a:lnTo>
                          <a:pt x="379" y="455"/>
                        </a:lnTo>
                        <a:lnTo>
                          <a:pt x="375" y="452"/>
                        </a:lnTo>
                        <a:lnTo>
                          <a:pt x="375" y="450"/>
                        </a:lnTo>
                        <a:lnTo>
                          <a:pt x="382" y="450"/>
                        </a:lnTo>
                        <a:lnTo>
                          <a:pt x="387" y="450"/>
                        </a:lnTo>
                        <a:lnTo>
                          <a:pt x="392" y="447"/>
                        </a:lnTo>
                        <a:lnTo>
                          <a:pt x="394" y="443"/>
                        </a:lnTo>
                        <a:lnTo>
                          <a:pt x="394" y="442"/>
                        </a:lnTo>
                        <a:lnTo>
                          <a:pt x="399" y="435"/>
                        </a:lnTo>
                        <a:lnTo>
                          <a:pt x="402" y="428"/>
                        </a:lnTo>
                        <a:lnTo>
                          <a:pt x="404" y="423"/>
                        </a:lnTo>
                        <a:lnTo>
                          <a:pt x="405" y="418"/>
                        </a:lnTo>
                        <a:lnTo>
                          <a:pt x="397" y="413"/>
                        </a:lnTo>
                        <a:lnTo>
                          <a:pt x="382" y="405"/>
                        </a:lnTo>
                        <a:lnTo>
                          <a:pt x="379" y="402"/>
                        </a:lnTo>
                        <a:lnTo>
                          <a:pt x="379" y="397"/>
                        </a:lnTo>
                        <a:lnTo>
                          <a:pt x="390" y="388"/>
                        </a:lnTo>
                        <a:lnTo>
                          <a:pt x="387" y="385"/>
                        </a:lnTo>
                        <a:lnTo>
                          <a:pt x="382" y="385"/>
                        </a:lnTo>
                        <a:lnTo>
                          <a:pt x="377" y="388"/>
                        </a:lnTo>
                        <a:lnTo>
                          <a:pt x="372" y="382"/>
                        </a:lnTo>
                        <a:lnTo>
                          <a:pt x="357" y="372"/>
                        </a:lnTo>
                        <a:lnTo>
                          <a:pt x="354" y="367"/>
                        </a:lnTo>
                        <a:lnTo>
                          <a:pt x="349" y="367"/>
                        </a:lnTo>
                        <a:lnTo>
                          <a:pt x="337" y="368"/>
                        </a:lnTo>
                        <a:lnTo>
                          <a:pt x="331" y="372"/>
                        </a:lnTo>
                        <a:lnTo>
                          <a:pt x="326" y="373"/>
                        </a:lnTo>
                        <a:lnTo>
                          <a:pt x="326" y="377"/>
                        </a:lnTo>
                        <a:lnTo>
                          <a:pt x="321" y="372"/>
                        </a:lnTo>
                        <a:lnTo>
                          <a:pt x="319" y="365"/>
                        </a:lnTo>
                        <a:lnTo>
                          <a:pt x="319" y="358"/>
                        </a:lnTo>
                        <a:lnTo>
                          <a:pt x="322" y="352"/>
                        </a:lnTo>
                        <a:lnTo>
                          <a:pt x="324" y="348"/>
                        </a:lnTo>
                        <a:lnTo>
                          <a:pt x="324" y="340"/>
                        </a:lnTo>
                        <a:lnTo>
                          <a:pt x="317" y="340"/>
                        </a:lnTo>
                        <a:lnTo>
                          <a:pt x="317" y="337"/>
                        </a:lnTo>
                        <a:lnTo>
                          <a:pt x="321" y="332"/>
                        </a:lnTo>
                        <a:lnTo>
                          <a:pt x="326" y="330"/>
                        </a:lnTo>
                        <a:lnTo>
                          <a:pt x="329" y="327"/>
                        </a:lnTo>
                        <a:lnTo>
                          <a:pt x="329" y="324"/>
                        </a:lnTo>
                        <a:lnTo>
                          <a:pt x="331" y="322"/>
                        </a:lnTo>
                        <a:lnTo>
                          <a:pt x="327" y="319"/>
                        </a:lnTo>
                        <a:lnTo>
                          <a:pt x="321" y="320"/>
                        </a:lnTo>
                        <a:lnTo>
                          <a:pt x="314" y="324"/>
                        </a:lnTo>
                        <a:lnTo>
                          <a:pt x="311" y="327"/>
                        </a:lnTo>
                        <a:lnTo>
                          <a:pt x="306" y="325"/>
                        </a:lnTo>
                        <a:lnTo>
                          <a:pt x="296" y="329"/>
                        </a:lnTo>
                        <a:lnTo>
                          <a:pt x="289" y="329"/>
                        </a:lnTo>
                        <a:lnTo>
                          <a:pt x="287" y="330"/>
                        </a:lnTo>
                        <a:lnTo>
                          <a:pt x="281" y="329"/>
                        </a:lnTo>
                        <a:lnTo>
                          <a:pt x="281" y="325"/>
                        </a:lnTo>
                        <a:lnTo>
                          <a:pt x="276" y="322"/>
                        </a:lnTo>
                        <a:lnTo>
                          <a:pt x="271" y="322"/>
                        </a:lnTo>
                        <a:lnTo>
                          <a:pt x="262" y="329"/>
                        </a:lnTo>
                        <a:lnTo>
                          <a:pt x="261" y="337"/>
                        </a:lnTo>
                        <a:lnTo>
                          <a:pt x="262" y="340"/>
                        </a:lnTo>
                        <a:lnTo>
                          <a:pt x="259" y="347"/>
                        </a:lnTo>
                        <a:lnTo>
                          <a:pt x="257" y="350"/>
                        </a:lnTo>
                        <a:lnTo>
                          <a:pt x="254" y="350"/>
                        </a:lnTo>
                        <a:lnTo>
                          <a:pt x="252" y="350"/>
                        </a:lnTo>
                        <a:lnTo>
                          <a:pt x="249" y="350"/>
                        </a:lnTo>
                        <a:lnTo>
                          <a:pt x="249" y="347"/>
                        </a:lnTo>
                        <a:lnTo>
                          <a:pt x="249" y="344"/>
                        </a:lnTo>
                        <a:lnTo>
                          <a:pt x="251" y="339"/>
                        </a:lnTo>
                        <a:lnTo>
                          <a:pt x="249" y="337"/>
                        </a:lnTo>
                        <a:lnTo>
                          <a:pt x="242" y="334"/>
                        </a:lnTo>
                        <a:lnTo>
                          <a:pt x="239" y="339"/>
                        </a:lnTo>
                        <a:lnTo>
                          <a:pt x="241" y="340"/>
                        </a:lnTo>
                        <a:lnTo>
                          <a:pt x="231" y="348"/>
                        </a:lnTo>
                        <a:lnTo>
                          <a:pt x="227" y="353"/>
                        </a:lnTo>
                        <a:lnTo>
                          <a:pt x="231" y="357"/>
                        </a:lnTo>
                        <a:lnTo>
                          <a:pt x="234" y="355"/>
                        </a:lnTo>
                        <a:lnTo>
                          <a:pt x="236" y="357"/>
                        </a:lnTo>
                        <a:lnTo>
                          <a:pt x="239" y="358"/>
                        </a:lnTo>
                        <a:lnTo>
                          <a:pt x="234" y="360"/>
                        </a:lnTo>
                        <a:lnTo>
                          <a:pt x="229" y="360"/>
                        </a:lnTo>
                        <a:lnTo>
                          <a:pt x="214" y="363"/>
                        </a:lnTo>
                        <a:lnTo>
                          <a:pt x="204" y="372"/>
                        </a:lnTo>
                        <a:lnTo>
                          <a:pt x="204" y="378"/>
                        </a:lnTo>
                        <a:lnTo>
                          <a:pt x="199" y="382"/>
                        </a:lnTo>
                        <a:lnTo>
                          <a:pt x="194" y="378"/>
                        </a:lnTo>
                        <a:lnTo>
                          <a:pt x="193" y="372"/>
                        </a:lnTo>
                        <a:lnTo>
                          <a:pt x="196" y="370"/>
                        </a:lnTo>
                        <a:lnTo>
                          <a:pt x="194" y="360"/>
                        </a:lnTo>
                        <a:lnTo>
                          <a:pt x="188" y="363"/>
                        </a:lnTo>
                        <a:lnTo>
                          <a:pt x="183" y="367"/>
                        </a:lnTo>
                        <a:lnTo>
                          <a:pt x="179" y="372"/>
                        </a:lnTo>
                        <a:lnTo>
                          <a:pt x="176" y="370"/>
                        </a:lnTo>
                        <a:lnTo>
                          <a:pt x="171" y="368"/>
                        </a:lnTo>
                        <a:lnTo>
                          <a:pt x="171" y="365"/>
                        </a:lnTo>
                        <a:lnTo>
                          <a:pt x="173" y="360"/>
                        </a:lnTo>
                        <a:lnTo>
                          <a:pt x="174" y="357"/>
                        </a:lnTo>
                        <a:lnTo>
                          <a:pt x="171" y="357"/>
                        </a:lnTo>
                        <a:lnTo>
                          <a:pt x="168" y="360"/>
                        </a:lnTo>
                        <a:lnTo>
                          <a:pt x="163" y="358"/>
                        </a:lnTo>
                        <a:lnTo>
                          <a:pt x="163" y="357"/>
                        </a:lnTo>
                        <a:lnTo>
                          <a:pt x="158" y="355"/>
                        </a:lnTo>
                        <a:lnTo>
                          <a:pt x="154" y="355"/>
                        </a:lnTo>
                        <a:lnTo>
                          <a:pt x="149" y="355"/>
                        </a:lnTo>
                        <a:lnTo>
                          <a:pt x="143" y="358"/>
                        </a:lnTo>
                        <a:lnTo>
                          <a:pt x="138" y="362"/>
                        </a:lnTo>
                        <a:lnTo>
                          <a:pt x="133" y="355"/>
                        </a:lnTo>
                        <a:lnTo>
                          <a:pt x="129" y="358"/>
                        </a:lnTo>
                        <a:lnTo>
                          <a:pt x="126" y="357"/>
                        </a:lnTo>
                        <a:lnTo>
                          <a:pt x="121" y="358"/>
                        </a:lnTo>
                        <a:lnTo>
                          <a:pt x="119" y="358"/>
                        </a:lnTo>
                        <a:lnTo>
                          <a:pt x="116" y="353"/>
                        </a:lnTo>
                        <a:lnTo>
                          <a:pt x="113" y="355"/>
                        </a:lnTo>
                        <a:lnTo>
                          <a:pt x="111" y="362"/>
                        </a:lnTo>
                        <a:lnTo>
                          <a:pt x="108" y="363"/>
                        </a:lnTo>
                        <a:lnTo>
                          <a:pt x="106" y="360"/>
                        </a:lnTo>
                        <a:lnTo>
                          <a:pt x="104" y="357"/>
                        </a:lnTo>
                        <a:lnTo>
                          <a:pt x="106" y="353"/>
                        </a:lnTo>
                        <a:lnTo>
                          <a:pt x="101" y="350"/>
                        </a:lnTo>
                        <a:lnTo>
                          <a:pt x="93" y="350"/>
                        </a:lnTo>
                        <a:lnTo>
                          <a:pt x="88" y="353"/>
                        </a:lnTo>
                        <a:lnTo>
                          <a:pt x="83" y="353"/>
                        </a:lnTo>
                        <a:lnTo>
                          <a:pt x="76" y="355"/>
                        </a:lnTo>
                        <a:lnTo>
                          <a:pt x="71" y="355"/>
                        </a:lnTo>
                        <a:lnTo>
                          <a:pt x="66" y="357"/>
                        </a:lnTo>
                        <a:lnTo>
                          <a:pt x="60" y="360"/>
                        </a:lnTo>
                        <a:lnTo>
                          <a:pt x="55" y="363"/>
                        </a:lnTo>
                        <a:lnTo>
                          <a:pt x="48" y="367"/>
                        </a:lnTo>
                        <a:lnTo>
                          <a:pt x="45" y="373"/>
                        </a:lnTo>
                        <a:lnTo>
                          <a:pt x="38" y="373"/>
                        </a:lnTo>
                        <a:lnTo>
                          <a:pt x="38" y="382"/>
                        </a:lnTo>
                        <a:lnTo>
                          <a:pt x="38" y="388"/>
                        </a:lnTo>
                        <a:lnTo>
                          <a:pt x="38" y="393"/>
                        </a:lnTo>
                        <a:lnTo>
                          <a:pt x="38" y="400"/>
                        </a:lnTo>
                        <a:lnTo>
                          <a:pt x="41" y="403"/>
                        </a:lnTo>
                        <a:lnTo>
                          <a:pt x="40" y="412"/>
                        </a:lnTo>
                        <a:lnTo>
                          <a:pt x="35" y="415"/>
                        </a:lnTo>
                        <a:lnTo>
                          <a:pt x="31" y="415"/>
                        </a:lnTo>
                        <a:lnTo>
                          <a:pt x="31" y="415"/>
                        </a:lnTo>
                        <a:lnTo>
                          <a:pt x="31" y="415"/>
                        </a:lnTo>
                        <a:close/>
                      </a:path>
                    </a:pathLst>
                  </a:custGeom>
                  <a:solidFill>
                    <a:srgbClr val="77B8E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a:latin typeface="Proxima Nova A" panose="02000506030000020004" pitchFamily="2" charset="0"/>
                    </a:endParaRPr>
                  </a:p>
                </p:txBody>
              </p:sp>
              <p:sp>
                <p:nvSpPr>
                  <p:cNvPr id="153" name="Freeform 1070">
                    <a:extLst>
                      <a:ext uri="{FF2B5EF4-FFF2-40B4-BE49-F238E27FC236}">
                        <a16:creationId xmlns:a16="http://schemas.microsoft.com/office/drawing/2014/main" id="{882643BA-E25D-4004-B9C9-FF86BA8C1A37}"/>
                      </a:ext>
                    </a:extLst>
                  </p:cNvPr>
                  <p:cNvSpPr>
                    <a:spLocks/>
                  </p:cNvSpPr>
                  <p:nvPr/>
                </p:nvSpPr>
                <p:spPr bwMode="auto">
                  <a:xfrm>
                    <a:off x="6329356" y="3122312"/>
                    <a:ext cx="201483" cy="333965"/>
                  </a:xfrm>
                  <a:custGeom>
                    <a:avLst/>
                    <a:gdLst>
                      <a:gd name="T0" fmla="*/ 126 w 146"/>
                      <a:gd name="T1" fmla="*/ 6 h 242"/>
                      <a:gd name="T2" fmla="*/ 129 w 146"/>
                      <a:gd name="T3" fmla="*/ 16 h 242"/>
                      <a:gd name="T4" fmla="*/ 131 w 146"/>
                      <a:gd name="T5" fmla="*/ 25 h 242"/>
                      <a:gd name="T6" fmla="*/ 129 w 146"/>
                      <a:gd name="T7" fmla="*/ 41 h 242"/>
                      <a:gd name="T8" fmla="*/ 139 w 146"/>
                      <a:gd name="T9" fmla="*/ 49 h 242"/>
                      <a:gd name="T10" fmla="*/ 146 w 146"/>
                      <a:gd name="T11" fmla="*/ 53 h 242"/>
                      <a:gd name="T12" fmla="*/ 142 w 146"/>
                      <a:gd name="T13" fmla="*/ 61 h 242"/>
                      <a:gd name="T14" fmla="*/ 146 w 146"/>
                      <a:gd name="T15" fmla="*/ 103 h 242"/>
                      <a:gd name="T16" fmla="*/ 142 w 146"/>
                      <a:gd name="T17" fmla="*/ 119 h 242"/>
                      <a:gd name="T18" fmla="*/ 136 w 146"/>
                      <a:gd name="T19" fmla="*/ 129 h 242"/>
                      <a:gd name="T20" fmla="*/ 122 w 146"/>
                      <a:gd name="T21" fmla="*/ 129 h 242"/>
                      <a:gd name="T22" fmla="*/ 109 w 146"/>
                      <a:gd name="T23" fmla="*/ 133 h 242"/>
                      <a:gd name="T24" fmla="*/ 101 w 146"/>
                      <a:gd name="T25" fmla="*/ 126 h 242"/>
                      <a:gd name="T26" fmla="*/ 99 w 146"/>
                      <a:gd name="T27" fmla="*/ 141 h 242"/>
                      <a:gd name="T28" fmla="*/ 106 w 146"/>
                      <a:gd name="T29" fmla="*/ 157 h 242"/>
                      <a:gd name="T30" fmla="*/ 93 w 146"/>
                      <a:gd name="T31" fmla="*/ 172 h 242"/>
                      <a:gd name="T32" fmla="*/ 84 w 146"/>
                      <a:gd name="T33" fmla="*/ 191 h 242"/>
                      <a:gd name="T34" fmla="*/ 94 w 146"/>
                      <a:gd name="T35" fmla="*/ 212 h 242"/>
                      <a:gd name="T36" fmla="*/ 83 w 146"/>
                      <a:gd name="T37" fmla="*/ 232 h 242"/>
                      <a:gd name="T38" fmla="*/ 71 w 146"/>
                      <a:gd name="T39" fmla="*/ 242 h 242"/>
                      <a:gd name="T40" fmla="*/ 58 w 146"/>
                      <a:gd name="T41" fmla="*/ 232 h 242"/>
                      <a:gd name="T42" fmla="*/ 54 w 146"/>
                      <a:gd name="T43" fmla="*/ 219 h 242"/>
                      <a:gd name="T44" fmla="*/ 39 w 146"/>
                      <a:gd name="T45" fmla="*/ 197 h 242"/>
                      <a:gd name="T46" fmla="*/ 34 w 146"/>
                      <a:gd name="T47" fmla="*/ 204 h 242"/>
                      <a:gd name="T48" fmla="*/ 36 w 146"/>
                      <a:gd name="T49" fmla="*/ 216 h 242"/>
                      <a:gd name="T50" fmla="*/ 38 w 146"/>
                      <a:gd name="T51" fmla="*/ 227 h 242"/>
                      <a:gd name="T52" fmla="*/ 29 w 146"/>
                      <a:gd name="T53" fmla="*/ 221 h 242"/>
                      <a:gd name="T54" fmla="*/ 26 w 146"/>
                      <a:gd name="T55" fmla="*/ 207 h 242"/>
                      <a:gd name="T56" fmla="*/ 21 w 146"/>
                      <a:gd name="T57" fmla="*/ 189 h 242"/>
                      <a:gd name="T58" fmla="*/ 13 w 146"/>
                      <a:gd name="T59" fmla="*/ 169 h 242"/>
                      <a:gd name="T60" fmla="*/ 0 w 146"/>
                      <a:gd name="T61" fmla="*/ 152 h 242"/>
                      <a:gd name="T62" fmla="*/ 0 w 146"/>
                      <a:gd name="T63" fmla="*/ 141 h 242"/>
                      <a:gd name="T64" fmla="*/ 1 w 146"/>
                      <a:gd name="T65" fmla="*/ 128 h 242"/>
                      <a:gd name="T66" fmla="*/ 8 w 146"/>
                      <a:gd name="T67" fmla="*/ 111 h 242"/>
                      <a:gd name="T68" fmla="*/ 11 w 146"/>
                      <a:gd name="T69" fmla="*/ 99 h 242"/>
                      <a:gd name="T70" fmla="*/ 23 w 146"/>
                      <a:gd name="T71" fmla="*/ 88 h 242"/>
                      <a:gd name="T72" fmla="*/ 26 w 146"/>
                      <a:gd name="T73" fmla="*/ 71 h 242"/>
                      <a:gd name="T74" fmla="*/ 39 w 146"/>
                      <a:gd name="T75" fmla="*/ 79 h 242"/>
                      <a:gd name="T76" fmla="*/ 54 w 146"/>
                      <a:gd name="T77" fmla="*/ 69 h 242"/>
                      <a:gd name="T78" fmla="*/ 63 w 146"/>
                      <a:gd name="T79" fmla="*/ 61 h 242"/>
                      <a:gd name="T80" fmla="*/ 71 w 146"/>
                      <a:gd name="T81" fmla="*/ 59 h 242"/>
                      <a:gd name="T82" fmla="*/ 78 w 146"/>
                      <a:gd name="T83" fmla="*/ 53 h 242"/>
                      <a:gd name="T84" fmla="*/ 83 w 146"/>
                      <a:gd name="T85" fmla="*/ 61 h 242"/>
                      <a:gd name="T86" fmla="*/ 91 w 146"/>
                      <a:gd name="T87" fmla="*/ 64 h 242"/>
                      <a:gd name="T88" fmla="*/ 93 w 146"/>
                      <a:gd name="T89" fmla="*/ 49 h 242"/>
                      <a:gd name="T90" fmla="*/ 89 w 146"/>
                      <a:gd name="T91" fmla="*/ 39 h 242"/>
                      <a:gd name="T92" fmla="*/ 96 w 146"/>
                      <a:gd name="T93" fmla="*/ 34 h 242"/>
                      <a:gd name="T94" fmla="*/ 104 w 146"/>
                      <a:gd name="T95" fmla="*/ 26 h 242"/>
                      <a:gd name="T96" fmla="*/ 114 w 146"/>
                      <a:gd name="T97" fmla="*/ 26 h 242"/>
                      <a:gd name="T98" fmla="*/ 117 w 146"/>
                      <a:gd name="T99" fmla="*/ 8 h 242"/>
                      <a:gd name="T100" fmla="*/ 126 w 146"/>
                      <a:gd name="T101" fmla="*/ 0 h 242"/>
                      <a:gd name="T102" fmla="*/ 126 w 146"/>
                      <a:gd name="T103"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6" h="242">
                        <a:moveTo>
                          <a:pt x="126" y="0"/>
                        </a:moveTo>
                        <a:lnTo>
                          <a:pt x="126" y="6"/>
                        </a:lnTo>
                        <a:lnTo>
                          <a:pt x="126" y="11"/>
                        </a:lnTo>
                        <a:lnTo>
                          <a:pt x="129" y="16"/>
                        </a:lnTo>
                        <a:lnTo>
                          <a:pt x="134" y="20"/>
                        </a:lnTo>
                        <a:lnTo>
                          <a:pt x="131" y="25"/>
                        </a:lnTo>
                        <a:lnTo>
                          <a:pt x="132" y="31"/>
                        </a:lnTo>
                        <a:lnTo>
                          <a:pt x="129" y="41"/>
                        </a:lnTo>
                        <a:lnTo>
                          <a:pt x="129" y="48"/>
                        </a:lnTo>
                        <a:lnTo>
                          <a:pt x="139" y="49"/>
                        </a:lnTo>
                        <a:lnTo>
                          <a:pt x="141" y="53"/>
                        </a:lnTo>
                        <a:lnTo>
                          <a:pt x="146" y="53"/>
                        </a:lnTo>
                        <a:lnTo>
                          <a:pt x="146" y="56"/>
                        </a:lnTo>
                        <a:lnTo>
                          <a:pt x="142" y="61"/>
                        </a:lnTo>
                        <a:lnTo>
                          <a:pt x="144" y="88"/>
                        </a:lnTo>
                        <a:lnTo>
                          <a:pt x="146" y="103"/>
                        </a:lnTo>
                        <a:lnTo>
                          <a:pt x="141" y="108"/>
                        </a:lnTo>
                        <a:lnTo>
                          <a:pt x="142" y="119"/>
                        </a:lnTo>
                        <a:lnTo>
                          <a:pt x="139" y="128"/>
                        </a:lnTo>
                        <a:lnTo>
                          <a:pt x="136" y="129"/>
                        </a:lnTo>
                        <a:lnTo>
                          <a:pt x="129" y="123"/>
                        </a:lnTo>
                        <a:lnTo>
                          <a:pt x="122" y="129"/>
                        </a:lnTo>
                        <a:lnTo>
                          <a:pt x="116" y="134"/>
                        </a:lnTo>
                        <a:lnTo>
                          <a:pt x="109" y="133"/>
                        </a:lnTo>
                        <a:lnTo>
                          <a:pt x="106" y="126"/>
                        </a:lnTo>
                        <a:lnTo>
                          <a:pt x="101" y="126"/>
                        </a:lnTo>
                        <a:lnTo>
                          <a:pt x="101" y="133"/>
                        </a:lnTo>
                        <a:lnTo>
                          <a:pt x="99" y="141"/>
                        </a:lnTo>
                        <a:lnTo>
                          <a:pt x="103" y="151"/>
                        </a:lnTo>
                        <a:lnTo>
                          <a:pt x="106" y="157"/>
                        </a:lnTo>
                        <a:lnTo>
                          <a:pt x="101" y="164"/>
                        </a:lnTo>
                        <a:lnTo>
                          <a:pt x="93" y="172"/>
                        </a:lnTo>
                        <a:lnTo>
                          <a:pt x="89" y="179"/>
                        </a:lnTo>
                        <a:lnTo>
                          <a:pt x="84" y="191"/>
                        </a:lnTo>
                        <a:lnTo>
                          <a:pt x="89" y="201"/>
                        </a:lnTo>
                        <a:lnTo>
                          <a:pt x="94" y="212"/>
                        </a:lnTo>
                        <a:lnTo>
                          <a:pt x="88" y="229"/>
                        </a:lnTo>
                        <a:lnTo>
                          <a:pt x="83" y="232"/>
                        </a:lnTo>
                        <a:lnTo>
                          <a:pt x="74" y="236"/>
                        </a:lnTo>
                        <a:lnTo>
                          <a:pt x="71" y="242"/>
                        </a:lnTo>
                        <a:lnTo>
                          <a:pt x="66" y="236"/>
                        </a:lnTo>
                        <a:lnTo>
                          <a:pt x="58" y="232"/>
                        </a:lnTo>
                        <a:lnTo>
                          <a:pt x="56" y="227"/>
                        </a:lnTo>
                        <a:lnTo>
                          <a:pt x="54" y="219"/>
                        </a:lnTo>
                        <a:lnTo>
                          <a:pt x="46" y="206"/>
                        </a:lnTo>
                        <a:lnTo>
                          <a:pt x="39" y="197"/>
                        </a:lnTo>
                        <a:lnTo>
                          <a:pt x="36" y="197"/>
                        </a:lnTo>
                        <a:lnTo>
                          <a:pt x="34" y="204"/>
                        </a:lnTo>
                        <a:lnTo>
                          <a:pt x="33" y="209"/>
                        </a:lnTo>
                        <a:lnTo>
                          <a:pt x="36" y="216"/>
                        </a:lnTo>
                        <a:lnTo>
                          <a:pt x="41" y="224"/>
                        </a:lnTo>
                        <a:lnTo>
                          <a:pt x="38" y="227"/>
                        </a:lnTo>
                        <a:lnTo>
                          <a:pt x="33" y="226"/>
                        </a:lnTo>
                        <a:lnTo>
                          <a:pt x="29" y="221"/>
                        </a:lnTo>
                        <a:lnTo>
                          <a:pt x="28" y="214"/>
                        </a:lnTo>
                        <a:lnTo>
                          <a:pt x="26" y="207"/>
                        </a:lnTo>
                        <a:lnTo>
                          <a:pt x="24" y="196"/>
                        </a:lnTo>
                        <a:lnTo>
                          <a:pt x="21" y="189"/>
                        </a:lnTo>
                        <a:lnTo>
                          <a:pt x="16" y="176"/>
                        </a:lnTo>
                        <a:lnTo>
                          <a:pt x="13" y="169"/>
                        </a:lnTo>
                        <a:lnTo>
                          <a:pt x="6" y="159"/>
                        </a:lnTo>
                        <a:lnTo>
                          <a:pt x="0" y="152"/>
                        </a:lnTo>
                        <a:lnTo>
                          <a:pt x="3" y="147"/>
                        </a:lnTo>
                        <a:lnTo>
                          <a:pt x="0" y="141"/>
                        </a:lnTo>
                        <a:lnTo>
                          <a:pt x="1" y="137"/>
                        </a:lnTo>
                        <a:lnTo>
                          <a:pt x="1" y="128"/>
                        </a:lnTo>
                        <a:lnTo>
                          <a:pt x="4" y="119"/>
                        </a:lnTo>
                        <a:lnTo>
                          <a:pt x="8" y="111"/>
                        </a:lnTo>
                        <a:lnTo>
                          <a:pt x="4" y="109"/>
                        </a:lnTo>
                        <a:lnTo>
                          <a:pt x="11" y="99"/>
                        </a:lnTo>
                        <a:lnTo>
                          <a:pt x="18" y="91"/>
                        </a:lnTo>
                        <a:lnTo>
                          <a:pt x="23" y="88"/>
                        </a:lnTo>
                        <a:lnTo>
                          <a:pt x="21" y="78"/>
                        </a:lnTo>
                        <a:lnTo>
                          <a:pt x="26" y="71"/>
                        </a:lnTo>
                        <a:lnTo>
                          <a:pt x="29" y="76"/>
                        </a:lnTo>
                        <a:lnTo>
                          <a:pt x="39" y="79"/>
                        </a:lnTo>
                        <a:lnTo>
                          <a:pt x="48" y="74"/>
                        </a:lnTo>
                        <a:lnTo>
                          <a:pt x="54" y="69"/>
                        </a:lnTo>
                        <a:lnTo>
                          <a:pt x="59" y="56"/>
                        </a:lnTo>
                        <a:lnTo>
                          <a:pt x="63" y="61"/>
                        </a:lnTo>
                        <a:lnTo>
                          <a:pt x="69" y="64"/>
                        </a:lnTo>
                        <a:lnTo>
                          <a:pt x="71" y="59"/>
                        </a:lnTo>
                        <a:lnTo>
                          <a:pt x="71" y="51"/>
                        </a:lnTo>
                        <a:lnTo>
                          <a:pt x="78" y="53"/>
                        </a:lnTo>
                        <a:lnTo>
                          <a:pt x="83" y="56"/>
                        </a:lnTo>
                        <a:lnTo>
                          <a:pt x="83" y="61"/>
                        </a:lnTo>
                        <a:lnTo>
                          <a:pt x="86" y="66"/>
                        </a:lnTo>
                        <a:lnTo>
                          <a:pt x="91" y="64"/>
                        </a:lnTo>
                        <a:lnTo>
                          <a:pt x="93" y="58"/>
                        </a:lnTo>
                        <a:lnTo>
                          <a:pt x="93" y="49"/>
                        </a:lnTo>
                        <a:lnTo>
                          <a:pt x="89" y="46"/>
                        </a:lnTo>
                        <a:lnTo>
                          <a:pt x="89" y="39"/>
                        </a:lnTo>
                        <a:lnTo>
                          <a:pt x="91" y="31"/>
                        </a:lnTo>
                        <a:lnTo>
                          <a:pt x="96" y="34"/>
                        </a:lnTo>
                        <a:lnTo>
                          <a:pt x="99" y="28"/>
                        </a:lnTo>
                        <a:lnTo>
                          <a:pt x="104" y="26"/>
                        </a:lnTo>
                        <a:lnTo>
                          <a:pt x="109" y="29"/>
                        </a:lnTo>
                        <a:lnTo>
                          <a:pt x="114" y="26"/>
                        </a:lnTo>
                        <a:lnTo>
                          <a:pt x="117" y="20"/>
                        </a:lnTo>
                        <a:lnTo>
                          <a:pt x="117" y="8"/>
                        </a:lnTo>
                        <a:lnTo>
                          <a:pt x="122" y="3"/>
                        </a:lnTo>
                        <a:lnTo>
                          <a:pt x="126" y="0"/>
                        </a:lnTo>
                        <a:lnTo>
                          <a:pt x="126" y="0"/>
                        </a:lnTo>
                        <a:lnTo>
                          <a:pt x="126" y="0"/>
                        </a:lnTo>
                        <a:close/>
                      </a:path>
                    </a:pathLst>
                  </a:custGeom>
                  <a:solidFill>
                    <a:srgbClr val="B79F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a:latin typeface="Proxima Nova A" panose="02000506030000020004" pitchFamily="2" charset="0"/>
                    </a:endParaRPr>
                  </a:p>
                </p:txBody>
              </p:sp>
              <p:sp>
                <p:nvSpPr>
                  <p:cNvPr id="154" name="Freeform 1072">
                    <a:extLst>
                      <a:ext uri="{FF2B5EF4-FFF2-40B4-BE49-F238E27FC236}">
                        <a16:creationId xmlns:a16="http://schemas.microsoft.com/office/drawing/2014/main" id="{CB8EEABC-E9F7-4B16-95B8-C071838E9C5A}"/>
                      </a:ext>
                    </a:extLst>
                  </p:cNvPr>
                  <p:cNvSpPr>
                    <a:spLocks/>
                  </p:cNvSpPr>
                  <p:nvPr/>
                </p:nvSpPr>
                <p:spPr bwMode="auto">
                  <a:xfrm>
                    <a:off x="6521179" y="3129213"/>
                    <a:ext cx="220804" cy="496808"/>
                  </a:xfrm>
                  <a:custGeom>
                    <a:avLst/>
                    <a:gdLst>
                      <a:gd name="T0" fmla="*/ 151 w 160"/>
                      <a:gd name="T1" fmla="*/ 199 h 360"/>
                      <a:gd name="T2" fmla="*/ 156 w 160"/>
                      <a:gd name="T3" fmla="*/ 176 h 360"/>
                      <a:gd name="T4" fmla="*/ 153 w 160"/>
                      <a:gd name="T5" fmla="*/ 157 h 360"/>
                      <a:gd name="T6" fmla="*/ 153 w 160"/>
                      <a:gd name="T7" fmla="*/ 141 h 360"/>
                      <a:gd name="T8" fmla="*/ 156 w 160"/>
                      <a:gd name="T9" fmla="*/ 113 h 360"/>
                      <a:gd name="T10" fmla="*/ 151 w 160"/>
                      <a:gd name="T11" fmla="*/ 93 h 360"/>
                      <a:gd name="T12" fmla="*/ 146 w 160"/>
                      <a:gd name="T13" fmla="*/ 71 h 360"/>
                      <a:gd name="T14" fmla="*/ 145 w 160"/>
                      <a:gd name="T15" fmla="*/ 71 h 360"/>
                      <a:gd name="T16" fmla="*/ 136 w 160"/>
                      <a:gd name="T17" fmla="*/ 61 h 360"/>
                      <a:gd name="T18" fmla="*/ 125 w 160"/>
                      <a:gd name="T19" fmla="*/ 56 h 360"/>
                      <a:gd name="T20" fmla="*/ 118 w 160"/>
                      <a:gd name="T21" fmla="*/ 58 h 360"/>
                      <a:gd name="T22" fmla="*/ 108 w 160"/>
                      <a:gd name="T23" fmla="*/ 59 h 360"/>
                      <a:gd name="T24" fmla="*/ 98 w 160"/>
                      <a:gd name="T25" fmla="*/ 56 h 360"/>
                      <a:gd name="T26" fmla="*/ 96 w 160"/>
                      <a:gd name="T27" fmla="*/ 39 h 360"/>
                      <a:gd name="T28" fmla="*/ 96 w 160"/>
                      <a:gd name="T29" fmla="*/ 24 h 360"/>
                      <a:gd name="T30" fmla="*/ 87 w 160"/>
                      <a:gd name="T31" fmla="*/ 16 h 360"/>
                      <a:gd name="T32" fmla="*/ 75 w 160"/>
                      <a:gd name="T33" fmla="*/ 16 h 360"/>
                      <a:gd name="T34" fmla="*/ 68 w 160"/>
                      <a:gd name="T35" fmla="*/ 16 h 360"/>
                      <a:gd name="T36" fmla="*/ 65 w 160"/>
                      <a:gd name="T37" fmla="*/ 3 h 360"/>
                      <a:gd name="T38" fmla="*/ 58 w 160"/>
                      <a:gd name="T39" fmla="*/ 10 h 360"/>
                      <a:gd name="T40" fmla="*/ 43 w 160"/>
                      <a:gd name="T41" fmla="*/ 39 h 360"/>
                      <a:gd name="T42" fmla="*/ 32 w 160"/>
                      <a:gd name="T43" fmla="*/ 58 h 360"/>
                      <a:gd name="T44" fmla="*/ 18 w 160"/>
                      <a:gd name="T45" fmla="*/ 61 h 360"/>
                      <a:gd name="T46" fmla="*/ 20 w 160"/>
                      <a:gd name="T47" fmla="*/ 48 h 360"/>
                      <a:gd name="T48" fmla="*/ 5 w 160"/>
                      <a:gd name="T49" fmla="*/ 51 h 360"/>
                      <a:gd name="T50" fmla="*/ 0 w 160"/>
                      <a:gd name="T51" fmla="*/ 103 h 360"/>
                      <a:gd name="T52" fmla="*/ 10 w 160"/>
                      <a:gd name="T53" fmla="*/ 123 h 360"/>
                      <a:gd name="T54" fmla="*/ 12 w 160"/>
                      <a:gd name="T55" fmla="*/ 149 h 360"/>
                      <a:gd name="T56" fmla="*/ 20 w 160"/>
                      <a:gd name="T57" fmla="*/ 161 h 360"/>
                      <a:gd name="T58" fmla="*/ 20 w 160"/>
                      <a:gd name="T59" fmla="*/ 179 h 360"/>
                      <a:gd name="T60" fmla="*/ 25 w 160"/>
                      <a:gd name="T61" fmla="*/ 204 h 360"/>
                      <a:gd name="T62" fmla="*/ 30 w 160"/>
                      <a:gd name="T63" fmla="*/ 229 h 360"/>
                      <a:gd name="T64" fmla="*/ 38 w 160"/>
                      <a:gd name="T65" fmla="*/ 245 h 360"/>
                      <a:gd name="T66" fmla="*/ 50 w 160"/>
                      <a:gd name="T67" fmla="*/ 274 h 360"/>
                      <a:gd name="T68" fmla="*/ 60 w 160"/>
                      <a:gd name="T69" fmla="*/ 314 h 360"/>
                      <a:gd name="T70" fmla="*/ 70 w 160"/>
                      <a:gd name="T71" fmla="*/ 335 h 360"/>
                      <a:gd name="T72" fmla="*/ 72 w 160"/>
                      <a:gd name="T73" fmla="*/ 358 h 360"/>
                      <a:gd name="T74" fmla="*/ 83 w 160"/>
                      <a:gd name="T75" fmla="*/ 355 h 360"/>
                      <a:gd name="T76" fmla="*/ 93 w 160"/>
                      <a:gd name="T77" fmla="*/ 340 h 360"/>
                      <a:gd name="T78" fmla="*/ 105 w 160"/>
                      <a:gd name="T79" fmla="*/ 350 h 360"/>
                      <a:gd name="T80" fmla="*/ 123 w 160"/>
                      <a:gd name="T81" fmla="*/ 353 h 360"/>
                      <a:gd name="T82" fmla="*/ 128 w 160"/>
                      <a:gd name="T83" fmla="*/ 339 h 360"/>
                      <a:gd name="T84" fmla="*/ 131 w 160"/>
                      <a:gd name="T85" fmla="*/ 325 h 360"/>
                      <a:gd name="T86" fmla="*/ 140 w 160"/>
                      <a:gd name="T87" fmla="*/ 317 h 360"/>
                      <a:gd name="T88" fmla="*/ 136 w 160"/>
                      <a:gd name="T89" fmla="*/ 287 h 360"/>
                      <a:gd name="T90" fmla="*/ 131 w 160"/>
                      <a:gd name="T91" fmla="*/ 260 h 360"/>
                      <a:gd name="T92" fmla="*/ 125 w 160"/>
                      <a:gd name="T93" fmla="*/ 247 h 360"/>
                      <a:gd name="T94" fmla="*/ 125 w 160"/>
                      <a:gd name="T95" fmla="*/ 219 h 360"/>
                      <a:gd name="T96" fmla="*/ 131 w 160"/>
                      <a:gd name="T97" fmla="*/ 199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0" h="360">
                        <a:moveTo>
                          <a:pt x="131" y="199"/>
                        </a:moveTo>
                        <a:lnTo>
                          <a:pt x="141" y="201"/>
                        </a:lnTo>
                        <a:lnTo>
                          <a:pt x="151" y="199"/>
                        </a:lnTo>
                        <a:lnTo>
                          <a:pt x="155" y="191"/>
                        </a:lnTo>
                        <a:lnTo>
                          <a:pt x="156" y="184"/>
                        </a:lnTo>
                        <a:lnTo>
                          <a:pt x="156" y="176"/>
                        </a:lnTo>
                        <a:lnTo>
                          <a:pt x="153" y="167"/>
                        </a:lnTo>
                        <a:lnTo>
                          <a:pt x="156" y="161"/>
                        </a:lnTo>
                        <a:lnTo>
                          <a:pt x="153" y="157"/>
                        </a:lnTo>
                        <a:lnTo>
                          <a:pt x="155" y="151"/>
                        </a:lnTo>
                        <a:lnTo>
                          <a:pt x="153" y="146"/>
                        </a:lnTo>
                        <a:lnTo>
                          <a:pt x="153" y="141"/>
                        </a:lnTo>
                        <a:lnTo>
                          <a:pt x="156" y="134"/>
                        </a:lnTo>
                        <a:lnTo>
                          <a:pt x="160" y="123"/>
                        </a:lnTo>
                        <a:lnTo>
                          <a:pt x="156" y="113"/>
                        </a:lnTo>
                        <a:lnTo>
                          <a:pt x="155" y="104"/>
                        </a:lnTo>
                        <a:lnTo>
                          <a:pt x="155" y="98"/>
                        </a:lnTo>
                        <a:lnTo>
                          <a:pt x="151" y="93"/>
                        </a:lnTo>
                        <a:lnTo>
                          <a:pt x="153" y="86"/>
                        </a:lnTo>
                        <a:lnTo>
                          <a:pt x="151" y="78"/>
                        </a:lnTo>
                        <a:lnTo>
                          <a:pt x="146" y="71"/>
                        </a:lnTo>
                        <a:lnTo>
                          <a:pt x="148" y="68"/>
                        </a:lnTo>
                        <a:lnTo>
                          <a:pt x="146" y="66"/>
                        </a:lnTo>
                        <a:lnTo>
                          <a:pt x="145" y="71"/>
                        </a:lnTo>
                        <a:lnTo>
                          <a:pt x="143" y="64"/>
                        </a:lnTo>
                        <a:lnTo>
                          <a:pt x="141" y="58"/>
                        </a:lnTo>
                        <a:lnTo>
                          <a:pt x="136" y="61"/>
                        </a:lnTo>
                        <a:lnTo>
                          <a:pt x="133" y="58"/>
                        </a:lnTo>
                        <a:lnTo>
                          <a:pt x="130" y="58"/>
                        </a:lnTo>
                        <a:lnTo>
                          <a:pt x="125" y="56"/>
                        </a:lnTo>
                        <a:lnTo>
                          <a:pt x="123" y="61"/>
                        </a:lnTo>
                        <a:lnTo>
                          <a:pt x="121" y="61"/>
                        </a:lnTo>
                        <a:lnTo>
                          <a:pt x="118" y="58"/>
                        </a:lnTo>
                        <a:lnTo>
                          <a:pt x="115" y="58"/>
                        </a:lnTo>
                        <a:lnTo>
                          <a:pt x="113" y="61"/>
                        </a:lnTo>
                        <a:lnTo>
                          <a:pt x="108" y="59"/>
                        </a:lnTo>
                        <a:lnTo>
                          <a:pt x="108" y="58"/>
                        </a:lnTo>
                        <a:lnTo>
                          <a:pt x="103" y="56"/>
                        </a:lnTo>
                        <a:lnTo>
                          <a:pt x="98" y="56"/>
                        </a:lnTo>
                        <a:lnTo>
                          <a:pt x="93" y="49"/>
                        </a:lnTo>
                        <a:lnTo>
                          <a:pt x="95" y="46"/>
                        </a:lnTo>
                        <a:lnTo>
                          <a:pt x="96" y="39"/>
                        </a:lnTo>
                        <a:lnTo>
                          <a:pt x="96" y="33"/>
                        </a:lnTo>
                        <a:lnTo>
                          <a:pt x="95" y="29"/>
                        </a:lnTo>
                        <a:lnTo>
                          <a:pt x="96" y="24"/>
                        </a:lnTo>
                        <a:lnTo>
                          <a:pt x="96" y="21"/>
                        </a:lnTo>
                        <a:lnTo>
                          <a:pt x="93" y="15"/>
                        </a:lnTo>
                        <a:lnTo>
                          <a:pt x="87" y="16"/>
                        </a:lnTo>
                        <a:lnTo>
                          <a:pt x="83" y="16"/>
                        </a:lnTo>
                        <a:lnTo>
                          <a:pt x="80" y="15"/>
                        </a:lnTo>
                        <a:lnTo>
                          <a:pt x="75" y="16"/>
                        </a:lnTo>
                        <a:lnTo>
                          <a:pt x="72" y="20"/>
                        </a:lnTo>
                        <a:lnTo>
                          <a:pt x="68" y="21"/>
                        </a:lnTo>
                        <a:lnTo>
                          <a:pt x="68" y="16"/>
                        </a:lnTo>
                        <a:lnTo>
                          <a:pt x="67" y="13"/>
                        </a:lnTo>
                        <a:lnTo>
                          <a:pt x="65" y="6"/>
                        </a:lnTo>
                        <a:lnTo>
                          <a:pt x="65" y="3"/>
                        </a:lnTo>
                        <a:lnTo>
                          <a:pt x="60" y="0"/>
                        </a:lnTo>
                        <a:lnTo>
                          <a:pt x="55" y="3"/>
                        </a:lnTo>
                        <a:lnTo>
                          <a:pt x="58" y="10"/>
                        </a:lnTo>
                        <a:lnTo>
                          <a:pt x="52" y="26"/>
                        </a:lnTo>
                        <a:lnTo>
                          <a:pt x="45" y="28"/>
                        </a:lnTo>
                        <a:lnTo>
                          <a:pt x="43" y="39"/>
                        </a:lnTo>
                        <a:lnTo>
                          <a:pt x="37" y="44"/>
                        </a:lnTo>
                        <a:lnTo>
                          <a:pt x="33" y="44"/>
                        </a:lnTo>
                        <a:lnTo>
                          <a:pt x="32" y="58"/>
                        </a:lnTo>
                        <a:lnTo>
                          <a:pt x="28" y="61"/>
                        </a:lnTo>
                        <a:lnTo>
                          <a:pt x="23" y="59"/>
                        </a:lnTo>
                        <a:lnTo>
                          <a:pt x="18" y="61"/>
                        </a:lnTo>
                        <a:lnTo>
                          <a:pt x="15" y="58"/>
                        </a:lnTo>
                        <a:lnTo>
                          <a:pt x="18" y="56"/>
                        </a:lnTo>
                        <a:lnTo>
                          <a:pt x="20" y="48"/>
                        </a:lnTo>
                        <a:lnTo>
                          <a:pt x="13" y="44"/>
                        </a:lnTo>
                        <a:lnTo>
                          <a:pt x="5" y="46"/>
                        </a:lnTo>
                        <a:lnTo>
                          <a:pt x="5" y="51"/>
                        </a:lnTo>
                        <a:lnTo>
                          <a:pt x="3" y="54"/>
                        </a:lnTo>
                        <a:lnTo>
                          <a:pt x="5" y="98"/>
                        </a:lnTo>
                        <a:lnTo>
                          <a:pt x="0" y="103"/>
                        </a:lnTo>
                        <a:lnTo>
                          <a:pt x="3" y="114"/>
                        </a:lnTo>
                        <a:lnTo>
                          <a:pt x="7" y="116"/>
                        </a:lnTo>
                        <a:lnTo>
                          <a:pt x="10" y="123"/>
                        </a:lnTo>
                        <a:lnTo>
                          <a:pt x="8" y="128"/>
                        </a:lnTo>
                        <a:lnTo>
                          <a:pt x="7" y="131"/>
                        </a:lnTo>
                        <a:lnTo>
                          <a:pt x="12" y="149"/>
                        </a:lnTo>
                        <a:lnTo>
                          <a:pt x="15" y="157"/>
                        </a:lnTo>
                        <a:lnTo>
                          <a:pt x="17" y="157"/>
                        </a:lnTo>
                        <a:lnTo>
                          <a:pt x="20" y="161"/>
                        </a:lnTo>
                        <a:lnTo>
                          <a:pt x="25" y="167"/>
                        </a:lnTo>
                        <a:lnTo>
                          <a:pt x="27" y="177"/>
                        </a:lnTo>
                        <a:lnTo>
                          <a:pt x="20" y="179"/>
                        </a:lnTo>
                        <a:lnTo>
                          <a:pt x="15" y="182"/>
                        </a:lnTo>
                        <a:lnTo>
                          <a:pt x="20" y="192"/>
                        </a:lnTo>
                        <a:lnTo>
                          <a:pt x="25" y="204"/>
                        </a:lnTo>
                        <a:lnTo>
                          <a:pt x="25" y="219"/>
                        </a:lnTo>
                        <a:lnTo>
                          <a:pt x="27" y="224"/>
                        </a:lnTo>
                        <a:lnTo>
                          <a:pt x="30" y="229"/>
                        </a:lnTo>
                        <a:lnTo>
                          <a:pt x="33" y="234"/>
                        </a:lnTo>
                        <a:lnTo>
                          <a:pt x="35" y="237"/>
                        </a:lnTo>
                        <a:lnTo>
                          <a:pt x="38" y="245"/>
                        </a:lnTo>
                        <a:lnTo>
                          <a:pt x="47" y="254"/>
                        </a:lnTo>
                        <a:lnTo>
                          <a:pt x="48" y="262"/>
                        </a:lnTo>
                        <a:lnTo>
                          <a:pt x="50" y="274"/>
                        </a:lnTo>
                        <a:lnTo>
                          <a:pt x="53" y="285"/>
                        </a:lnTo>
                        <a:lnTo>
                          <a:pt x="58" y="304"/>
                        </a:lnTo>
                        <a:lnTo>
                          <a:pt x="60" y="314"/>
                        </a:lnTo>
                        <a:lnTo>
                          <a:pt x="65" y="327"/>
                        </a:lnTo>
                        <a:lnTo>
                          <a:pt x="67" y="335"/>
                        </a:lnTo>
                        <a:lnTo>
                          <a:pt x="70" y="335"/>
                        </a:lnTo>
                        <a:lnTo>
                          <a:pt x="72" y="345"/>
                        </a:lnTo>
                        <a:lnTo>
                          <a:pt x="70" y="353"/>
                        </a:lnTo>
                        <a:lnTo>
                          <a:pt x="72" y="358"/>
                        </a:lnTo>
                        <a:lnTo>
                          <a:pt x="77" y="360"/>
                        </a:lnTo>
                        <a:lnTo>
                          <a:pt x="80" y="357"/>
                        </a:lnTo>
                        <a:lnTo>
                          <a:pt x="83" y="355"/>
                        </a:lnTo>
                        <a:lnTo>
                          <a:pt x="83" y="344"/>
                        </a:lnTo>
                        <a:lnTo>
                          <a:pt x="87" y="339"/>
                        </a:lnTo>
                        <a:lnTo>
                          <a:pt x="93" y="340"/>
                        </a:lnTo>
                        <a:lnTo>
                          <a:pt x="100" y="344"/>
                        </a:lnTo>
                        <a:lnTo>
                          <a:pt x="106" y="347"/>
                        </a:lnTo>
                        <a:lnTo>
                          <a:pt x="105" y="350"/>
                        </a:lnTo>
                        <a:lnTo>
                          <a:pt x="115" y="357"/>
                        </a:lnTo>
                        <a:lnTo>
                          <a:pt x="118" y="350"/>
                        </a:lnTo>
                        <a:lnTo>
                          <a:pt x="123" y="353"/>
                        </a:lnTo>
                        <a:lnTo>
                          <a:pt x="125" y="348"/>
                        </a:lnTo>
                        <a:lnTo>
                          <a:pt x="123" y="345"/>
                        </a:lnTo>
                        <a:lnTo>
                          <a:pt x="128" y="339"/>
                        </a:lnTo>
                        <a:lnTo>
                          <a:pt x="133" y="339"/>
                        </a:lnTo>
                        <a:lnTo>
                          <a:pt x="130" y="334"/>
                        </a:lnTo>
                        <a:lnTo>
                          <a:pt x="131" y="325"/>
                        </a:lnTo>
                        <a:lnTo>
                          <a:pt x="136" y="325"/>
                        </a:lnTo>
                        <a:lnTo>
                          <a:pt x="143" y="322"/>
                        </a:lnTo>
                        <a:lnTo>
                          <a:pt x="140" y="317"/>
                        </a:lnTo>
                        <a:lnTo>
                          <a:pt x="140" y="304"/>
                        </a:lnTo>
                        <a:lnTo>
                          <a:pt x="141" y="294"/>
                        </a:lnTo>
                        <a:lnTo>
                          <a:pt x="136" y="287"/>
                        </a:lnTo>
                        <a:lnTo>
                          <a:pt x="135" y="280"/>
                        </a:lnTo>
                        <a:lnTo>
                          <a:pt x="130" y="272"/>
                        </a:lnTo>
                        <a:lnTo>
                          <a:pt x="131" y="260"/>
                        </a:lnTo>
                        <a:lnTo>
                          <a:pt x="125" y="259"/>
                        </a:lnTo>
                        <a:lnTo>
                          <a:pt x="125" y="254"/>
                        </a:lnTo>
                        <a:lnTo>
                          <a:pt x="125" y="247"/>
                        </a:lnTo>
                        <a:lnTo>
                          <a:pt x="123" y="239"/>
                        </a:lnTo>
                        <a:lnTo>
                          <a:pt x="123" y="236"/>
                        </a:lnTo>
                        <a:lnTo>
                          <a:pt x="125" y="219"/>
                        </a:lnTo>
                        <a:lnTo>
                          <a:pt x="125" y="204"/>
                        </a:lnTo>
                        <a:lnTo>
                          <a:pt x="131" y="199"/>
                        </a:lnTo>
                        <a:lnTo>
                          <a:pt x="131" y="199"/>
                        </a:lnTo>
                        <a:lnTo>
                          <a:pt x="131" y="199"/>
                        </a:lnTo>
                        <a:close/>
                      </a:path>
                    </a:pathLst>
                  </a:custGeom>
                  <a:solidFill>
                    <a:srgbClr val="D6D6D6"/>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a:latin typeface="Proxima Nova A" panose="02000506030000020004" pitchFamily="2" charset="0"/>
                    </a:endParaRPr>
                  </a:p>
                </p:txBody>
              </p:sp>
              <p:sp>
                <p:nvSpPr>
                  <p:cNvPr id="155" name="Freeform 1074">
                    <a:extLst>
                      <a:ext uri="{FF2B5EF4-FFF2-40B4-BE49-F238E27FC236}">
                        <a16:creationId xmlns:a16="http://schemas.microsoft.com/office/drawing/2014/main" id="{9F5CBF16-B443-4356-8805-2C8D7794AFD4}"/>
                      </a:ext>
                    </a:extLst>
                  </p:cNvPr>
                  <p:cNvSpPr>
                    <a:spLocks/>
                  </p:cNvSpPr>
                  <p:nvPr/>
                </p:nvSpPr>
                <p:spPr bwMode="auto">
                  <a:xfrm>
                    <a:off x="6646761" y="2869768"/>
                    <a:ext cx="306365" cy="367086"/>
                  </a:xfrm>
                  <a:custGeom>
                    <a:avLst/>
                    <a:gdLst>
                      <a:gd name="T0" fmla="*/ 30 w 222"/>
                      <a:gd name="T1" fmla="*/ 76 h 266"/>
                      <a:gd name="T2" fmla="*/ 27 w 222"/>
                      <a:gd name="T3" fmla="*/ 93 h 266"/>
                      <a:gd name="T4" fmla="*/ 27 w 222"/>
                      <a:gd name="T5" fmla="*/ 106 h 266"/>
                      <a:gd name="T6" fmla="*/ 20 w 222"/>
                      <a:gd name="T7" fmla="*/ 126 h 266"/>
                      <a:gd name="T8" fmla="*/ 2 w 222"/>
                      <a:gd name="T9" fmla="*/ 146 h 266"/>
                      <a:gd name="T10" fmla="*/ 0 w 222"/>
                      <a:gd name="T11" fmla="*/ 164 h 266"/>
                      <a:gd name="T12" fmla="*/ 9 w 222"/>
                      <a:gd name="T13" fmla="*/ 193 h 266"/>
                      <a:gd name="T14" fmla="*/ 5 w 222"/>
                      <a:gd name="T15" fmla="*/ 211 h 266"/>
                      <a:gd name="T16" fmla="*/ 4 w 222"/>
                      <a:gd name="T17" fmla="*/ 222 h 266"/>
                      <a:gd name="T18" fmla="*/ 2 w 222"/>
                      <a:gd name="T19" fmla="*/ 241 h 266"/>
                      <a:gd name="T20" fmla="*/ 17 w 222"/>
                      <a:gd name="T21" fmla="*/ 249 h 266"/>
                      <a:gd name="T22" fmla="*/ 25 w 222"/>
                      <a:gd name="T23" fmla="*/ 247 h 266"/>
                      <a:gd name="T24" fmla="*/ 34 w 222"/>
                      <a:gd name="T25" fmla="*/ 246 h 266"/>
                      <a:gd name="T26" fmla="*/ 44 w 222"/>
                      <a:gd name="T27" fmla="*/ 251 h 266"/>
                      <a:gd name="T28" fmla="*/ 49 w 222"/>
                      <a:gd name="T29" fmla="*/ 239 h 266"/>
                      <a:gd name="T30" fmla="*/ 67 w 222"/>
                      <a:gd name="T31" fmla="*/ 254 h 266"/>
                      <a:gd name="T32" fmla="*/ 82 w 222"/>
                      <a:gd name="T33" fmla="*/ 254 h 266"/>
                      <a:gd name="T34" fmla="*/ 105 w 222"/>
                      <a:gd name="T35" fmla="*/ 247 h 266"/>
                      <a:gd name="T36" fmla="*/ 122 w 222"/>
                      <a:gd name="T37" fmla="*/ 251 h 266"/>
                      <a:gd name="T38" fmla="*/ 147 w 222"/>
                      <a:gd name="T39" fmla="*/ 259 h 266"/>
                      <a:gd name="T40" fmla="*/ 158 w 222"/>
                      <a:gd name="T41" fmla="*/ 261 h 266"/>
                      <a:gd name="T42" fmla="*/ 167 w 222"/>
                      <a:gd name="T43" fmla="*/ 237 h 266"/>
                      <a:gd name="T44" fmla="*/ 167 w 222"/>
                      <a:gd name="T45" fmla="*/ 221 h 266"/>
                      <a:gd name="T46" fmla="*/ 173 w 222"/>
                      <a:gd name="T47" fmla="*/ 204 h 266"/>
                      <a:gd name="T48" fmla="*/ 177 w 222"/>
                      <a:gd name="T49" fmla="*/ 184 h 266"/>
                      <a:gd name="T50" fmla="*/ 187 w 222"/>
                      <a:gd name="T51" fmla="*/ 164 h 266"/>
                      <a:gd name="T52" fmla="*/ 195 w 222"/>
                      <a:gd name="T53" fmla="*/ 151 h 266"/>
                      <a:gd name="T54" fmla="*/ 198 w 222"/>
                      <a:gd name="T55" fmla="*/ 133 h 266"/>
                      <a:gd name="T56" fmla="*/ 205 w 222"/>
                      <a:gd name="T57" fmla="*/ 126 h 266"/>
                      <a:gd name="T58" fmla="*/ 213 w 222"/>
                      <a:gd name="T59" fmla="*/ 101 h 266"/>
                      <a:gd name="T60" fmla="*/ 220 w 222"/>
                      <a:gd name="T61" fmla="*/ 85 h 266"/>
                      <a:gd name="T62" fmla="*/ 212 w 222"/>
                      <a:gd name="T63" fmla="*/ 70 h 266"/>
                      <a:gd name="T64" fmla="*/ 195 w 222"/>
                      <a:gd name="T65" fmla="*/ 61 h 266"/>
                      <a:gd name="T66" fmla="*/ 203 w 222"/>
                      <a:gd name="T67" fmla="*/ 36 h 266"/>
                      <a:gd name="T68" fmla="*/ 183 w 222"/>
                      <a:gd name="T69" fmla="*/ 16 h 266"/>
                      <a:gd name="T70" fmla="*/ 185 w 222"/>
                      <a:gd name="T71" fmla="*/ 0 h 266"/>
                      <a:gd name="T72" fmla="*/ 173 w 222"/>
                      <a:gd name="T73" fmla="*/ 8 h 266"/>
                      <a:gd name="T74" fmla="*/ 162 w 222"/>
                      <a:gd name="T75" fmla="*/ 21 h 266"/>
                      <a:gd name="T76" fmla="*/ 143 w 222"/>
                      <a:gd name="T77" fmla="*/ 28 h 266"/>
                      <a:gd name="T78" fmla="*/ 127 w 222"/>
                      <a:gd name="T79" fmla="*/ 28 h 266"/>
                      <a:gd name="T80" fmla="*/ 107 w 222"/>
                      <a:gd name="T81" fmla="*/ 23 h 266"/>
                      <a:gd name="T82" fmla="*/ 89 w 222"/>
                      <a:gd name="T83" fmla="*/ 28 h 266"/>
                      <a:gd name="T84" fmla="*/ 87 w 222"/>
                      <a:gd name="T85" fmla="*/ 36 h 266"/>
                      <a:gd name="T86" fmla="*/ 84 w 222"/>
                      <a:gd name="T87" fmla="*/ 48 h 266"/>
                      <a:gd name="T88" fmla="*/ 72 w 222"/>
                      <a:gd name="T89" fmla="*/ 68 h 266"/>
                      <a:gd name="T90" fmla="*/ 59 w 222"/>
                      <a:gd name="T91" fmla="*/ 71 h 266"/>
                      <a:gd name="T92" fmla="*/ 44 w 222"/>
                      <a:gd name="T93" fmla="*/ 6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2" h="266">
                        <a:moveTo>
                          <a:pt x="44" y="66"/>
                        </a:moveTo>
                        <a:lnTo>
                          <a:pt x="37" y="73"/>
                        </a:lnTo>
                        <a:lnTo>
                          <a:pt x="30" y="76"/>
                        </a:lnTo>
                        <a:lnTo>
                          <a:pt x="34" y="83"/>
                        </a:lnTo>
                        <a:lnTo>
                          <a:pt x="29" y="86"/>
                        </a:lnTo>
                        <a:lnTo>
                          <a:pt x="27" y="93"/>
                        </a:lnTo>
                        <a:lnTo>
                          <a:pt x="22" y="98"/>
                        </a:lnTo>
                        <a:lnTo>
                          <a:pt x="22" y="104"/>
                        </a:lnTo>
                        <a:lnTo>
                          <a:pt x="27" y="106"/>
                        </a:lnTo>
                        <a:lnTo>
                          <a:pt x="27" y="113"/>
                        </a:lnTo>
                        <a:lnTo>
                          <a:pt x="27" y="118"/>
                        </a:lnTo>
                        <a:lnTo>
                          <a:pt x="20" y="126"/>
                        </a:lnTo>
                        <a:lnTo>
                          <a:pt x="9" y="134"/>
                        </a:lnTo>
                        <a:lnTo>
                          <a:pt x="2" y="139"/>
                        </a:lnTo>
                        <a:lnTo>
                          <a:pt x="2" y="146"/>
                        </a:lnTo>
                        <a:lnTo>
                          <a:pt x="9" y="153"/>
                        </a:lnTo>
                        <a:lnTo>
                          <a:pt x="7" y="159"/>
                        </a:lnTo>
                        <a:lnTo>
                          <a:pt x="0" y="164"/>
                        </a:lnTo>
                        <a:lnTo>
                          <a:pt x="0" y="176"/>
                        </a:lnTo>
                        <a:lnTo>
                          <a:pt x="5" y="184"/>
                        </a:lnTo>
                        <a:lnTo>
                          <a:pt x="9" y="193"/>
                        </a:lnTo>
                        <a:lnTo>
                          <a:pt x="7" y="201"/>
                        </a:lnTo>
                        <a:lnTo>
                          <a:pt x="2" y="204"/>
                        </a:lnTo>
                        <a:lnTo>
                          <a:pt x="5" y="211"/>
                        </a:lnTo>
                        <a:lnTo>
                          <a:pt x="5" y="214"/>
                        </a:lnTo>
                        <a:lnTo>
                          <a:pt x="2" y="219"/>
                        </a:lnTo>
                        <a:lnTo>
                          <a:pt x="4" y="222"/>
                        </a:lnTo>
                        <a:lnTo>
                          <a:pt x="5" y="229"/>
                        </a:lnTo>
                        <a:lnTo>
                          <a:pt x="2" y="236"/>
                        </a:lnTo>
                        <a:lnTo>
                          <a:pt x="2" y="241"/>
                        </a:lnTo>
                        <a:lnTo>
                          <a:pt x="5" y="246"/>
                        </a:lnTo>
                        <a:lnTo>
                          <a:pt x="15" y="246"/>
                        </a:lnTo>
                        <a:lnTo>
                          <a:pt x="17" y="249"/>
                        </a:lnTo>
                        <a:lnTo>
                          <a:pt x="20" y="251"/>
                        </a:lnTo>
                        <a:lnTo>
                          <a:pt x="22" y="249"/>
                        </a:lnTo>
                        <a:lnTo>
                          <a:pt x="25" y="247"/>
                        </a:lnTo>
                        <a:lnTo>
                          <a:pt x="29" y="251"/>
                        </a:lnTo>
                        <a:lnTo>
                          <a:pt x="30" y="251"/>
                        </a:lnTo>
                        <a:lnTo>
                          <a:pt x="34" y="246"/>
                        </a:lnTo>
                        <a:lnTo>
                          <a:pt x="37" y="247"/>
                        </a:lnTo>
                        <a:lnTo>
                          <a:pt x="42" y="247"/>
                        </a:lnTo>
                        <a:lnTo>
                          <a:pt x="44" y="251"/>
                        </a:lnTo>
                        <a:lnTo>
                          <a:pt x="49" y="247"/>
                        </a:lnTo>
                        <a:lnTo>
                          <a:pt x="47" y="241"/>
                        </a:lnTo>
                        <a:lnTo>
                          <a:pt x="49" y="239"/>
                        </a:lnTo>
                        <a:lnTo>
                          <a:pt x="57" y="241"/>
                        </a:lnTo>
                        <a:lnTo>
                          <a:pt x="65" y="247"/>
                        </a:lnTo>
                        <a:lnTo>
                          <a:pt x="67" y="254"/>
                        </a:lnTo>
                        <a:lnTo>
                          <a:pt x="69" y="257"/>
                        </a:lnTo>
                        <a:lnTo>
                          <a:pt x="74" y="257"/>
                        </a:lnTo>
                        <a:lnTo>
                          <a:pt x="82" y="254"/>
                        </a:lnTo>
                        <a:lnTo>
                          <a:pt x="89" y="247"/>
                        </a:lnTo>
                        <a:lnTo>
                          <a:pt x="97" y="246"/>
                        </a:lnTo>
                        <a:lnTo>
                          <a:pt x="105" y="247"/>
                        </a:lnTo>
                        <a:lnTo>
                          <a:pt x="109" y="252"/>
                        </a:lnTo>
                        <a:lnTo>
                          <a:pt x="117" y="256"/>
                        </a:lnTo>
                        <a:lnTo>
                          <a:pt x="122" y="251"/>
                        </a:lnTo>
                        <a:lnTo>
                          <a:pt x="130" y="252"/>
                        </a:lnTo>
                        <a:lnTo>
                          <a:pt x="135" y="254"/>
                        </a:lnTo>
                        <a:lnTo>
                          <a:pt x="147" y="259"/>
                        </a:lnTo>
                        <a:lnTo>
                          <a:pt x="152" y="262"/>
                        </a:lnTo>
                        <a:lnTo>
                          <a:pt x="157" y="266"/>
                        </a:lnTo>
                        <a:lnTo>
                          <a:pt x="158" y="261"/>
                        </a:lnTo>
                        <a:lnTo>
                          <a:pt x="162" y="251"/>
                        </a:lnTo>
                        <a:lnTo>
                          <a:pt x="163" y="244"/>
                        </a:lnTo>
                        <a:lnTo>
                          <a:pt x="167" y="237"/>
                        </a:lnTo>
                        <a:lnTo>
                          <a:pt x="170" y="232"/>
                        </a:lnTo>
                        <a:lnTo>
                          <a:pt x="168" y="226"/>
                        </a:lnTo>
                        <a:lnTo>
                          <a:pt x="167" y="221"/>
                        </a:lnTo>
                        <a:lnTo>
                          <a:pt x="172" y="216"/>
                        </a:lnTo>
                        <a:lnTo>
                          <a:pt x="172" y="211"/>
                        </a:lnTo>
                        <a:lnTo>
                          <a:pt x="173" y="204"/>
                        </a:lnTo>
                        <a:lnTo>
                          <a:pt x="173" y="196"/>
                        </a:lnTo>
                        <a:lnTo>
                          <a:pt x="178" y="191"/>
                        </a:lnTo>
                        <a:lnTo>
                          <a:pt x="177" y="184"/>
                        </a:lnTo>
                        <a:lnTo>
                          <a:pt x="183" y="179"/>
                        </a:lnTo>
                        <a:lnTo>
                          <a:pt x="185" y="174"/>
                        </a:lnTo>
                        <a:lnTo>
                          <a:pt x="187" y="164"/>
                        </a:lnTo>
                        <a:lnTo>
                          <a:pt x="188" y="159"/>
                        </a:lnTo>
                        <a:lnTo>
                          <a:pt x="190" y="154"/>
                        </a:lnTo>
                        <a:lnTo>
                          <a:pt x="195" y="151"/>
                        </a:lnTo>
                        <a:lnTo>
                          <a:pt x="197" y="143"/>
                        </a:lnTo>
                        <a:lnTo>
                          <a:pt x="197" y="138"/>
                        </a:lnTo>
                        <a:lnTo>
                          <a:pt x="198" y="133"/>
                        </a:lnTo>
                        <a:lnTo>
                          <a:pt x="205" y="133"/>
                        </a:lnTo>
                        <a:lnTo>
                          <a:pt x="208" y="131"/>
                        </a:lnTo>
                        <a:lnTo>
                          <a:pt x="205" y="126"/>
                        </a:lnTo>
                        <a:lnTo>
                          <a:pt x="208" y="116"/>
                        </a:lnTo>
                        <a:lnTo>
                          <a:pt x="212" y="109"/>
                        </a:lnTo>
                        <a:lnTo>
                          <a:pt x="213" y="101"/>
                        </a:lnTo>
                        <a:lnTo>
                          <a:pt x="213" y="93"/>
                        </a:lnTo>
                        <a:lnTo>
                          <a:pt x="218" y="88"/>
                        </a:lnTo>
                        <a:lnTo>
                          <a:pt x="220" y="85"/>
                        </a:lnTo>
                        <a:lnTo>
                          <a:pt x="222" y="76"/>
                        </a:lnTo>
                        <a:lnTo>
                          <a:pt x="220" y="75"/>
                        </a:lnTo>
                        <a:lnTo>
                          <a:pt x="212" y="70"/>
                        </a:lnTo>
                        <a:lnTo>
                          <a:pt x="207" y="68"/>
                        </a:lnTo>
                        <a:lnTo>
                          <a:pt x="198" y="66"/>
                        </a:lnTo>
                        <a:lnTo>
                          <a:pt x="195" y="61"/>
                        </a:lnTo>
                        <a:lnTo>
                          <a:pt x="195" y="55"/>
                        </a:lnTo>
                        <a:lnTo>
                          <a:pt x="200" y="45"/>
                        </a:lnTo>
                        <a:lnTo>
                          <a:pt x="203" y="36"/>
                        </a:lnTo>
                        <a:lnTo>
                          <a:pt x="200" y="31"/>
                        </a:lnTo>
                        <a:lnTo>
                          <a:pt x="183" y="23"/>
                        </a:lnTo>
                        <a:lnTo>
                          <a:pt x="183" y="16"/>
                        </a:lnTo>
                        <a:lnTo>
                          <a:pt x="187" y="10"/>
                        </a:lnTo>
                        <a:lnTo>
                          <a:pt x="187" y="3"/>
                        </a:lnTo>
                        <a:lnTo>
                          <a:pt x="185" y="0"/>
                        </a:lnTo>
                        <a:lnTo>
                          <a:pt x="183" y="0"/>
                        </a:lnTo>
                        <a:lnTo>
                          <a:pt x="178" y="6"/>
                        </a:lnTo>
                        <a:lnTo>
                          <a:pt x="173" y="8"/>
                        </a:lnTo>
                        <a:lnTo>
                          <a:pt x="170" y="13"/>
                        </a:lnTo>
                        <a:lnTo>
                          <a:pt x="168" y="18"/>
                        </a:lnTo>
                        <a:lnTo>
                          <a:pt x="162" y="21"/>
                        </a:lnTo>
                        <a:lnTo>
                          <a:pt x="157" y="25"/>
                        </a:lnTo>
                        <a:lnTo>
                          <a:pt x="152" y="26"/>
                        </a:lnTo>
                        <a:lnTo>
                          <a:pt x="143" y="28"/>
                        </a:lnTo>
                        <a:lnTo>
                          <a:pt x="138" y="28"/>
                        </a:lnTo>
                        <a:lnTo>
                          <a:pt x="133" y="26"/>
                        </a:lnTo>
                        <a:lnTo>
                          <a:pt x="127" y="28"/>
                        </a:lnTo>
                        <a:lnTo>
                          <a:pt x="122" y="23"/>
                        </a:lnTo>
                        <a:lnTo>
                          <a:pt x="117" y="21"/>
                        </a:lnTo>
                        <a:lnTo>
                          <a:pt x="107" y="23"/>
                        </a:lnTo>
                        <a:lnTo>
                          <a:pt x="102" y="25"/>
                        </a:lnTo>
                        <a:lnTo>
                          <a:pt x="94" y="25"/>
                        </a:lnTo>
                        <a:lnTo>
                          <a:pt x="89" y="28"/>
                        </a:lnTo>
                        <a:lnTo>
                          <a:pt x="84" y="31"/>
                        </a:lnTo>
                        <a:lnTo>
                          <a:pt x="82" y="36"/>
                        </a:lnTo>
                        <a:lnTo>
                          <a:pt x="87" y="36"/>
                        </a:lnTo>
                        <a:lnTo>
                          <a:pt x="89" y="40"/>
                        </a:lnTo>
                        <a:lnTo>
                          <a:pt x="84" y="43"/>
                        </a:lnTo>
                        <a:lnTo>
                          <a:pt x="84" y="48"/>
                        </a:lnTo>
                        <a:lnTo>
                          <a:pt x="82" y="53"/>
                        </a:lnTo>
                        <a:lnTo>
                          <a:pt x="77" y="58"/>
                        </a:lnTo>
                        <a:lnTo>
                          <a:pt x="72" y="68"/>
                        </a:lnTo>
                        <a:lnTo>
                          <a:pt x="70" y="75"/>
                        </a:lnTo>
                        <a:lnTo>
                          <a:pt x="69" y="76"/>
                        </a:lnTo>
                        <a:lnTo>
                          <a:pt x="59" y="71"/>
                        </a:lnTo>
                        <a:lnTo>
                          <a:pt x="52" y="71"/>
                        </a:lnTo>
                        <a:lnTo>
                          <a:pt x="45" y="70"/>
                        </a:lnTo>
                        <a:lnTo>
                          <a:pt x="44" y="66"/>
                        </a:lnTo>
                        <a:lnTo>
                          <a:pt x="44" y="66"/>
                        </a:lnTo>
                        <a:lnTo>
                          <a:pt x="44" y="66"/>
                        </a:lnTo>
                        <a:close/>
                      </a:path>
                    </a:pathLst>
                  </a:custGeom>
                  <a:solidFill>
                    <a:srgbClr val="D6D6D6"/>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a:latin typeface="Proxima Nova A" panose="02000506030000020004" pitchFamily="2" charset="0"/>
                    </a:endParaRPr>
                  </a:p>
                </p:txBody>
              </p:sp>
              <p:sp>
                <p:nvSpPr>
                  <p:cNvPr id="156" name="Freeform 1076">
                    <a:extLst>
                      <a:ext uri="{FF2B5EF4-FFF2-40B4-BE49-F238E27FC236}">
                        <a16:creationId xmlns:a16="http://schemas.microsoft.com/office/drawing/2014/main" id="{1ABF5294-E84D-4E3A-9D46-4331E5BDD0C6}"/>
                      </a:ext>
                    </a:extLst>
                  </p:cNvPr>
                  <p:cNvSpPr>
                    <a:spLocks/>
                  </p:cNvSpPr>
                  <p:nvPr/>
                </p:nvSpPr>
                <p:spPr bwMode="auto">
                  <a:xfrm>
                    <a:off x="6684022" y="2586864"/>
                    <a:ext cx="321545" cy="387786"/>
                  </a:xfrm>
                  <a:custGeom>
                    <a:avLst/>
                    <a:gdLst>
                      <a:gd name="T0" fmla="*/ 116 w 233"/>
                      <a:gd name="T1" fmla="*/ 92 h 281"/>
                      <a:gd name="T2" fmla="*/ 108 w 233"/>
                      <a:gd name="T3" fmla="*/ 90 h 281"/>
                      <a:gd name="T4" fmla="*/ 100 w 233"/>
                      <a:gd name="T5" fmla="*/ 92 h 281"/>
                      <a:gd name="T6" fmla="*/ 91 w 233"/>
                      <a:gd name="T7" fmla="*/ 113 h 281"/>
                      <a:gd name="T8" fmla="*/ 77 w 233"/>
                      <a:gd name="T9" fmla="*/ 148 h 281"/>
                      <a:gd name="T10" fmla="*/ 75 w 233"/>
                      <a:gd name="T11" fmla="*/ 167 h 281"/>
                      <a:gd name="T12" fmla="*/ 70 w 233"/>
                      <a:gd name="T13" fmla="*/ 187 h 281"/>
                      <a:gd name="T14" fmla="*/ 62 w 233"/>
                      <a:gd name="T15" fmla="*/ 187 h 281"/>
                      <a:gd name="T16" fmla="*/ 55 w 233"/>
                      <a:gd name="T17" fmla="*/ 180 h 281"/>
                      <a:gd name="T18" fmla="*/ 48 w 233"/>
                      <a:gd name="T19" fmla="*/ 175 h 281"/>
                      <a:gd name="T20" fmla="*/ 40 w 233"/>
                      <a:gd name="T21" fmla="*/ 192 h 281"/>
                      <a:gd name="T22" fmla="*/ 13 w 233"/>
                      <a:gd name="T23" fmla="*/ 220 h 281"/>
                      <a:gd name="T24" fmla="*/ 0 w 233"/>
                      <a:gd name="T25" fmla="*/ 241 h 281"/>
                      <a:gd name="T26" fmla="*/ 18 w 233"/>
                      <a:gd name="T27" fmla="*/ 251 h 281"/>
                      <a:gd name="T28" fmla="*/ 15 w 233"/>
                      <a:gd name="T29" fmla="*/ 271 h 281"/>
                      <a:gd name="T30" fmla="*/ 42 w 233"/>
                      <a:gd name="T31" fmla="*/ 281 h 281"/>
                      <a:gd name="T32" fmla="*/ 48 w 233"/>
                      <a:gd name="T33" fmla="*/ 261 h 281"/>
                      <a:gd name="T34" fmla="*/ 57 w 233"/>
                      <a:gd name="T35" fmla="*/ 248 h 281"/>
                      <a:gd name="T36" fmla="*/ 55 w 233"/>
                      <a:gd name="T37" fmla="*/ 240 h 281"/>
                      <a:gd name="T38" fmla="*/ 67 w 233"/>
                      <a:gd name="T39" fmla="*/ 230 h 281"/>
                      <a:gd name="T40" fmla="*/ 88 w 233"/>
                      <a:gd name="T41" fmla="*/ 226 h 281"/>
                      <a:gd name="T42" fmla="*/ 105 w 233"/>
                      <a:gd name="T43" fmla="*/ 230 h 281"/>
                      <a:gd name="T44" fmla="*/ 125 w 233"/>
                      <a:gd name="T45" fmla="*/ 230 h 281"/>
                      <a:gd name="T46" fmla="*/ 145 w 233"/>
                      <a:gd name="T47" fmla="*/ 211 h 281"/>
                      <a:gd name="T48" fmla="*/ 158 w 233"/>
                      <a:gd name="T49" fmla="*/ 203 h 281"/>
                      <a:gd name="T50" fmla="*/ 155 w 233"/>
                      <a:gd name="T51" fmla="*/ 220 h 281"/>
                      <a:gd name="T52" fmla="*/ 175 w 233"/>
                      <a:gd name="T53" fmla="*/ 241 h 281"/>
                      <a:gd name="T54" fmla="*/ 181 w 233"/>
                      <a:gd name="T55" fmla="*/ 226 h 281"/>
                      <a:gd name="T56" fmla="*/ 204 w 233"/>
                      <a:gd name="T57" fmla="*/ 203 h 281"/>
                      <a:gd name="T58" fmla="*/ 219 w 233"/>
                      <a:gd name="T59" fmla="*/ 177 h 281"/>
                      <a:gd name="T60" fmla="*/ 218 w 233"/>
                      <a:gd name="T61" fmla="*/ 153 h 281"/>
                      <a:gd name="T62" fmla="*/ 229 w 233"/>
                      <a:gd name="T63" fmla="*/ 130 h 281"/>
                      <a:gd name="T64" fmla="*/ 224 w 233"/>
                      <a:gd name="T65" fmla="*/ 120 h 281"/>
                      <a:gd name="T66" fmla="*/ 221 w 233"/>
                      <a:gd name="T67" fmla="*/ 105 h 281"/>
                      <a:gd name="T68" fmla="*/ 214 w 233"/>
                      <a:gd name="T69" fmla="*/ 84 h 281"/>
                      <a:gd name="T70" fmla="*/ 218 w 233"/>
                      <a:gd name="T71" fmla="*/ 60 h 281"/>
                      <a:gd name="T72" fmla="*/ 226 w 233"/>
                      <a:gd name="T73" fmla="*/ 39 h 281"/>
                      <a:gd name="T74" fmla="*/ 221 w 233"/>
                      <a:gd name="T75" fmla="*/ 20 h 281"/>
                      <a:gd name="T76" fmla="*/ 218 w 233"/>
                      <a:gd name="T77" fmla="*/ 4 h 281"/>
                      <a:gd name="T78" fmla="*/ 203 w 233"/>
                      <a:gd name="T79" fmla="*/ 12 h 281"/>
                      <a:gd name="T80" fmla="*/ 188 w 233"/>
                      <a:gd name="T81" fmla="*/ 15 h 281"/>
                      <a:gd name="T82" fmla="*/ 175 w 233"/>
                      <a:gd name="T83" fmla="*/ 29 h 281"/>
                      <a:gd name="T84" fmla="*/ 151 w 233"/>
                      <a:gd name="T85" fmla="*/ 54 h 281"/>
                      <a:gd name="T86" fmla="*/ 133 w 233"/>
                      <a:gd name="T87" fmla="*/ 60 h 281"/>
                      <a:gd name="T88" fmla="*/ 123 w 233"/>
                      <a:gd name="T89" fmla="*/ 79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3" h="281">
                        <a:moveTo>
                          <a:pt x="123" y="79"/>
                        </a:moveTo>
                        <a:lnTo>
                          <a:pt x="121" y="85"/>
                        </a:lnTo>
                        <a:lnTo>
                          <a:pt x="116" y="92"/>
                        </a:lnTo>
                        <a:lnTo>
                          <a:pt x="111" y="97"/>
                        </a:lnTo>
                        <a:lnTo>
                          <a:pt x="108" y="93"/>
                        </a:lnTo>
                        <a:lnTo>
                          <a:pt x="108" y="90"/>
                        </a:lnTo>
                        <a:lnTo>
                          <a:pt x="110" y="84"/>
                        </a:lnTo>
                        <a:lnTo>
                          <a:pt x="106" y="82"/>
                        </a:lnTo>
                        <a:lnTo>
                          <a:pt x="100" y="92"/>
                        </a:lnTo>
                        <a:lnTo>
                          <a:pt x="95" y="98"/>
                        </a:lnTo>
                        <a:lnTo>
                          <a:pt x="95" y="103"/>
                        </a:lnTo>
                        <a:lnTo>
                          <a:pt x="91" y="113"/>
                        </a:lnTo>
                        <a:lnTo>
                          <a:pt x="78" y="133"/>
                        </a:lnTo>
                        <a:lnTo>
                          <a:pt x="75" y="143"/>
                        </a:lnTo>
                        <a:lnTo>
                          <a:pt x="77" y="148"/>
                        </a:lnTo>
                        <a:lnTo>
                          <a:pt x="78" y="155"/>
                        </a:lnTo>
                        <a:lnTo>
                          <a:pt x="77" y="160"/>
                        </a:lnTo>
                        <a:lnTo>
                          <a:pt x="75" y="167"/>
                        </a:lnTo>
                        <a:lnTo>
                          <a:pt x="82" y="172"/>
                        </a:lnTo>
                        <a:lnTo>
                          <a:pt x="77" y="180"/>
                        </a:lnTo>
                        <a:lnTo>
                          <a:pt x="70" y="187"/>
                        </a:lnTo>
                        <a:lnTo>
                          <a:pt x="70" y="190"/>
                        </a:lnTo>
                        <a:lnTo>
                          <a:pt x="67" y="188"/>
                        </a:lnTo>
                        <a:lnTo>
                          <a:pt x="62" y="187"/>
                        </a:lnTo>
                        <a:lnTo>
                          <a:pt x="58" y="192"/>
                        </a:lnTo>
                        <a:lnTo>
                          <a:pt x="55" y="190"/>
                        </a:lnTo>
                        <a:lnTo>
                          <a:pt x="55" y="180"/>
                        </a:lnTo>
                        <a:lnTo>
                          <a:pt x="57" y="173"/>
                        </a:lnTo>
                        <a:lnTo>
                          <a:pt x="53" y="172"/>
                        </a:lnTo>
                        <a:lnTo>
                          <a:pt x="48" y="175"/>
                        </a:lnTo>
                        <a:lnTo>
                          <a:pt x="43" y="180"/>
                        </a:lnTo>
                        <a:lnTo>
                          <a:pt x="40" y="185"/>
                        </a:lnTo>
                        <a:lnTo>
                          <a:pt x="40" y="192"/>
                        </a:lnTo>
                        <a:lnTo>
                          <a:pt x="35" y="192"/>
                        </a:lnTo>
                        <a:lnTo>
                          <a:pt x="25" y="205"/>
                        </a:lnTo>
                        <a:lnTo>
                          <a:pt x="13" y="220"/>
                        </a:lnTo>
                        <a:lnTo>
                          <a:pt x="8" y="223"/>
                        </a:lnTo>
                        <a:lnTo>
                          <a:pt x="2" y="233"/>
                        </a:lnTo>
                        <a:lnTo>
                          <a:pt x="0" y="241"/>
                        </a:lnTo>
                        <a:lnTo>
                          <a:pt x="2" y="246"/>
                        </a:lnTo>
                        <a:lnTo>
                          <a:pt x="10" y="250"/>
                        </a:lnTo>
                        <a:lnTo>
                          <a:pt x="18" y="251"/>
                        </a:lnTo>
                        <a:lnTo>
                          <a:pt x="20" y="260"/>
                        </a:lnTo>
                        <a:lnTo>
                          <a:pt x="18" y="266"/>
                        </a:lnTo>
                        <a:lnTo>
                          <a:pt x="15" y="271"/>
                        </a:lnTo>
                        <a:lnTo>
                          <a:pt x="18" y="275"/>
                        </a:lnTo>
                        <a:lnTo>
                          <a:pt x="32" y="275"/>
                        </a:lnTo>
                        <a:lnTo>
                          <a:pt x="42" y="281"/>
                        </a:lnTo>
                        <a:lnTo>
                          <a:pt x="43" y="275"/>
                        </a:lnTo>
                        <a:lnTo>
                          <a:pt x="47" y="265"/>
                        </a:lnTo>
                        <a:lnTo>
                          <a:pt x="48" y="261"/>
                        </a:lnTo>
                        <a:lnTo>
                          <a:pt x="55" y="256"/>
                        </a:lnTo>
                        <a:lnTo>
                          <a:pt x="57" y="251"/>
                        </a:lnTo>
                        <a:lnTo>
                          <a:pt x="57" y="248"/>
                        </a:lnTo>
                        <a:lnTo>
                          <a:pt x="62" y="245"/>
                        </a:lnTo>
                        <a:lnTo>
                          <a:pt x="60" y="241"/>
                        </a:lnTo>
                        <a:lnTo>
                          <a:pt x="55" y="240"/>
                        </a:lnTo>
                        <a:lnTo>
                          <a:pt x="57" y="235"/>
                        </a:lnTo>
                        <a:lnTo>
                          <a:pt x="60" y="231"/>
                        </a:lnTo>
                        <a:lnTo>
                          <a:pt x="67" y="230"/>
                        </a:lnTo>
                        <a:lnTo>
                          <a:pt x="73" y="228"/>
                        </a:lnTo>
                        <a:lnTo>
                          <a:pt x="78" y="228"/>
                        </a:lnTo>
                        <a:lnTo>
                          <a:pt x="88" y="226"/>
                        </a:lnTo>
                        <a:lnTo>
                          <a:pt x="93" y="228"/>
                        </a:lnTo>
                        <a:lnTo>
                          <a:pt x="98" y="231"/>
                        </a:lnTo>
                        <a:lnTo>
                          <a:pt x="105" y="230"/>
                        </a:lnTo>
                        <a:lnTo>
                          <a:pt x="111" y="233"/>
                        </a:lnTo>
                        <a:lnTo>
                          <a:pt x="116" y="231"/>
                        </a:lnTo>
                        <a:lnTo>
                          <a:pt x="125" y="230"/>
                        </a:lnTo>
                        <a:lnTo>
                          <a:pt x="135" y="225"/>
                        </a:lnTo>
                        <a:lnTo>
                          <a:pt x="140" y="221"/>
                        </a:lnTo>
                        <a:lnTo>
                          <a:pt x="145" y="211"/>
                        </a:lnTo>
                        <a:lnTo>
                          <a:pt x="151" y="210"/>
                        </a:lnTo>
                        <a:lnTo>
                          <a:pt x="155" y="205"/>
                        </a:lnTo>
                        <a:lnTo>
                          <a:pt x="158" y="203"/>
                        </a:lnTo>
                        <a:lnTo>
                          <a:pt x="158" y="206"/>
                        </a:lnTo>
                        <a:lnTo>
                          <a:pt x="158" y="215"/>
                        </a:lnTo>
                        <a:lnTo>
                          <a:pt x="155" y="220"/>
                        </a:lnTo>
                        <a:lnTo>
                          <a:pt x="155" y="226"/>
                        </a:lnTo>
                        <a:lnTo>
                          <a:pt x="173" y="235"/>
                        </a:lnTo>
                        <a:lnTo>
                          <a:pt x="175" y="241"/>
                        </a:lnTo>
                        <a:lnTo>
                          <a:pt x="173" y="233"/>
                        </a:lnTo>
                        <a:lnTo>
                          <a:pt x="175" y="230"/>
                        </a:lnTo>
                        <a:lnTo>
                          <a:pt x="181" y="226"/>
                        </a:lnTo>
                        <a:lnTo>
                          <a:pt x="190" y="223"/>
                        </a:lnTo>
                        <a:lnTo>
                          <a:pt x="200" y="211"/>
                        </a:lnTo>
                        <a:lnTo>
                          <a:pt x="204" y="203"/>
                        </a:lnTo>
                        <a:lnTo>
                          <a:pt x="209" y="193"/>
                        </a:lnTo>
                        <a:lnTo>
                          <a:pt x="216" y="185"/>
                        </a:lnTo>
                        <a:lnTo>
                          <a:pt x="219" y="177"/>
                        </a:lnTo>
                        <a:lnTo>
                          <a:pt x="214" y="168"/>
                        </a:lnTo>
                        <a:lnTo>
                          <a:pt x="211" y="158"/>
                        </a:lnTo>
                        <a:lnTo>
                          <a:pt x="218" y="153"/>
                        </a:lnTo>
                        <a:lnTo>
                          <a:pt x="226" y="143"/>
                        </a:lnTo>
                        <a:lnTo>
                          <a:pt x="231" y="137"/>
                        </a:lnTo>
                        <a:lnTo>
                          <a:pt x="229" y="130"/>
                        </a:lnTo>
                        <a:lnTo>
                          <a:pt x="224" y="130"/>
                        </a:lnTo>
                        <a:lnTo>
                          <a:pt x="221" y="127"/>
                        </a:lnTo>
                        <a:lnTo>
                          <a:pt x="224" y="120"/>
                        </a:lnTo>
                        <a:lnTo>
                          <a:pt x="229" y="120"/>
                        </a:lnTo>
                        <a:lnTo>
                          <a:pt x="224" y="115"/>
                        </a:lnTo>
                        <a:lnTo>
                          <a:pt x="221" y="105"/>
                        </a:lnTo>
                        <a:lnTo>
                          <a:pt x="221" y="97"/>
                        </a:lnTo>
                        <a:lnTo>
                          <a:pt x="219" y="90"/>
                        </a:lnTo>
                        <a:lnTo>
                          <a:pt x="214" y="84"/>
                        </a:lnTo>
                        <a:lnTo>
                          <a:pt x="213" y="75"/>
                        </a:lnTo>
                        <a:lnTo>
                          <a:pt x="218" y="69"/>
                        </a:lnTo>
                        <a:lnTo>
                          <a:pt x="218" y="60"/>
                        </a:lnTo>
                        <a:lnTo>
                          <a:pt x="223" y="52"/>
                        </a:lnTo>
                        <a:lnTo>
                          <a:pt x="233" y="45"/>
                        </a:lnTo>
                        <a:lnTo>
                          <a:pt x="226" y="39"/>
                        </a:lnTo>
                        <a:lnTo>
                          <a:pt x="224" y="30"/>
                        </a:lnTo>
                        <a:lnTo>
                          <a:pt x="223" y="25"/>
                        </a:lnTo>
                        <a:lnTo>
                          <a:pt x="221" y="20"/>
                        </a:lnTo>
                        <a:lnTo>
                          <a:pt x="224" y="15"/>
                        </a:lnTo>
                        <a:lnTo>
                          <a:pt x="221" y="9"/>
                        </a:lnTo>
                        <a:lnTo>
                          <a:pt x="218" y="4"/>
                        </a:lnTo>
                        <a:lnTo>
                          <a:pt x="216" y="0"/>
                        </a:lnTo>
                        <a:lnTo>
                          <a:pt x="208" y="5"/>
                        </a:lnTo>
                        <a:lnTo>
                          <a:pt x="203" y="12"/>
                        </a:lnTo>
                        <a:lnTo>
                          <a:pt x="200" y="15"/>
                        </a:lnTo>
                        <a:lnTo>
                          <a:pt x="193" y="20"/>
                        </a:lnTo>
                        <a:lnTo>
                          <a:pt x="188" y="15"/>
                        </a:lnTo>
                        <a:lnTo>
                          <a:pt x="181" y="17"/>
                        </a:lnTo>
                        <a:lnTo>
                          <a:pt x="178" y="20"/>
                        </a:lnTo>
                        <a:lnTo>
                          <a:pt x="175" y="29"/>
                        </a:lnTo>
                        <a:lnTo>
                          <a:pt x="171" y="39"/>
                        </a:lnTo>
                        <a:lnTo>
                          <a:pt x="165" y="44"/>
                        </a:lnTo>
                        <a:lnTo>
                          <a:pt x="151" y="54"/>
                        </a:lnTo>
                        <a:lnTo>
                          <a:pt x="146" y="50"/>
                        </a:lnTo>
                        <a:lnTo>
                          <a:pt x="141" y="59"/>
                        </a:lnTo>
                        <a:lnTo>
                          <a:pt x="133" y="60"/>
                        </a:lnTo>
                        <a:lnTo>
                          <a:pt x="128" y="69"/>
                        </a:lnTo>
                        <a:lnTo>
                          <a:pt x="125" y="75"/>
                        </a:lnTo>
                        <a:lnTo>
                          <a:pt x="123" y="79"/>
                        </a:lnTo>
                        <a:lnTo>
                          <a:pt x="123" y="79"/>
                        </a:lnTo>
                        <a:lnTo>
                          <a:pt x="123" y="79"/>
                        </a:lnTo>
                        <a:close/>
                      </a:path>
                    </a:pathLst>
                  </a:custGeom>
                  <a:solidFill>
                    <a:srgbClr val="D6D6D6"/>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a:latin typeface="Proxima Nova A" panose="02000506030000020004" pitchFamily="2" charset="0"/>
                    </a:endParaRPr>
                  </a:p>
                </p:txBody>
              </p:sp>
              <p:sp>
                <p:nvSpPr>
                  <p:cNvPr id="157" name="Freeform 1078">
                    <a:extLst>
                      <a:ext uri="{FF2B5EF4-FFF2-40B4-BE49-F238E27FC236}">
                        <a16:creationId xmlns:a16="http://schemas.microsoft.com/office/drawing/2014/main" id="{874B9C50-B471-497E-B087-3E4AD7B34CE6}"/>
                      </a:ext>
                    </a:extLst>
                  </p:cNvPr>
                  <p:cNvSpPr>
                    <a:spLocks/>
                  </p:cNvSpPr>
                  <p:nvPr/>
                </p:nvSpPr>
                <p:spPr bwMode="auto">
                  <a:xfrm>
                    <a:off x="6334876" y="2087296"/>
                    <a:ext cx="1021217" cy="578229"/>
                  </a:xfrm>
                  <a:custGeom>
                    <a:avLst/>
                    <a:gdLst>
                      <a:gd name="T0" fmla="*/ 140 w 740"/>
                      <a:gd name="T1" fmla="*/ 399 h 419"/>
                      <a:gd name="T2" fmla="*/ 178 w 740"/>
                      <a:gd name="T3" fmla="*/ 397 h 419"/>
                      <a:gd name="T4" fmla="*/ 230 w 740"/>
                      <a:gd name="T5" fmla="*/ 396 h 419"/>
                      <a:gd name="T6" fmla="*/ 285 w 740"/>
                      <a:gd name="T7" fmla="*/ 386 h 419"/>
                      <a:gd name="T8" fmla="*/ 300 w 740"/>
                      <a:gd name="T9" fmla="*/ 354 h 419"/>
                      <a:gd name="T10" fmla="*/ 336 w 740"/>
                      <a:gd name="T11" fmla="*/ 291 h 419"/>
                      <a:gd name="T12" fmla="*/ 353 w 740"/>
                      <a:gd name="T13" fmla="*/ 293 h 419"/>
                      <a:gd name="T14" fmla="*/ 398 w 740"/>
                      <a:gd name="T15" fmla="*/ 279 h 419"/>
                      <a:gd name="T16" fmla="*/ 486 w 740"/>
                      <a:gd name="T17" fmla="*/ 239 h 419"/>
                      <a:gd name="T18" fmla="*/ 549 w 740"/>
                      <a:gd name="T19" fmla="*/ 215 h 419"/>
                      <a:gd name="T20" fmla="*/ 539 w 740"/>
                      <a:gd name="T21" fmla="*/ 243 h 419"/>
                      <a:gd name="T22" fmla="*/ 554 w 740"/>
                      <a:gd name="T23" fmla="*/ 286 h 419"/>
                      <a:gd name="T24" fmla="*/ 562 w 740"/>
                      <a:gd name="T25" fmla="*/ 291 h 419"/>
                      <a:gd name="T26" fmla="*/ 564 w 740"/>
                      <a:gd name="T27" fmla="*/ 313 h 419"/>
                      <a:gd name="T28" fmla="*/ 522 w 740"/>
                      <a:gd name="T29" fmla="*/ 328 h 419"/>
                      <a:gd name="T30" fmla="*/ 487 w 740"/>
                      <a:gd name="T31" fmla="*/ 354 h 419"/>
                      <a:gd name="T32" fmla="*/ 479 w 740"/>
                      <a:gd name="T33" fmla="*/ 377 h 419"/>
                      <a:gd name="T34" fmla="*/ 496 w 740"/>
                      <a:gd name="T35" fmla="*/ 412 h 419"/>
                      <a:gd name="T36" fmla="*/ 546 w 740"/>
                      <a:gd name="T37" fmla="*/ 371 h 419"/>
                      <a:gd name="T38" fmla="*/ 580 w 740"/>
                      <a:gd name="T39" fmla="*/ 323 h 419"/>
                      <a:gd name="T40" fmla="*/ 644 w 740"/>
                      <a:gd name="T41" fmla="*/ 296 h 419"/>
                      <a:gd name="T42" fmla="*/ 683 w 740"/>
                      <a:gd name="T43" fmla="*/ 309 h 419"/>
                      <a:gd name="T44" fmla="*/ 717 w 740"/>
                      <a:gd name="T45" fmla="*/ 321 h 419"/>
                      <a:gd name="T46" fmla="*/ 693 w 740"/>
                      <a:gd name="T47" fmla="*/ 281 h 419"/>
                      <a:gd name="T48" fmla="*/ 685 w 740"/>
                      <a:gd name="T49" fmla="*/ 244 h 419"/>
                      <a:gd name="T50" fmla="*/ 723 w 740"/>
                      <a:gd name="T51" fmla="*/ 203 h 419"/>
                      <a:gd name="T52" fmla="*/ 737 w 740"/>
                      <a:gd name="T53" fmla="*/ 191 h 419"/>
                      <a:gd name="T54" fmla="*/ 728 w 740"/>
                      <a:gd name="T55" fmla="*/ 165 h 419"/>
                      <a:gd name="T56" fmla="*/ 730 w 740"/>
                      <a:gd name="T57" fmla="*/ 155 h 419"/>
                      <a:gd name="T58" fmla="*/ 690 w 740"/>
                      <a:gd name="T59" fmla="*/ 145 h 419"/>
                      <a:gd name="T60" fmla="*/ 650 w 740"/>
                      <a:gd name="T61" fmla="*/ 143 h 419"/>
                      <a:gd name="T62" fmla="*/ 614 w 740"/>
                      <a:gd name="T63" fmla="*/ 146 h 419"/>
                      <a:gd name="T64" fmla="*/ 587 w 740"/>
                      <a:gd name="T65" fmla="*/ 150 h 419"/>
                      <a:gd name="T66" fmla="*/ 592 w 740"/>
                      <a:gd name="T67" fmla="*/ 130 h 419"/>
                      <a:gd name="T68" fmla="*/ 619 w 740"/>
                      <a:gd name="T69" fmla="*/ 102 h 419"/>
                      <a:gd name="T70" fmla="*/ 607 w 740"/>
                      <a:gd name="T71" fmla="*/ 62 h 419"/>
                      <a:gd name="T72" fmla="*/ 590 w 740"/>
                      <a:gd name="T73" fmla="*/ 53 h 419"/>
                      <a:gd name="T74" fmla="*/ 561 w 740"/>
                      <a:gd name="T75" fmla="*/ 63 h 419"/>
                      <a:gd name="T76" fmla="*/ 572 w 740"/>
                      <a:gd name="T77" fmla="*/ 40 h 419"/>
                      <a:gd name="T78" fmla="*/ 580 w 740"/>
                      <a:gd name="T79" fmla="*/ 19 h 419"/>
                      <a:gd name="T80" fmla="*/ 559 w 740"/>
                      <a:gd name="T81" fmla="*/ 5 h 419"/>
                      <a:gd name="T82" fmla="*/ 516 w 740"/>
                      <a:gd name="T83" fmla="*/ 19 h 419"/>
                      <a:gd name="T84" fmla="*/ 477 w 740"/>
                      <a:gd name="T85" fmla="*/ 47 h 419"/>
                      <a:gd name="T86" fmla="*/ 448 w 740"/>
                      <a:gd name="T87" fmla="*/ 68 h 419"/>
                      <a:gd name="T88" fmla="*/ 411 w 740"/>
                      <a:gd name="T89" fmla="*/ 60 h 419"/>
                      <a:gd name="T90" fmla="*/ 363 w 740"/>
                      <a:gd name="T91" fmla="*/ 35 h 419"/>
                      <a:gd name="T92" fmla="*/ 330 w 740"/>
                      <a:gd name="T93" fmla="*/ 67 h 419"/>
                      <a:gd name="T94" fmla="*/ 291 w 740"/>
                      <a:gd name="T95" fmla="*/ 117 h 419"/>
                      <a:gd name="T96" fmla="*/ 256 w 740"/>
                      <a:gd name="T97" fmla="*/ 143 h 419"/>
                      <a:gd name="T98" fmla="*/ 205 w 740"/>
                      <a:gd name="T99" fmla="*/ 170 h 419"/>
                      <a:gd name="T100" fmla="*/ 192 w 740"/>
                      <a:gd name="T101" fmla="*/ 201 h 419"/>
                      <a:gd name="T102" fmla="*/ 162 w 740"/>
                      <a:gd name="T103" fmla="*/ 221 h 419"/>
                      <a:gd name="T104" fmla="*/ 138 w 740"/>
                      <a:gd name="T105" fmla="*/ 244 h 419"/>
                      <a:gd name="T106" fmla="*/ 123 w 740"/>
                      <a:gd name="T107" fmla="*/ 278 h 419"/>
                      <a:gd name="T108" fmla="*/ 77 w 740"/>
                      <a:gd name="T109" fmla="*/ 274 h 419"/>
                      <a:gd name="T110" fmla="*/ 45 w 740"/>
                      <a:gd name="T111" fmla="*/ 301 h 419"/>
                      <a:gd name="T112" fmla="*/ 7 w 740"/>
                      <a:gd name="T113" fmla="*/ 281 h 419"/>
                      <a:gd name="T114" fmla="*/ 0 w 740"/>
                      <a:gd name="T115" fmla="*/ 318 h 419"/>
                      <a:gd name="T116" fmla="*/ 25 w 740"/>
                      <a:gd name="T117" fmla="*/ 336 h 419"/>
                      <a:gd name="T118" fmla="*/ 65 w 740"/>
                      <a:gd name="T119" fmla="*/ 336 h 419"/>
                      <a:gd name="T120" fmla="*/ 67 w 740"/>
                      <a:gd name="T121" fmla="*/ 359 h 419"/>
                      <a:gd name="T122" fmla="*/ 82 w 740"/>
                      <a:gd name="T123" fmla="*/ 406 h 419"/>
                      <a:gd name="T124" fmla="*/ 80 w 740"/>
                      <a:gd name="T125"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40" h="419">
                        <a:moveTo>
                          <a:pt x="80" y="419"/>
                        </a:moveTo>
                        <a:lnTo>
                          <a:pt x="84" y="417"/>
                        </a:lnTo>
                        <a:lnTo>
                          <a:pt x="110" y="411"/>
                        </a:lnTo>
                        <a:lnTo>
                          <a:pt x="135" y="401"/>
                        </a:lnTo>
                        <a:lnTo>
                          <a:pt x="140" y="399"/>
                        </a:lnTo>
                        <a:lnTo>
                          <a:pt x="148" y="394"/>
                        </a:lnTo>
                        <a:lnTo>
                          <a:pt x="157" y="389"/>
                        </a:lnTo>
                        <a:lnTo>
                          <a:pt x="162" y="392"/>
                        </a:lnTo>
                        <a:lnTo>
                          <a:pt x="167" y="392"/>
                        </a:lnTo>
                        <a:lnTo>
                          <a:pt x="178" y="397"/>
                        </a:lnTo>
                        <a:lnTo>
                          <a:pt x="188" y="406"/>
                        </a:lnTo>
                        <a:lnTo>
                          <a:pt x="197" y="407"/>
                        </a:lnTo>
                        <a:lnTo>
                          <a:pt x="208" y="406"/>
                        </a:lnTo>
                        <a:lnTo>
                          <a:pt x="217" y="399"/>
                        </a:lnTo>
                        <a:lnTo>
                          <a:pt x="230" y="396"/>
                        </a:lnTo>
                        <a:lnTo>
                          <a:pt x="251" y="399"/>
                        </a:lnTo>
                        <a:lnTo>
                          <a:pt x="265" y="391"/>
                        </a:lnTo>
                        <a:lnTo>
                          <a:pt x="268" y="396"/>
                        </a:lnTo>
                        <a:lnTo>
                          <a:pt x="278" y="391"/>
                        </a:lnTo>
                        <a:lnTo>
                          <a:pt x="285" y="386"/>
                        </a:lnTo>
                        <a:lnTo>
                          <a:pt x="288" y="376"/>
                        </a:lnTo>
                        <a:lnTo>
                          <a:pt x="296" y="377"/>
                        </a:lnTo>
                        <a:lnTo>
                          <a:pt x="300" y="369"/>
                        </a:lnTo>
                        <a:lnTo>
                          <a:pt x="295" y="364"/>
                        </a:lnTo>
                        <a:lnTo>
                          <a:pt x="300" y="354"/>
                        </a:lnTo>
                        <a:lnTo>
                          <a:pt x="325" y="328"/>
                        </a:lnTo>
                        <a:lnTo>
                          <a:pt x="338" y="313"/>
                        </a:lnTo>
                        <a:lnTo>
                          <a:pt x="348" y="303"/>
                        </a:lnTo>
                        <a:lnTo>
                          <a:pt x="341" y="298"/>
                        </a:lnTo>
                        <a:lnTo>
                          <a:pt x="336" y="291"/>
                        </a:lnTo>
                        <a:lnTo>
                          <a:pt x="341" y="286"/>
                        </a:lnTo>
                        <a:lnTo>
                          <a:pt x="346" y="286"/>
                        </a:lnTo>
                        <a:lnTo>
                          <a:pt x="346" y="291"/>
                        </a:lnTo>
                        <a:lnTo>
                          <a:pt x="346" y="294"/>
                        </a:lnTo>
                        <a:lnTo>
                          <a:pt x="353" y="293"/>
                        </a:lnTo>
                        <a:lnTo>
                          <a:pt x="356" y="296"/>
                        </a:lnTo>
                        <a:lnTo>
                          <a:pt x="366" y="291"/>
                        </a:lnTo>
                        <a:lnTo>
                          <a:pt x="373" y="293"/>
                        </a:lnTo>
                        <a:lnTo>
                          <a:pt x="379" y="291"/>
                        </a:lnTo>
                        <a:lnTo>
                          <a:pt x="398" y="279"/>
                        </a:lnTo>
                        <a:lnTo>
                          <a:pt x="409" y="274"/>
                        </a:lnTo>
                        <a:lnTo>
                          <a:pt x="436" y="259"/>
                        </a:lnTo>
                        <a:lnTo>
                          <a:pt x="464" y="244"/>
                        </a:lnTo>
                        <a:lnTo>
                          <a:pt x="471" y="239"/>
                        </a:lnTo>
                        <a:lnTo>
                          <a:pt x="486" y="239"/>
                        </a:lnTo>
                        <a:lnTo>
                          <a:pt x="501" y="236"/>
                        </a:lnTo>
                        <a:lnTo>
                          <a:pt x="516" y="220"/>
                        </a:lnTo>
                        <a:lnTo>
                          <a:pt x="536" y="218"/>
                        </a:lnTo>
                        <a:lnTo>
                          <a:pt x="542" y="218"/>
                        </a:lnTo>
                        <a:lnTo>
                          <a:pt x="549" y="215"/>
                        </a:lnTo>
                        <a:lnTo>
                          <a:pt x="556" y="215"/>
                        </a:lnTo>
                        <a:lnTo>
                          <a:pt x="557" y="223"/>
                        </a:lnTo>
                        <a:lnTo>
                          <a:pt x="552" y="230"/>
                        </a:lnTo>
                        <a:lnTo>
                          <a:pt x="547" y="235"/>
                        </a:lnTo>
                        <a:lnTo>
                          <a:pt x="539" y="243"/>
                        </a:lnTo>
                        <a:lnTo>
                          <a:pt x="536" y="253"/>
                        </a:lnTo>
                        <a:lnTo>
                          <a:pt x="534" y="256"/>
                        </a:lnTo>
                        <a:lnTo>
                          <a:pt x="537" y="259"/>
                        </a:lnTo>
                        <a:lnTo>
                          <a:pt x="542" y="273"/>
                        </a:lnTo>
                        <a:lnTo>
                          <a:pt x="554" y="286"/>
                        </a:lnTo>
                        <a:lnTo>
                          <a:pt x="551" y="294"/>
                        </a:lnTo>
                        <a:lnTo>
                          <a:pt x="551" y="299"/>
                        </a:lnTo>
                        <a:lnTo>
                          <a:pt x="556" y="303"/>
                        </a:lnTo>
                        <a:lnTo>
                          <a:pt x="557" y="298"/>
                        </a:lnTo>
                        <a:lnTo>
                          <a:pt x="562" y="291"/>
                        </a:lnTo>
                        <a:lnTo>
                          <a:pt x="569" y="291"/>
                        </a:lnTo>
                        <a:lnTo>
                          <a:pt x="572" y="299"/>
                        </a:lnTo>
                        <a:lnTo>
                          <a:pt x="572" y="306"/>
                        </a:lnTo>
                        <a:lnTo>
                          <a:pt x="567" y="306"/>
                        </a:lnTo>
                        <a:lnTo>
                          <a:pt x="564" y="313"/>
                        </a:lnTo>
                        <a:lnTo>
                          <a:pt x="556" y="318"/>
                        </a:lnTo>
                        <a:lnTo>
                          <a:pt x="546" y="321"/>
                        </a:lnTo>
                        <a:lnTo>
                          <a:pt x="537" y="321"/>
                        </a:lnTo>
                        <a:lnTo>
                          <a:pt x="531" y="328"/>
                        </a:lnTo>
                        <a:lnTo>
                          <a:pt x="522" y="328"/>
                        </a:lnTo>
                        <a:lnTo>
                          <a:pt x="516" y="326"/>
                        </a:lnTo>
                        <a:lnTo>
                          <a:pt x="509" y="328"/>
                        </a:lnTo>
                        <a:lnTo>
                          <a:pt x="506" y="339"/>
                        </a:lnTo>
                        <a:lnTo>
                          <a:pt x="506" y="344"/>
                        </a:lnTo>
                        <a:lnTo>
                          <a:pt x="487" y="354"/>
                        </a:lnTo>
                        <a:lnTo>
                          <a:pt x="479" y="361"/>
                        </a:lnTo>
                        <a:lnTo>
                          <a:pt x="471" y="362"/>
                        </a:lnTo>
                        <a:lnTo>
                          <a:pt x="469" y="364"/>
                        </a:lnTo>
                        <a:lnTo>
                          <a:pt x="471" y="366"/>
                        </a:lnTo>
                        <a:lnTo>
                          <a:pt x="479" y="377"/>
                        </a:lnTo>
                        <a:lnTo>
                          <a:pt x="476" y="384"/>
                        </a:lnTo>
                        <a:lnTo>
                          <a:pt x="479" y="394"/>
                        </a:lnTo>
                        <a:lnTo>
                          <a:pt x="481" y="402"/>
                        </a:lnTo>
                        <a:lnTo>
                          <a:pt x="487" y="409"/>
                        </a:lnTo>
                        <a:lnTo>
                          <a:pt x="496" y="412"/>
                        </a:lnTo>
                        <a:lnTo>
                          <a:pt x="507" y="404"/>
                        </a:lnTo>
                        <a:lnTo>
                          <a:pt x="519" y="389"/>
                        </a:lnTo>
                        <a:lnTo>
                          <a:pt x="524" y="384"/>
                        </a:lnTo>
                        <a:lnTo>
                          <a:pt x="536" y="374"/>
                        </a:lnTo>
                        <a:lnTo>
                          <a:pt x="546" y="371"/>
                        </a:lnTo>
                        <a:lnTo>
                          <a:pt x="547" y="361"/>
                        </a:lnTo>
                        <a:lnTo>
                          <a:pt x="554" y="354"/>
                        </a:lnTo>
                        <a:lnTo>
                          <a:pt x="566" y="347"/>
                        </a:lnTo>
                        <a:lnTo>
                          <a:pt x="575" y="329"/>
                        </a:lnTo>
                        <a:lnTo>
                          <a:pt x="580" y="323"/>
                        </a:lnTo>
                        <a:lnTo>
                          <a:pt x="594" y="314"/>
                        </a:lnTo>
                        <a:lnTo>
                          <a:pt x="612" y="306"/>
                        </a:lnTo>
                        <a:lnTo>
                          <a:pt x="620" y="306"/>
                        </a:lnTo>
                        <a:lnTo>
                          <a:pt x="634" y="303"/>
                        </a:lnTo>
                        <a:lnTo>
                          <a:pt x="644" y="296"/>
                        </a:lnTo>
                        <a:lnTo>
                          <a:pt x="647" y="291"/>
                        </a:lnTo>
                        <a:lnTo>
                          <a:pt x="657" y="291"/>
                        </a:lnTo>
                        <a:lnTo>
                          <a:pt x="670" y="291"/>
                        </a:lnTo>
                        <a:lnTo>
                          <a:pt x="683" y="301"/>
                        </a:lnTo>
                        <a:lnTo>
                          <a:pt x="683" y="309"/>
                        </a:lnTo>
                        <a:lnTo>
                          <a:pt x="683" y="313"/>
                        </a:lnTo>
                        <a:lnTo>
                          <a:pt x="692" y="314"/>
                        </a:lnTo>
                        <a:lnTo>
                          <a:pt x="703" y="321"/>
                        </a:lnTo>
                        <a:lnTo>
                          <a:pt x="710" y="323"/>
                        </a:lnTo>
                        <a:lnTo>
                          <a:pt x="717" y="321"/>
                        </a:lnTo>
                        <a:lnTo>
                          <a:pt x="722" y="314"/>
                        </a:lnTo>
                        <a:lnTo>
                          <a:pt x="715" y="311"/>
                        </a:lnTo>
                        <a:lnTo>
                          <a:pt x="712" y="304"/>
                        </a:lnTo>
                        <a:lnTo>
                          <a:pt x="698" y="288"/>
                        </a:lnTo>
                        <a:lnTo>
                          <a:pt x="693" y="281"/>
                        </a:lnTo>
                        <a:lnTo>
                          <a:pt x="688" y="276"/>
                        </a:lnTo>
                        <a:lnTo>
                          <a:pt x="683" y="271"/>
                        </a:lnTo>
                        <a:lnTo>
                          <a:pt x="687" y="266"/>
                        </a:lnTo>
                        <a:lnTo>
                          <a:pt x="680" y="253"/>
                        </a:lnTo>
                        <a:lnTo>
                          <a:pt x="685" y="244"/>
                        </a:lnTo>
                        <a:lnTo>
                          <a:pt x="693" y="235"/>
                        </a:lnTo>
                        <a:lnTo>
                          <a:pt x="702" y="228"/>
                        </a:lnTo>
                        <a:lnTo>
                          <a:pt x="708" y="221"/>
                        </a:lnTo>
                        <a:lnTo>
                          <a:pt x="717" y="208"/>
                        </a:lnTo>
                        <a:lnTo>
                          <a:pt x="723" y="203"/>
                        </a:lnTo>
                        <a:lnTo>
                          <a:pt x="728" y="201"/>
                        </a:lnTo>
                        <a:lnTo>
                          <a:pt x="732" y="206"/>
                        </a:lnTo>
                        <a:lnTo>
                          <a:pt x="737" y="201"/>
                        </a:lnTo>
                        <a:lnTo>
                          <a:pt x="735" y="198"/>
                        </a:lnTo>
                        <a:lnTo>
                          <a:pt x="737" y="191"/>
                        </a:lnTo>
                        <a:lnTo>
                          <a:pt x="737" y="185"/>
                        </a:lnTo>
                        <a:lnTo>
                          <a:pt x="728" y="181"/>
                        </a:lnTo>
                        <a:lnTo>
                          <a:pt x="725" y="181"/>
                        </a:lnTo>
                        <a:lnTo>
                          <a:pt x="725" y="171"/>
                        </a:lnTo>
                        <a:lnTo>
                          <a:pt x="728" y="165"/>
                        </a:lnTo>
                        <a:lnTo>
                          <a:pt x="732" y="160"/>
                        </a:lnTo>
                        <a:lnTo>
                          <a:pt x="735" y="153"/>
                        </a:lnTo>
                        <a:lnTo>
                          <a:pt x="740" y="151"/>
                        </a:lnTo>
                        <a:lnTo>
                          <a:pt x="735" y="148"/>
                        </a:lnTo>
                        <a:lnTo>
                          <a:pt x="730" y="155"/>
                        </a:lnTo>
                        <a:lnTo>
                          <a:pt x="725" y="156"/>
                        </a:lnTo>
                        <a:lnTo>
                          <a:pt x="717" y="155"/>
                        </a:lnTo>
                        <a:lnTo>
                          <a:pt x="705" y="150"/>
                        </a:lnTo>
                        <a:lnTo>
                          <a:pt x="697" y="143"/>
                        </a:lnTo>
                        <a:lnTo>
                          <a:pt x="690" y="145"/>
                        </a:lnTo>
                        <a:lnTo>
                          <a:pt x="687" y="148"/>
                        </a:lnTo>
                        <a:lnTo>
                          <a:pt x="677" y="151"/>
                        </a:lnTo>
                        <a:lnTo>
                          <a:pt x="665" y="143"/>
                        </a:lnTo>
                        <a:lnTo>
                          <a:pt x="660" y="146"/>
                        </a:lnTo>
                        <a:lnTo>
                          <a:pt x="650" y="143"/>
                        </a:lnTo>
                        <a:lnTo>
                          <a:pt x="644" y="138"/>
                        </a:lnTo>
                        <a:lnTo>
                          <a:pt x="637" y="136"/>
                        </a:lnTo>
                        <a:lnTo>
                          <a:pt x="627" y="136"/>
                        </a:lnTo>
                        <a:lnTo>
                          <a:pt x="620" y="143"/>
                        </a:lnTo>
                        <a:lnTo>
                          <a:pt x="614" y="146"/>
                        </a:lnTo>
                        <a:lnTo>
                          <a:pt x="607" y="150"/>
                        </a:lnTo>
                        <a:lnTo>
                          <a:pt x="605" y="156"/>
                        </a:lnTo>
                        <a:lnTo>
                          <a:pt x="602" y="156"/>
                        </a:lnTo>
                        <a:lnTo>
                          <a:pt x="600" y="150"/>
                        </a:lnTo>
                        <a:lnTo>
                          <a:pt x="587" y="150"/>
                        </a:lnTo>
                        <a:lnTo>
                          <a:pt x="590" y="143"/>
                        </a:lnTo>
                        <a:lnTo>
                          <a:pt x="595" y="140"/>
                        </a:lnTo>
                        <a:lnTo>
                          <a:pt x="595" y="135"/>
                        </a:lnTo>
                        <a:lnTo>
                          <a:pt x="592" y="133"/>
                        </a:lnTo>
                        <a:lnTo>
                          <a:pt x="592" y="130"/>
                        </a:lnTo>
                        <a:lnTo>
                          <a:pt x="600" y="127"/>
                        </a:lnTo>
                        <a:lnTo>
                          <a:pt x="605" y="120"/>
                        </a:lnTo>
                        <a:lnTo>
                          <a:pt x="610" y="113"/>
                        </a:lnTo>
                        <a:lnTo>
                          <a:pt x="612" y="107"/>
                        </a:lnTo>
                        <a:lnTo>
                          <a:pt x="619" y="102"/>
                        </a:lnTo>
                        <a:lnTo>
                          <a:pt x="620" y="93"/>
                        </a:lnTo>
                        <a:lnTo>
                          <a:pt x="619" y="83"/>
                        </a:lnTo>
                        <a:lnTo>
                          <a:pt x="614" y="75"/>
                        </a:lnTo>
                        <a:lnTo>
                          <a:pt x="612" y="68"/>
                        </a:lnTo>
                        <a:lnTo>
                          <a:pt x="607" y="62"/>
                        </a:lnTo>
                        <a:lnTo>
                          <a:pt x="602" y="57"/>
                        </a:lnTo>
                        <a:lnTo>
                          <a:pt x="604" y="48"/>
                        </a:lnTo>
                        <a:lnTo>
                          <a:pt x="597" y="50"/>
                        </a:lnTo>
                        <a:lnTo>
                          <a:pt x="595" y="53"/>
                        </a:lnTo>
                        <a:lnTo>
                          <a:pt x="590" y="53"/>
                        </a:lnTo>
                        <a:lnTo>
                          <a:pt x="584" y="57"/>
                        </a:lnTo>
                        <a:lnTo>
                          <a:pt x="577" y="63"/>
                        </a:lnTo>
                        <a:lnTo>
                          <a:pt x="572" y="73"/>
                        </a:lnTo>
                        <a:lnTo>
                          <a:pt x="566" y="72"/>
                        </a:lnTo>
                        <a:lnTo>
                          <a:pt x="561" y="63"/>
                        </a:lnTo>
                        <a:lnTo>
                          <a:pt x="557" y="58"/>
                        </a:lnTo>
                        <a:lnTo>
                          <a:pt x="557" y="52"/>
                        </a:lnTo>
                        <a:lnTo>
                          <a:pt x="564" y="50"/>
                        </a:lnTo>
                        <a:lnTo>
                          <a:pt x="567" y="43"/>
                        </a:lnTo>
                        <a:lnTo>
                          <a:pt x="572" y="40"/>
                        </a:lnTo>
                        <a:lnTo>
                          <a:pt x="580" y="37"/>
                        </a:lnTo>
                        <a:lnTo>
                          <a:pt x="585" y="33"/>
                        </a:lnTo>
                        <a:lnTo>
                          <a:pt x="585" y="25"/>
                        </a:lnTo>
                        <a:lnTo>
                          <a:pt x="587" y="22"/>
                        </a:lnTo>
                        <a:lnTo>
                          <a:pt x="580" y="19"/>
                        </a:lnTo>
                        <a:lnTo>
                          <a:pt x="577" y="23"/>
                        </a:lnTo>
                        <a:lnTo>
                          <a:pt x="570" y="27"/>
                        </a:lnTo>
                        <a:lnTo>
                          <a:pt x="564" y="20"/>
                        </a:lnTo>
                        <a:lnTo>
                          <a:pt x="562" y="14"/>
                        </a:lnTo>
                        <a:lnTo>
                          <a:pt x="559" y="5"/>
                        </a:lnTo>
                        <a:lnTo>
                          <a:pt x="546" y="0"/>
                        </a:lnTo>
                        <a:lnTo>
                          <a:pt x="537" y="4"/>
                        </a:lnTo>
                        <a:lnTo>
                          <a:pt x="529" y="9"/>
                        </a:lnTo>
                        <a:lnTo>
                          <a:pt x="521" y="14"/>
                        </a:lnTo>
                        <a:lnTo>
                          <a:pt x="516" y="19"/>
                        </a:lnTo>
                        <a:lnTo>
                          <a:pt x="506" y="19"/>
                        </a:lnTo>
                        <a:lnTo>
                          <a:pt x="504" y="25"/>
                        </a:lnTo>
                        <a:lnTo>
                          <a:pt x="494" y="32"/>
                        </a:lnTo>
                        <a:lnTo>
                          <a:pt x="486" y="37"/>
                        </a:lnTo>
                        <a:lnTo>
                          <a:pt x="477" y="47"/>
                        </a:lnTo>
                        <a:lnTo>
                          <a:pt x="479" y="65"/>
                        </a:lnTo>
                        <a:lnTo>
                          <a:pt x="474" y="70"/>
                        </a:lnTo>
                        <a:lnTo>
                          <a:pt x="466" y="72"/>
                        </a:lnTo>
                        <a:lnTo>
                          <a:pt x="456" y="67"/>
                        </a:lnTo>
                        <a:lnTo>
                          <a:pt x="448" y="68"/>
                        </a:lnTo>
                        <a:lnTo>
                          <a:pt x="443" y="62"/>
                        </a:lnTo>
                        <a:lnTo>
                          <a:pt x="436" y="63"/>
                        </a:lnTo>
                        <a:lnTo>
                          <a:pt x="428" y="60"/>
                        </a:lnTo>
                        <a:lnTo>
                          <a:pt x="416" y="53"/>
                        </a:lnTo>
                        <a:lnTo>
                          <a:pt x="411" y="60"/>
                        </a:lnTo>
                        <a:lnTo>
                          <a:pt x="399" y="58"/>
                        </a:lnTo>
                        <a:lnTo>
                          <a:pt x="389" y="55"/>
                        </a:lnTo>
                        <a:lnTo>
                          <a:pt x="383" y="47"/>
                        </a:lnTo>
                        <a:lnTo>
                          <a:pt x="371" y="38"/>
                        </a:lnTo>
                        <a:lnTo>
                          <a:pt x="363" y="35"/>
                        </a:lnTo>
                        <a:lnTo>
                          <a:pt x="359" y="50"/>
                        </a:lnTo>
                        <a:lnTo>
                          <a:pt x="356" y="53"/>
                        </a:lnTo>
                        <a:lnTo>
                          <a:pt x="346" y="53"/>
                        </a:lnTo>
                        <a:lnTo>
                          <a:pt x="336" y="62"/>
                        </a:lnTo>
                        <a:lnTo>
                          <a:pt x="330" y="67"/>
                        </a:lnTo>
                        <a:lnTo>
                          <a:pt x="318" y="72"/>
                        </a:lnTo>
                        <a:lnTo>
                          <a:pt x="315" y="87"/>
                        </a:lnTo>
                        <a:lnTo>
                          <a:pt x="310" y="98"/>
                        </a:lnTo>
                        <a:lnTo>
                          <a:pt x="300" y="108"/>
                        </a:lnTo>
                        <a:lnTo>
                          <a:pt x="291" y="117"/>
                        </a:lnTo>
                        <a:lnTo>
                          <a:pt x="290" y="130"/>
                        </a:lnTo>
                        <a:lnTo>
                          <a:pt x="286" y="141"/>
                        </a:lnTo>
                        <a:lnTo>
                          <a:pt x="276" y="140"/>
                        </a:lnTo>
                        <a:lnTo>
                          <a:pt x="266" y="143"/>
                        </a:lnTo>
                        <a:lnTo>
                          <a:pt x="256" y="143"/>
                        </a:lnTo>
                        <a:lnTo>
                          <a:pt x="245" y="148"/>
                        </a:lnTo>
                        <a:lnTo>
                          <a:pt x="230" y="148"/>
                        </a:lnTo>
                        <a:lnTo>
                          <a:pt x="218" y="151"/>
                        </a:lnTo>
                        <a:lnTo>
                          <a:pt x="212" y="153"/>
                        </a:lnTo>
                        <a:lnTo>
                          <a:pt x="205" y="170"/>
                        </a:lnTo>
                        <a:lnTo>
                          <a:pt x="203" y="175"/>
                        </a:lnTo>
                        <a:lnTo>
                          <a:pt x="197" y="181"/>
                        </a:lnTo>
                        <a:lnTo>
                          <a:pt x="198" y="188"/>
                        </a:lnTo>
                        <a:lnTo>
                          <a:pt x="200" y="196"/>
                        </a:lnTo>
                        <a:lnTo>
                          <a:pt x="192" y="201"/>
                        </a:lnTo>
                        <a:lnTo>
                          <a:pt x="183" y="203"/>
                        </a:lnTo>
                        <a:lnTo>
                          <a:pt x="177" y="208"/>
                        </a:lnTo>
                        <a:lnTo>
                          <a:pt x="177" y="213"/>
                        </a:lnTo>
                        <a:lnTo>
                          <a:pt x="167" y="213"/>
                        </a:lnTo>
                        <a:lnTo>
                          <a:pt x="162" y="221"/>
                        </a:lnTo>
                        <a:lnTo>
                          <a:pt x="157" y="226"/>
                        </a:lnTo>
                        <a:lnTo>
                          <a:pt x="148" y="223"/>
                        </a:lnTo>
                        <a:lnTo>
                          <a:pt x="142" y="230"/>
                        </a:lnTo>
                        <a:lnTo>
                          <a:pt x="133" y="238"/>
                        </a:lnTo>
                        <a:lnTo>
                          <a:pt x="138" y="244"/>
                        </a:lnTo>
                        <a:lnTo>
                          <a:pt x="140" y="253"/>
                        </a:lnTo>
                        <a:lnTo>
                          <a:pt x="140" y="259"/>
                        </a:lnTo>
                        <a:lnTo>
                          <a:pt x="132" y="264"/>
                        </a:lnTo>
                        <a:lnTo>
                          <a:pt x="125" y="271"/>
                        </a:lnTo>
                        <a:lnTo>
                          <a:pt x="123" y="278"/>
                        </a:lnTo>
                        <a:lnTo>
                          <a:pt x="113" y="276"/>
                        </a:lnTo>
                        <a:lnTo>
                          <a:pt x="99" y="283"/>
                        </a:lnTo>
                        <a:lnTo>
                          <a:pt x="90" y="283"/>
                        </a:lnTo>
                        <a:lnTo>
                          <a:pt x="87" y="276"/>
                        </a:lnTo>
                        <a:lnTo>
                          <a:pt x="77" y="274"/>
                        </a:lnTo>
                        <a:lnTo>
                          <a:pt x="74" y="279"/>
                        </a:lnTo>
                        <a:lnTo>
                          <a:pt x="72" y="286"/>
                        </a:lnTo>
                        <a:lnTo>
                          <a:pt x="62" y="291"/>
                        </a:lnTo>
                        <a:lnTo>
                          <a:pt x="50" y="296"/>
                        </a:lnTo>
                        <a:lnTo>
                          <a:pt x="45" y="301"/>
                        </a:lnTo>
                        <a:lnTo>
                          <a:pt x="37" y="299"/>
                        </a:lnTo>
                        <a:lnTo>
                          <a:pt x="32" y="294"/>
                        </a:lnTo>
                        <a:lnTo>
                          <a:pt x="22" y="291"/>
                        </a:lnTo>
                        <a:lnTo>
                          <a:pt x="12" y="288"/>
                        </a:lnTo>
                        <a:lnTo>
                          <a:pt x="7" y="281"/>
                        </a:lnTo>
                        <a:lnTo>
                          <a:pt x="9" y="291"/>
                        </a:lnTo>
                        <a:lnTo>
                          <a:pt x="10" y="294"/>
                        </a:lnTo>
                        <a:lnTo>
                          <a:pt x="9" y="303"/>
                        </a:lnTo>
                        <a:lnTo>
                          <a:pt x="5" y="309"/>
                        </a:lnTo>
                        <a:lnTo>
                          <a:pt x="0" y="318"/>
                        </a:lnTo>
                        <a:lnTo>
                          <a:pt x="4" y="324"/>
                        </a:lnTo>
                        <a:lnTo>
                          <a:pt x="9" y="329"/>
                        </a:lnTo>
                        <a:lnTo>
                          <a:pt x="14" y="333"/>
                        </a:lnTo>
                        <a:lnTo>
                          <a:pt x="19" y="331"/>
                        </a:lnTo>
                        <a:lnTo>
                          <a:pt x="25" y="336"/>
                        </a:lnTo>
                        <a:lnTo>
                          <a:pt x="34" y="334"/>
                        </a:lnTo>
                        <a:lnTo>
                          <a:pt x="47" y="334"/>
                        </a:lnTo>
                        <a:lnTo>
                          <a:pt x="55" y="336"/>
                        </a:lnTo>
                        <a:lnTo>
                          <a:pt x="59" y="333"/>
                        </a:lnTo>
                        <a:lnTo>
                          <a:pt x="65" y="336"/>
                        </a:lnTo>
                        <a:lnTo>
                          <a:pt x="65" y="347"/>
                        </a:lnTo>
                        <a:lnTo>
                          <a:pt x="70" y="354"/>
                        </a:lnTo>
                        <a:lnTo>
                          <a:pt x="75" y="357"/>
                        </a:lnTo>
                        <a:lnTo>
                          <a:pt x="75" y="361"/>
                        </a:lnTo>
                        <a:lnTo>
                          <a:pt x="67" y="359"/>
                        </a:lnTo>
                        <a:lnTo>
                          <a:pt x="70" y="366"/>
                        </a:lnTo>
                        <a:lnTo>
                          <a:pt x="65" y="376"/>
                        </a:lnTo>
                        <a:lnTo>
                          <a:pt x="64" y="384"/>
                        </a:lnTo>
                        <a:lnTo>
                          <a:pt x="69" y="391"/>
                        </a:lnTo>
                        <a:lnTo>
                          <a:pt x="82" y="406"/>
                        </a:lnTo>
                        <a:lnTo>
                          <a:pt x="82" y="412"/>
                        </a:lnTo>
                        <a:lnTo>
                          <a:pt x="80" y="416"/>
                        </a:lnTo>
                        <a:lnTo>
                          <a:pt x="80" y="419"/>
                        </a:lnTo>
                        <a:lnTo>
                          <a:pt x="80" y="419"/>
                        </a:lnTo>
                        <a:lnTo>
                          <a:pt x="80" y="419"/>
                        </a:lnTo>
                        <a:close/>
                      </a:path>
                    </a:pathLst>
                  </a:custGeom>
                  <a:solidFill>
                    <a:srgbClr val="D6D6D6"/>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dirty="0">
                      <a:latin typeface="Proxima Nova A" panose="02000506030000020004" pitchFamily="2" charset="0"/>
                    </a:endParaRPr>
                  </a:p>
                </p:txBody>
              </p:sp>
              <p:sp>
                <p:nvSpPr>
                  <p:cNvPr id="158" name="Freeform 1080">
                    <a:extLst>
                      <a:ext uri="{FF2B5EF4-FFF2-40B4-BE49-F238E27FC236}">
                        <a16:creationId xmlns:a16="http://schemas.microsoft.com/office/drawing/2014/main" id="{A81A7FC6-9742-4A26-96FE-F018B54CB8CE}"/>
                      </a:ext>
                    </a:extLst>
                  </p:cNvPr>
                  <p:cNvSpPr>
                    <a:spLocks/>
                  </p:cNvSpPr>
                  <p:nvPr/>
                </p:nvSpPr>
                <p:spPr bwMode="auto">
                  <a:xfrm>
                    <a:off x="5720766" y="2465422"/>
                    <a:ext cx="149042" cy="216664"/>
                  </a:xfrm>
                  <a:custGeom>
                    <a:avLst/>
                    <a:gdLst>
                      <a:gd name="T0" fmla="*/ 100 w 108"/>
                      <a:gd name="T1" fmla="*/ 122 h 157"/>
                      <a:gd name="T2" fmla="*/ 108 w 108"/>
                      <a:gd name="T3" fmla="*/ 117 h 157"/>
                      <a:gd name="T4" fmla="*/ 105 w 108"/>
                      <a:gd name="T5" fmla="*/ 107 h 157"/>
                      <a:gd name="T6" fmla="*/ 98 w 108"/>
                      <a:gd name="T7" fmla="*/ 98 h 157"/>
                      <a:gd name="T8" fmla="*/ 93 w 108"/>
                      <a:gd name="T9" fmla="*/ 90 h 157"/>
                      <a:gd name="T10" fmla="*/ 97 w 108"/>
                      <a:gd name="T11" fmla="*/ 75 h 157"/>
                      <a:gd name="T12" fmla="*/ 100 w 108"/>
                      <a:gd name="T13" fmla="*/ 62 h 157"/>
                      <a:gd name="T14" fmla="*/ 103 w 108"/>
                      <a:gd name="T15" fmla="*/ 45 h 157"/>
                      <a:gd name="T16" fmla="*/ 105 w 108"/>
                      <a:gd name="T17" fmla="*/ 32 h 157"/>
                      <a:gd name="T18" fmla="*/ 98 w 108"/>
                      <a:gd name="T19" fmla="*/ 27 h 157"/>
                      <a:gd name="T20" fmla="*/ 101 w 108"/>
                      <a:gd name="T21" fmla="*/ 20 h 157"/>
                      <a:gd name="T22" fmla="*/ 87 w 108"/>
                      <a:gd name="T23" fmla="*/ 9 h 157"/>
                      <a:gd name="T24" fmla="*/ 78 w 108"/>
                      <a:gd name="T25" fmla="*/ 9 h 157"/>
                      <a:gd name="T26" fmla="*/ 75 w 108"/>
                      <a:gd name="T27" fmla="*/ 0 h 157"/>
                      <a:gd name="T28" fmla="*/ 68 w 108"/>
                      <a:gd name="T29" fmla="*/ 7 h 157"/>
                      <a:gd name="T30" fmla="*/ 62 w 108"/>
                      <a:gd name="T31" fmla="*/ 5 h 157"/>
                      <a:gd name="T32" fmla="*/ 55 w 108"/>
                      <a:gd name="T33" fmla="*/ 12 h 157"/>
                      <a:gd name="T34" fmla="*/ 47 w 108"/>
                      <a:gd name="T35" fmla="*/ 19 h 157"/>
                      <a:gd name="T36" fmla="*/ 40 w 108"/>
                      <a:gd name="T37" fmla="*/ 25 h 157"/>
                      <a:gd name="T38" fmla="*/ 27 w 108"/>
                      <a:gd name="T39" fmla="*/ 29 h 157"/>
                      <a:gd name="T40" fmla="*/ 15 w 108"/>
                      <a:gd name="T41" fmla="*/ 29 h 157"/>
                      <a:gd name="T42" fmla="*/ 7 w 108"/>
                      <a:gd name="T43" fmla="*/ 30 h 157"/>
                      <a:gd name="T44" fmla="*/ 7 w 108"/>
                      <a:gd name="T45" fmla="*/ 42 h 157"/>
                      <a:gd name="T46" fmla="*/ 17 w 108"/>
                      <a:gd name="T47" fmla="*/ 45 h 157"/>
                      <a:gd name="T48" fmla="*/ 17 w 108"/>
                      <a:gd name="T49" fmla="*/ 57 h 157"/>
                      <a:gd name="T50" fmla="*/ 15 w 108"/>
                      <a:gd name="T51" fmla="*/ 69 h 157"/>
                      <a:gd name="T52" fmla="*/ 7 w 108"/>
                      <a:gd name="T53" fmla="*/ 78 h 157"/>
                      <a:gd name="T54" fmla="*/ 0 w 108"/>
                      <a:gd name="T55" fmla="*/ 90 h 157"/>
                      <a:gd name="T56" fmla="*/ 0 w 108"/>
                      <a:gd name="T57" fmla="*/ 108 h 157"/>
                      <a:gd name="T58" fmla="*/ 3 w 108"/>
                      <a:gd name="T59" fmla="*/ 122 h 157"/>
                      <a:gd name="T60" fmla="*/ 8 w 108"/>
                      <a:gd name="T61" fmla="*/ 133 h 157"/>
                      <a:gd name="T62" fmla="*/ 7 w 108"/>
                      <a:gd name="T63" fmla="*/ 142 h 157"/>
                      <a:gd name="T64" fmla="*/ 15 w 108"/>
                      <a:gd name="T65" fmla="*/ 153 h 157"/>
                      <a:gd name="T66" fmla="*/ 27 w 108"/>
                      <a:gd name="T67" fmla="*/ 153 h 157"/>
                      <a:gd name="T68" fmla="*/ 38 w 108"/>
                      <a:gd name="T69" fmla="*/ 152 h 157"/>
                      <a:gd name="T70" fmla="*/ 47 w 108"/>
                      <a:gd name="T71" fmla="*/ 155 h 157"/>
                      <a:gd name="T72" fmla="*/ 53 w 108"/>
                      <a:gd name="T73" fmla="*/ 155 h 157"/>
                      <a:gd name="T74" fmla="*/ 58 w 108"/>
                      <a:gd name="T75" fmla="*/ 147 h 157"/>
                      <a:gd name="T76" fmla="*/ 62 w 108"/>
                      <a:gd name="T77" fmla="*/ 142 h 157"/>
                      <a:gd name="T78" fmla="*/ 77 w 108"/>
                      <a:gd name="T79" fmla="*/ 140 h 157"/>
                      <a:gd name="T80" fmla="*/ 88 w 108"/>
                      <a:gd name="T81" fmla="*/ 140 h 157"/>
                      <a:gd name="T82" fmla="*/ 93 w 108"/>
                      <a:gd name="T83" fmla="*/ 132 h 157"/>
                      <a:gd name="T84" fmla="*/ 93 w 108"/>
                      <a:gd name="T85" fmla="*/ 13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8" h="157">
                        <a:moveTo>
                          <a:pt x="93" y="132"/>
                        </a:moveTo>
                        <a:lnTo>
                          <a:pt x="100" y="122"/>
                        </a:lnTo>
                        <a:lnTo>
                          <a:pt x="106" y="120"/>
                        </a:lnTo>
                        <a:lnTo>
                          <a:pt x="108" y="117"/>
                        </a:lnTo>
                        <a:lnTo>
                          <a:pt x="108" y="110"/>
                        </a:lnTo>
                        <a:lnTo>
                          <a:pt x="105" y="107"/>
                        </a:lnTo>
                        <a:lnTo>
                          <a:pt x="98" y="102"/>
                        </a:lnTo>
                        <a:lnTo>
                          <a:pt x="98" y="98"/>
                        </a:lnTo>
                        <a:lnTo>
                          <a:pt x="93" y="95"/>
                        </a:lnTo>
                        <a:lnTo>
                          <a:pt x="93" y="90"/>
                        </a:lnTo>
                        <a:lnTo>
                          <a:pt x="93" y="83"/>
                        </a:lnTo>
                        <a:lnTo>
                          <a:pt x="97" y="75"/>
                        </a:lnTo>
                        <a:lnTo>
                          <a:pt x="98" y="69"/>
                        </a:lnTo>
                        <a:lnTo>
                          <a:pt x="100" y="62"/>
                        </a:lnTo>
                        <a:lnTo>
                          <a:pt x="101" y="54"/>
                        </a:lnTo>
                        <a:lnTo>
                          <a:pt x="103" y="45"/>
                        </a:lnTo>
                        <a:lnTo>
                          <a:pt x="105" y="39"/>
                        </a:lnTo>
                        <a:lnTo>
                          <a:pt x="105" y="32"/>
                        </a:lnTo>
                        <a:lnTo>
                          <a:pt x="101" y="29"/>
                        </a:lnTo>
                        <a:lnTo>
                          <a:pt x="98" y="27"/>
                        </a:lnTo>
                        <a:lnTo>
                          <a:pt x="100" y="22"/>
                        </a:lnTo>
                        <a:lnTo>
                          <a:pt x="101" y="20"/>
                        </a:lnTo>
                        <a:lnTo>
                          <a:pt x="95" y="12"/>
                        </a:lnTo>
                        <a:lnTo>
                          <a:pt x="87" y="9"/>
                        </a:lnTo>
                        <a:lnTo>
                          <a:pt x="83" y="10"/>
                        </a:lnTo>
                        <a:lnTo>
                          <a:pt x="78" y="9"/>
                        </a:lnTo>
                        <a:lnTo>
                          <a:pt x="78" y="5"/>
                        </a:lnTo>
                        <a:lnTo>
                          <a:pt x="75" y="0"/>
                        </a:lnTo>
                        <a:lnTo>
                          <a:pt x="70" y="4"/>
                        </a:lnTo>
                        <a:lnTo>
                          <a:pt x="68" y="7"/>
                        </a:lnTo>
                        <a:lnTo>
                          <a:pt x="65" y="2"/>
                        </a:lnTo>
                        <a:lnTo>
                          <a:pt x="62" y="5"/>
                        </a:lnTo>
                        <a:lnTo>
                          <a:pt x="60" y="12"/>
                        </a:lnTo>
                        <a:lnTo>
                          <a:pt x="55" y="12"/>
                        </a:lnTo>
                        <a:lnTo>
                          <a:pt x="50" y="17"/>
                        </a:lnTo>
                        <a:lnTo>
                          <a:pt x="47" y="19"/>
                        </a:lnTo>
                        <a:lnTo>
                          <a:pt x="43" y="24"/>
                        </a:lnTo>
                        <a:lnTo>
                          <a:pt x="40" y="25"/>
                        </a:lnTo>
                        <a:lnTo>
                          <a:pt x="35" y="25"/>
                        </a:lnTo>
                        <a:lnTo>
                          <a:pt x="27" y="29"/>
                        </a:lnTo>
                        <a:lnTo>
                          <a:pt x="20" y="27"/>
                        </a:lnTo>
                        <a:lnTo>
                          <a:pt x="15" y="29"/>
                        </a:lnTo>
                        <a:lnTo>
                          <a:pt x="12" y="30"/>
                        </a:lnTo>
                        <a:lnTo>
                          <a:pt x="7" y="30"/>
                        </a:lnTo>
                        <a:lnTo>
                          <a:pt x="5" y="37"/>
                        </a:lnTo>
                        <a:lnTo>
                          <a:pt x="7" y="42"/>
                        </a:lnTo>
                        <a:lnTo>
                          <a:pt x="12" y="42"/>
                        </a:lnTo>
                        <a:lnTo>
                          <a:pt x="17" y="45"/>
                        </a:lnTo>
                        <a:lnTo>
                          <a:pt x="18" y="52"/>
                        </a:lnTo>
                        <a:lnTo>
                          <a:pt x="17" y="57"/>
                        </a:lnTo>
                        <a:lnTo>
                          <a:pt x="18" y="65"/>
                        </a:lnTo>
                        <a:lnTo>
                          <a:pt x="15" y="69"/>
                        </a:lnTo>
                        <a:lnTo>
                          <a:pt x="12" y="72"/>
                        </a:lnTo>
                        <a:lnTo>
                          <a:pt x="7" y="78"/>
                        </a:lnTo>
                        <a:lnTo>
                          <a:pt x="3" y="87"/>
                        </a:lnTo>
                        <a:lnTo>
                          <a:pt x="0" y="90"/>
                        </a:lnTo>
                        <a:lnTo>
                          <a:pt x="2" y="98"/>
                        </a:lnTo>
                        <a:lnTo>
                          <a:pt x="0" y="108"/>
                        </a:lnTo>
                        <a:lnTo>
                          <a:pt x="2" y="113"/>
                        </a:lnTo>
                        <a:lnTo>
                          <a:pt x="3" y="122"/>
                        </a:lnTo>
                        <a:lnTo>
                          <a:pt x="7" y="128"/>
                        </a:lnTo>
                        <a:lnTo>
                          <a:pt x="8" y="133"/>
                        </a:lnTo>
                        <a:lnTo>
                          <a:pt x="5" y="137"/>
                        </a:lnTo>
                        <a:lnTo>
                          <a:pt x="7" y="142"/>
                        </a:lnTo>
                        <a:lnTo>
                          <a:pt x="10" y="147"/>
                        </a:lnTo>
                        <a:lnTo>
                          <a:pt x="15" y="153"/>
                        </a:lnTo>
                        <a:lnTo>
                          <a:pt x="20" y="155"/>
                        </a:lnTo>
                        <a:lnTo>
                          <a:pt x="27" y="153"/>
                        </a:lnTo>
                        <a:lnTo>
                          <a:pt x="33" y="152"/>
                        </a:lnTo>
                        <a:lnTo>
                          <a:pt x="38" y="152"/>
                        </a:lnTo>
                        <a:lnTo>
                          <a:pt x="42" y="152"/>
                        </a:lnTo>
                        <a:lnTo>
                          <a:pt x="47" y="155"/>
                        </a:lnTo>
                        <a:lnTo>
                          <a:pt x="50" y="157"/>
                        </a:lnTo>
                        <a:lnTo>
                          <a:pt x="53" y="155"/>
                        </a:lnTo>
                        <a:lnTo>
                          <a:pt x="53" y="150"/>
                        </a:lnTo>
                        <a:lnTo>
                          <a:pt x="58" y="147"/>
                        </a:lnTo>
                        <a:lnTo>
                          <a:pt x="62" y="145"/>
                        </a:lnTo>
                        <a:lnTo>
                          <a:pt x="62" y="142"/>
                        </a:lnTo>
                        <a:lnTo>
                          <a:pt x="70" y="142"/>
                        </a:lnTo>
                        <a:lnTo>
                          <a:pt x="77" y="140"/>
                        </a:lnTo>
                        <a:lnTo>
                          <a:pt x="82" y="142"/>
                        </a:lnTo>
                        <a:lnTo>
                          <a:pt x="88" y="140"/>
                        </a:lnTo>
                        <a:lnTo>
                          <a:pt x="92" y="137"/>
                        </a:lnTo>
                        <a:lnTo>
                          <a:pt x="93" y="132"/>
                        </a:lnTo>
                        <a:lnTo>
                          <a:pt x="93" y="132"/>
                        </a:lnTo>
                        <a:lnTo>
                          <a:pt x="93" y="132"/>
                        </a:lnTo>
                        <a:close/>
                      </a:path>
                    </a:pathLst>
                  </a:custGeom>
                  <a:solidFill>
                    <a:srgbClr val="B79F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a:latin typeface="Proxima Nova A" panose="02000506030000020004" pitchFamily="2" charset="0"/>
                    </a:endParaRPr>
                  </a:p>
                </p:txBody>
              </p:sp>
              <p:sp>
                <p:nvSpPr>
                  <p:cNvPr id="159" name="Freeform 1082">
                    <a:extLst>
                      <a:ext uri="{FF2B5EF4-FFF2-40B4-BE49-F238E27FC236}">
                        <a16:creationId xmlns:a16="http://schemas.microsoft.com/office/drawing/2014/main" id="{DFB1A509-A83F-4A70-9AEC-4B5D7D04D3F2}"/>
                      </a:ext>
                    </a:extLst>
                  </p:cNvPr>
                  <p:cNvSpPr>
                    <a:spLocks/>
                  </p:cNvSpPr>
                  <p:nvPr/>
                </p:nvSpPr>
                <p:spPr bwMode="auto">
                  <a:xfrm>
                    <a:off x="4898272" y="2626884"/>
                    <a:ext cx="880455" cy="637570"/>
                  </a:xfrm>
                  <a:custGeom>
                    <a:avLst/>
                    <a:gdLst>
                      <a:gd name="T0" fmla="*/ 94 w 638"/>
                      <a:gd name="T1" fmla="*/ 418 h 462"/>
                      <a:gd name="T2" fmla="*/ 111 w 638"/>
                      <a:gd name="T3" fmla="*/ 430 h 462"/>
                      <a:gd name="T4" fmla="*/ 132 w 638"/>
                      <a:gd name="T5" fmla="*/ 438 h 462"/>
                      <a:gd name="T6" fmla="*/ 167 w 638"/>
                      <a:gd name="T7" fmla="*/ 448 h 462"/>
                      <a:gd name="T8" fmla="*/ 192 w 638"/>
                      <a:gd name="T9" fmla="*/ 432 h 462"/>
                      <a:gd name="T10" fmla="*/ 217 w 638"/>
                      <a:gd name="T11" fmla="*/ 448 h 462"/>
                      <a:gd name="T12" fmla="*/ 257 w 638"/>
                      <a:gd name="T13" fmla="*/ 430 h 462"/>
                      <a:gd name="T14" fmla="*/ 310 w 638"/>
                      <a:gd name="T15" fmla="*/ 415 h 462"/>
                      <a:gd name="T16" fmla="*/ 315 w 638"/>
                      <a:gd name="T17" fmla="*/ 384 h 462"/>
                      <a:gd name="T18" fmla="*/ 365 w 638"/>
                      <a:gd name="T19" fmla="*/ 390 h 462"/>
                      <a:gd name="T20" fmla="*/ 385 w 638"/>
                      <a:gd name="T21" fmla="*/ 408 h 462"/>
                      <a:gd name="T22" fmla="*/ 415 w 638"/>
                      <a:gd name="T23" fmla="*/ 442 h 462"/>
                      <a:gd name="T24" fmla="*/ 450 w 638"/>
                      <a:gd name="T25" fmla="*/ 408 h 462"/>
                      <a:gd name="T26" fmla="*/ 481 w 638"/>
                      <a:gd name="T27" fmla="*/ 398 h 462"/>
                      <a:gd name="T28" fmla="*/ 505 w 638"/>
                      <a:gd name="T29" fmla="*/ 347 h 462"/>
                      <a:gd name="T30" fmla="*/ 525 w 638"/>
                      <a:gd name="T31" fmla="*/ 312 h 462"/>
                      <a:gd name="T32" fmla="*/ 551 w 638"/>
                      <a:gd name="T33" fmla="*/ 292 h 462"/>
                      <a:gd name="T34" fmla="*/ 589 w 638"/>
                      <a:gd name="T35" fmla="*/ 304 h 462"/>
                      <a:gd name="T36" fmla="*/ 596 w 638"/>
                      <a:gd name="T37" fmla="*/ 266 h 462"/>
                      <a:gd name="T38" fmla="*/ 611 w 638"/>
                      <a:gd name="T39" fmla="*/ 256 h 462"/>
                      <a:gd name="T40" fmla="*/ 596 w 638"/>
                      <a:gd name="T41" fmla="*/ 227 h 462"/>
                      <a:gd name="T42" fmla="*/ 581 w 638"/>
                      <a:gd name="T43" fmla="*/ 194 h 462"/>
                      <a:gd name="T44" fmla="*/ 626 w 638"/>
                      <a:gd name="T45" fmla="*/ 158 h 462"/>
                      <a:gd name="T46" fmla="*/ 634 w 638"/>
                      <a:gd name="T47" fmla="*/ 129 h 462"/>
                      <a:gd name="T48" fmla="*/ 618 w 638"/>
                      <a:gd name="T49" fmla="*/ 123 h 462"/>
                      <a:gd name="T50" fmla="*/ 588 w 638"/>
                      <a:gd name="T51" fmla="*/ 123 h 462"/>
                      <a:gd name="T52" fmla="*/ 551 w 638"/>
                      <a:gd name="T53" fmla="*/ 141 h 462"/>
                      <a:gd name="T54" fmla="*/ 508 w 638"/>
                      <a:gd name="T55" fmla="*/ 141 h 462"/>
                      <a:gd name="T56" fmla="*/ 458 w 638"/>
                      <a:gd name="T57" fmla="*/ 131 h 462"/>
                      <a:gd name="T58" fmla="*/ 403 w 638"/>
                      <a:gd name="T59" fmla="*/ 126 h 462"/>
                      <a:gd name="T60" fmla="*/ 365 w 638"/>
                      <a:gd name="T61" fmla="*/ 119 h 462"/>
                      <a:gd name="T62" fmla="*/ 307 w 638"/>
                      <a:gd name="T63" fmla="*/ 116 h 462"/>
                      <a:gd name="T64" fmla="*/ 255 w 638"/>
                      <a:gd name="T65" fmla="*/ 106 h 462"/>
                      <a:gd name="T66" fmla="*/ 224 w 638"/>
                      <a:gd name="T67" fmla="*/ 91 h 462"/>
                      <a:gd name="T68" fmla="*/ 181 w 638"/>
                      <a:gd name="T69" fmla="*/ 68 h 462"/>
                      <a:gd name="T70" fmla="*/ 169 w 638"/>
                      <a:gd name="T71" fmla="*/ 38 h 462"/>
                      <a:gd name="T72" fmla="*/ 119 w 638"/>
                      <a:gd name="T73" fmla="*/ 16 h 462"/>
                      <a:gd name="T74" fmla="*/ 78 w 638"/>
                      <a:gd name="T75" fmla="*/ 10 h 462"/>
                      <a:gd name="T76" fmla="*/ 64 w 638"/>
                      <a:gd name="T77" fmla="*/ 30 h 462"/>
                      <a:gd name="T78" fmla="*/ 81 w 638"/>
                      <a:gd name="T79" fmla="*/ 68 h 462"/>
                      <a:gd name="T80" fmla="*/ 108 w 638"/>
                      <a:gd name="T81" fmla="*/ 98 h 462"/>
                      <a:gd name="T82" fmla="*/ 124 w 638"/>
                      <a:gd name="T83" fmla="*/ 114 h 462"/>
                      <a:gd name="T84" fmla="*/ 96 w 638"/>
                      <a:gd name="T85" fmla="*/ 131 h 462"/>
                      <a:gd name="T86" fmla="*/ 73 w 638"/>
                      <a:gd name="T87" fmla="*/ 156 h 462"/>
                      <a:gd name="T88" fmla="*/ 104 w 638"/>
                      <a:gd name="T89" fmla="*/ 184 h 462"/>
                      <a:gd name="T90" fmla="*/ 141 w 638"/>
                      <a:gd name="T91" fmla="*/ 229 h 462"/>
                      <a:gd name="T92" fmla="*/ 147 w 638"/>
                      <a:gd name="T93" fmla="*/ 257 h 462"/>
                      <a:gd name="T94" fmla="*/ 96 w 638"/>
                      <a:gd name="T95" fmla="*/ 272 h 462"/>
                      <a:gd name="T96" fmla="*/ 53 w 638"/>
                      <a:gd name="T97" fmla="*/ 305 h 462"/>
                      <a:gd name="T98" fmla="*/ 14 w 638"/>
                      <a:gd name="T99" fmla="*/ 398 h 462"/>
                      <a:gd name="T100" fmla="*/ 29 w 638"/>
                      <a:gd name="T101" fmla="*/ 430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38" h="462">
                        <a:moveTo>
                          <a:pt x="29" y="430"/>
                        </a:moveTo>
                        <a:lnTo>
                          <a:pt x="53" y="432"/>
                        </a:lnTo>
                        <a:lnTo>
                          <a:pt x="74" y="428"/>
                        </a:lnTo>
                        <a:lnTo>
                          <a:pt x="86" y="425"/>
                        </a:lnTo>
                        <a:lnTo>
                          <a:pt x="94" y="418"/>
                        </a:lnTo>
                        <a:lnTo>
                          <a:pt x="101" y="423"/>
                        </a:lnTo>
                        <a:lnTo>
                          <a:pt x="106" y="432"/>
                        </a:lnTo>
                        <a:lnTo>
                          <a:pt x="109" y="435"/>
                        </a:lnTo>
                        <a:lnTo>
                          <a:pt x="114" y="433"/>
                        </a:lnTo>
                        <a:lnTo>
                          <a:pt x="111" y="430"/>
                        </a:lnTo>
                        <a:lnTo>
                          <a:pt x="118" y="427"/>
                        </a:lnTo>
                        <a:lnTo>
                          <a:pt x="124" y="430"/>
                        </a:lnTo>
                        <a:lnTo>
                          <a:pt x="127" y="428"/>
                        </a:lnTo>
                        <a:lnTo>
                          <a:pt x="136" y="430"/>
                        </a:lnTo>
                        <a:lnTo>
                          <a:pt x="132" y="438"/>
                        </a:lnTo>
                        <a:lnTo>
                          <a:pt x="141" y="448"/>
                        </a:lnTo>
                        <a:lnTo>
                          <a:pt x="152" y="452"/>
                        </a:lnTo>
                        <a:lnTo>
                          <a:pt x="159" y="462"/>
                        </a:lnTo>
                        <a:lnTo>
                          <a:pt x="161" y="457"/>
                        </a:lnTo>
                        <a:lnTo>
                          <a:pt x="167" y="448"/>
                        </a:lnTo>
                        <a:lnTo>
                          <a:pt x="167" y="443"/>
                        </a:lnTo>
                        <a:lnTo>
                          <a:pt x="177" y="448"/>
                        </a:lnTo>
                        <a:lnTo>
                          <a:pt x="182" y="442"/>
                        </a:lnTo>
                        <a:lnTo>
                          <a:pt x="182" y="438"/>
                        </a:lnTo>
                        <a:lnTo>
                          <a:pt x="192" y="432"/>
                        </a:lnTo>
                        <a:lnTo>
                          <a:pt x="199" y="428"/>
                        </a:lnTo>
                        <a:lnTo>
                          <a:pt x="202" y="435"/>
                        </a:lnTo>
                        <a:lnTo>
                          <a:pt x="211" y="440"/>
                        </a:lnTo>
                        <a:lnTo>
                          <a:pt x="211" y="445"/>
                        </a:lnTo>
                        <a:lnTo>
                          <a:pt x="217" y="448"/>
                        </a:lnTo>
                        <a:lnTo>
                          <a:pt x="229" y="443"/>
                        </a:lnTo>
                        <a:lnTo>
                          <a:pt x="234" y="445"/>
                        </a:lnTo>
                        <a:lnTo>
                          <a:pt x="237" y="448"/>
                        </a:lnTo>
                        <a:lnTo>
                          <a:pt x="245" y="438"/>
                        </a:lnTo>
                        <a:lnTo>
                          <a:pt x="257" y="430"/>
                        </a:lnTo>
                        <a:lnTo>
                          <a:pt x="269" y="425"/>
                        </a:lnTo>
                        <a:lnTo>
                          <a:pt x="289" y="422"/>
                        </a:lnTo>
                        <a:lnTo>
                          <a:pt x="295" y="422"/>
                        </a:lnTo>
                        <a:lnTo>
                          <a:pt x="300" y="415"/>
                        </a:lnTo>
                        <a:lnTo>
                          <a:pt x="310" y="415"/>
                        </a:lnTo>
                        <a:lnTo>
                          <a:pt x="312" y="410"/>
                        </a:lnTo>
                        <a:lnTo>
                          <a:pt x="310" y="402"/>
                        </a:lnTo>
                        <a:lnTo>
                          <a:pt x="315" y="393"/>
                        </a:lnTo>
                        <a:lnTo>
                          <a:pt x="315" y="390"/>
                        </a:lnTo>
                        <a:lnTo>
                          <a:pt x="315" y="384"/>
                        </a:lnTo>
                        <a:lnTo>
                          <a:pt x="327" y="384"/>
                        </a:lnTo>
                        <a:lnTo>
                          <a:pt x="334" y="384"/>
                        </a:lnTo>
                        <a:lnTo>
                          <a:pt x="345" y="393"/>
                        </a:lnTo>
                        <a:lnTo>
                          <a:pt x="357" y="387"/>
                        </a:lnTo>
                        <a:lnTo>
                          <a:pt x="365" y="390"/>
                        </a:lnTo>
                        <a:lnTo>
                          <a:pt x="367" y="395"/>
                        </a:lnTo>
                        <a:lnTo>
                          <a:pt x="370" y="402"/>
                        </a:lnTo>
                        <a:lnTo>
                          <a:pt x="367" y="405"/>
                        </a:lnTo>
                        <a:lnTo>
                          <a:pt x="378" y="412"/>
                        </a:lnTo>
                        <a:lnTo>
                          <a:pt x="385" y="408"/>
                        </a:lnTo>
                        <a:lnTo>
                          <a:pt x="395" y="410"/>
                        </a:lnTo>
                        <a:lnTo>
                          <a:pt x="393" y="418"/>
                        </a:lnTo>
                        <a:lnTo>
                          <a:pt x="392" y="428"/>
                        </a:lnTo>
                        <a:lnTo>
                          <a:pt x="397" y="427"/>
                        </a:lnTo>
                        <a:lnTo>
                          <a:pt x="415" y="442"/>
                        </a:lnTo>
                        <a:lnTo>
                          <a:pt x="420" y="425"/>
                        </a:lnTo>
                        <a:lnTo>
                          <a:pt x="427" y="413"/>
                        </a:lnTo>
                        <a:lnTo>
                          <a:pt x="435" y="403"/>
                        </a:lnTo>
                        <a:lnTo>
                          <a:pt x="442" y="410"/>
                        </a:lnTo>
                        <a:lnTo>
                          <a:pt x="450" y="408"/>
                        </a:lnTo>
                        <a:lnTo>
                          <a:pt x="455" y="402"/>
                        </a:lnTo>
                        <a:lnTo>
                          <a:pt x="463" y="408"/>
                        </a:lnTo>
                        <a:lnTo>
                          <a:pt x="476" y="410"/>
                        </a:lnTo>
                        <a:lnTo>
                          <a:pt x="476" y="398"/>
                        </a:lnTo>
                        <a:lnTo>
                          <a:pt x="481" y="398"/>
                        </a:lnTo>
                        <a:lnTo>
                          <a:pt x="493" y="400"/>
                        </a:lnTo>
                        <a:lnTo>
                          <a:pt x="496" y="387"/>
                        </a:lnTo>
                        <a:lnTo>
                          <a:pt x="496" y="370"/>
                        </a:lnTo>
                        <a:lnTo>
                          <a:pt x="503" y="357"/>
                        </a:lnTo>
                        <a:lnTo>
                          <a:pt x="505" y="347"/>
                        </a:lnTo>
                        <a:lnTo>
                          <a:pt x="503" y="335"/>
                        </a:lnTo>
                        <a:lnTo>
                          <a:pt x="518" y="327"/>
                        </a:lnTo>
                        <a:lnTo>
                          <a:pt x="523" y="327"/>
                        </a:lnTo>
                        <a:lnTo>
                          <a:pt x="521" y="319"/>
                        </a:lnTo>
                        <a:lnTo>
                          <a:pt x="525" y="312"/>
                        </a:lnTo>
                        <a:lnTo>
                          <a:pt x="535" y="310"/>
                        </a:lnTo>
                        <a:lnTo>
                          <a:pt x="545" y="315"/>
                        </a:lnTo>
                        <a:lnTo>
                          <a:pt x="545" y="309"/>
                        </a:lnTo>
                        <a:lnTo>
                          <a:pt x="551" y="300"/>
                        </a:lnTo>
                        <a:lnTo>
                          <a:pt x="551" y="292"/>
                        </a:lnTo>
                        <a:lnTo>
                          <a:pt x="558" y="292"/>
                        </a:lnTo>
                        <a:lnTo>
                          <a:pt x="566" y="297"/>
                        </a:lnTo>
                        <a:lnTo>
                          <a:pt x="581" y="302"/>
                        </a:lnTo>
                        <a:lnTo>
                          <a:pt x="586" y="309"/>
                        </a:lnTo>
                        <a:lnTo>
                          <a:pt x="589" y="304"/>
                        </a:lnTo>
                        <a:lnTo>
                          <a:pt x="591" y="299"/>
                        </a:lnTo>
                        <a:lnTo>
                          <a:pt x="586" y="294"/>
                        </a:lnTo>
                        <a:lnTo>
                          <a:pt x="580" y="285"/>
                        </a:lnTo>
                        <a:lnTo>
                          <a:pt x="588" y="279"/>
                        </a:lnTo>
                        <a:lnTo>
                          <a:pt x="596" y="266"/>
                        </a:lnTo>
                        <a:lnTo>
                          <a:pt x="603" y="261"/>
                        </a:lnTo>
                        <a:lnTo>
                          <a:pt x="609" y="267"/>
                        </a:lnTo>
                        <a:lnTo>
                          <a:pt x="618" y="267"/>
                        </a:lnTo>
                        <a:lnTo>
                          <a:pt x="614" y="261"/>
                        </a:lnTo>
                        <a:lnTo>
                          <a:pt x="611" y="256"/>
                        </a:lnTo>
                        <a:lnTo>
                          <a:pt x="616" y="249"/>
                        </a:lnTo>
                        <a:lnTo>
                          <a:pt x="611" y="246"/>
                        </a:lnTo>
                        <a:lnTo>
                          <a:pt x="611" y="239"/>
                        </a:lnTo>
                        <a:lnTo>
                          <a:pt x="604" y="232"/>
                        </a:lnTo>
                        <a:lnTo>
                          <a:pt x="596" y="227"/>
                        </a:lnTo>
                        <a:lnTo>
                          <a:pt x="593" y="216"/>
                        </a:lnTo>
                        <a:lnTo>
                          <a:pt x="584" y="212"/>
                        </a:lnTo>
                        <a:lnTo>
                          <a:pt x="580" y="211"/>
                        </a:lnTo>
                        <a:lnTo>
                          <a:pt x="581" y="204"/>
                        </a:lnTo>
                        <a:lnTo>
                          <a:pt x="581" y="194"/>
                        </a:lnTo>
                        <a:lnTo>
                          <a:pt x="588" y="187"/>
                        </a:lnTo>
                        <a:lnTo>
                          <a:pt x="601" y="187"/>
                        </a:lnTo>
                        <a:lnTo>
                          <a:pt x="596" y="177"/>
                        </a:lnTo>
                        <a:lnTo>
                          <a:pt x="608" y="169"/>
                        </a:lnTo>
                        <a:lnTo>
                          <a:pt x="626" y="158"/>
                        </a:lnTo>
                        <a:lnTo>
                          <a:pt x="633" y="148"/>
                        </a:lnTo>
                        <a:lnTo>
                          <a:pt x="638" y="146"/>
                        </a:lnTo>
                        <a:lnTo>
                          <a:pt x="638" y="141"/>
                        </a:lnTo>
                        <a:lnTo>
                          <a:pt x="629" y="134"/>
                        </a:lnTo>
                        <a:lnTo>
                          <a:pt x="634" y="129"/>
                        </a:lnTo>
                        <a:lnTo>
                          <a:pt x="631" y="124"/>
                        </a:lnTo>
                        <a:lnTo>
                          <a:pt x="626" y="126"/>
                        </a:lnTo>
                        <a:lnTo>
                          <a:pt x="628" y="114"/>
                        </a:lnTo>
                        <a:lnTo>
                          <a:pt x="623" y="116"/>
                        </a:lnTo>
                        <a:lnTo>
                          <a:pt x="618" y="123"/>
                        </a:lnTo>
                        <a:lnTo>
                          <a:pt x="614" y="119"/>
                        </a:lnTo>
                        <a:lnTo>
                          <a:pt x="614" y="129"/>
                        </a:lnTo>
                        <a:lnTo>
                          <a:pt x="606" y="139"/>
                        </a:lnTo>
                        <a:lnTo>
                          <a:pt x="596" y="134"/>
                        </a:lnTo>
                        <a:lnTo>
                          <a:pt x="588" y="123"/>
                        </a:lnTo>
                        <a:lnTo>
                          <a:pt x="584" y="131"/>
                        </a:lnTo>
                        <a:lnTo>
                          <a:pt x="576" y="126"/>
                        </a:lnTo>
                        <a:lnTo>
                          <a:pt x="571" y="134"/>
                        </a:lnTo>
                        <a:lnTo>
                          <a:pt x="560" y="136"/>
                        </a:lnTo>
                        <a:lnTo>
                          <a:pt x="551" y="141"/>
                        </a:lnTo>
                        <a:lnTo>
                          <a:pt x="543" y="136"/>
                        </a:lnTo>
                        <a:lnTo>
                          <a:pt x="526" y="134"/>
                        </a:lnTo>
                        <a:lnTo>
                          <a:pt x="518" y="146"/>
                        </a:lnTo>
                        <a:lnTo>
                          <a:pt x="511" y="146"/>
                        </a:lnTo>
                        <a:lnTo>
                          <a:pt x="508" y="141"/>
                        </a:lnTo>
                        <a:lnTo>
                          <a:pt x="493" y="141"/>
                        </a:lnTo>
                        <a:lnTo>
                          <a:pt x="485" y="139"/>
                        </a:lnTo>
                        <a:lnTo>
                          <a:pt x="481" y="116"/>
                        </a:lnTo>
                        <a:lnTo>
                          <a:pt x="471" y="126"/>
                        </a:lnTo>
                        <a:lnTo>
                          <a:pt x="458" y="131"/>
                        </a:lnTo>
                        <a:lnTo>
                          <a:pt x="453" y="139"/>
                        </a:lnTo>
                        <a:lnTo>
                          <a:pt x="445" y="136"/>
                        </a:lnTo>
                        <a:lnTo>
                          <a:pt x="438" y="143"/>
                        </a:lnTo>
                        <a:lnTo>
                          <a:pt x="425" y="134"/>
                        </a:lnTo>
                        <a:lnTo>
                          <a:pt x="403" y="126"/>
                        </a:lnTo>
                        <a:lnTo>
                          <a:pt x="392" y="119"/>
                        </a:lnTo>
                        <a:lnTo>
                          <a:pt x="385" y="116"/>
                        </a:lnTo>
                        <a:lnTo>
                          <a:pt x="373" y="119"/>
                        </a:lnTo>
                        <a:lnTo>
                          <a:pt x="370" y="126"/>
                        </a:lnTo>
                        <a:lnTo>
                          <a:pt x="365" y="119"/>
                        </a:lnTo>
                        <a:lnTo>
                          <a:pt x="353" y="113"/>
                        </a:lnTo>
                        <a:lnTo>
                          <a:pt x="342" y="113"/>
                        </a:lnTo>
                        <a:lnTo>
                          <a:pt x="330" y="123"/>
                        </a:lnTo>
                        <a:lnTo>
                          <a:pt x="317" y="121"/>
                        </a:lnTo>
                        <a:lnTo>
                          <a:pt x="307" y="116"/>
                        </a:lnTo>
                        <a:lnTo>
                          <a:pt x="309" y="94"/>
                        </a:lnTo>
                        <a:lnTo>
                          <a:pt x="302" y="89"/>
                        </a:lnTo>
                        <a:lnTo>
                          <a:pt x="287" y="86"/>
                        </a:lnTo>
                        <a:lnTo>
                          <a:pt x="269" y="98"/>
                        </a:lnTo>
                        <a:lnTo>
                          <a:pt x="255" y="106"/>
                        </a:lnTo>
                        <a:lnTo>
                          <a:pt x="239" y="101"/>
                        </a:lnTo>
                        <a:lnTo>
                          <a:pt x="236" y="96"/>
                        </a:lnTo>
                        <a:lnTo>
                          <a:pt x="236" y="91"/>
                        </a:lnTo>
                        <a:lnTo>
                          <a:pt x="231" y="88"/>
                        </a:lnTo>
                        <a:lnTo>
                          <a:pt x="224" y="91"/>
                        </a:lnTo>
                        <a:lnTo>
                          <a:pt x="217" y="91"/>
                        </a:lnTo>
                        <a:lnTo>
                          <a:pt x="211" y="81"/>
                        </a:lnTo>
                        <a:lnTo>
                          <a:pt x="204" y="76"/>
                        </a:lnTo>
                        <a:lnTo>
                          <a:pt x="192" y="71"/>
                        </a:lnTo>
                        <a:lnTo>
                          <a:pt x="181" y="68"/>
                        </a:lnTo>
                        <a:lnTo>
                          <a:pt x="169" y="68"/>
                        </a:lnTo>
                        <a:lnTo>
                          <a:pt x="162" y="63"/>
                        </a:lnTo>
                        <a:lnTo>
                          <a:pt x="167" y="56"/>
                        </a:lnTo>
                        <a:lnTo>
                          <a:pt x="169" y="51"/>
                        </a:lnTo>
                        <a:lnTo>
                          <a:pt x="169" y="38"/>
                        </a:lnTo>
                        <a:lnTo>
                          <a:pt x="166" y="30"/>
                        </a:lnTo>
                        <a:lnTo>
                          <a:pt x="161" y="25"/>
                        </a:lnTo>
                        <a:lnTo>
                          <a:pt x="151" y="23"/>
                        </a:lnTo>
                        <a:lnTo>
                          <a:pt x="132" y="20"/>
                        </a:lnTo>
                        <a:lnTo>
                          <a:pt x="119" y="16"/>
                        </a:lnTo>
                        <a:lnTo>
                          <a:pt x="111" y="10"/>
                        </a:lnTo>
                        <a:lnTo>
                          <a:pt x="103" y="6"/>
                        </a:lnTo>
                        <a:lnTo>
                          <a:pt x="98" y="0"/>
                        </a:lnTo>
                        <a:lnTo>
                          <a:pt x="88" y="10"/>
                        </a:lnTo>
                        <a:lnTo>
                          <a:pt x="78" y="10"/>
                        </a:lnTo>
                        <a:lnTo>
                          <a:pt x="66" y="10"/>
                        </a:lnTo>
                        <a:lnTo>
                          <a:pt x="58" y="10"/>
                        </a:lnTo>
                        <a:lnTo>
                          <a:pt x="59" y="15"/>
                        </a:lnTo>
                        <a:lnTo>
                          <a:pt x="68" y="21"/>
                        </a:lnTo>
                        <a:lnTo>
                          <a:pt x="64" y="30"/>
                        </a:lnTo>
                        <a:lnTo>
                          <a:pt x="63" y="40"/>
                        </a:lnTo>
                        <a:lnTo>
                          <a:pt x="78" y="46"/>
                        </a:lnTo>
                        <a:lnTo>
                          <a:pt x="74" y="58"/>
                        </a:lnTo>
                        <a:lnTo>
                          <a:pt x="74" y="64"/>
                        </a:lnTo>
                        <a:lnTo>
                          <a:pt x="81" y="68"/>
                        </a:lnTo>
                        <a:lnTo>
                          <a:pt x="89" y="78"/>
                        </a:lnTo>
                        <a:lnTo>
                          <a:pt x="86" y="93"/>
                        </a:lnTo>
                        <a:lnTo>
                          <a:pt x="99" y="93"/>
                        </a:lnTo>
                        <a:lnTo>
                          <a:pt x="103" y="98"/>
                        </a:lnTo>
                        <a:lnTo>
                          <a:pt x="108" y="98"/>
                        </a:lnTo>
                        <a:lnTo>
                          <a:pt x="111" y="93"/>
                        </a:lnTo>
                        <a:lnTo>
                          <a:pt x="114" y="96"/>
                        </a:lnTo>
                        <a:lnTo>
                          <a:pt x="113" y="106"/>
                        </a:lnTo>
                        <a:lnTo>
                          <a:pt x="108" y="113"/>
                        </a:lnTo>
                        <a:lnTo>
                          <a:pt x="124" y="114"/>
                        </a:lnTo>
                        <a:lnTo>
                          <a:pt x="137" y="123"/>
                        </a:lnTo>
                        <a:lnTo>
                          <a:pt x="126" y="129"/>
                        </a:lnTo>
                        <a:lnTo>
                          <a:pt x="111" y="133"/>
                        </a:lnTo>
                        <a:lnTo>
                          <a:pt x="104" y="128"/>
                        </a:lnTo>
                        <a:lnTo>
                          <a:pt x="96" y="131"/>
                        </a:lnTo>
                        <a:lnTo>
                          <a:pt x="93" y="134"/>
                        </a:lnTo>
                        <a:lnTo>
                          <a:pt x="89" y="143"/>
                        </a:lnTo>
                        <a:lnTo>
                          <a:pt x="71" y="143"/>
                        </a:lnTo>
                        <a:lnTo>
                          <a:pt x="68" y="151"/>
                        </a:lnTo>
                        <a:lnTo>
                          <a:pt x="73" y="156"/>
                        </a:lnTo>
                        <a:lnTo>
                          <a:pt x="84" y="156"/>
                        </a:lnTo>
                        <a:lnTo>
                          <a:pt x="91" y="163"/>
                        </a:lnTo>
                        <a:lnTo>
                          <a:pt x="106" y="168"/>
                        </a:lnTo>
                        <a:lnTo>
                          <a:pt x="108" y="174"/>
                        </a:lnTo>
                        <a:lnTo>
                          <a:pt x="104" y="184"/>
                        </a:lnTo>
                        <a:lnTo>
                          <a:pt x="88" y="184"/>
                        </a:lnTo>
                        <a:lnTo>
                          <a:pt x="89" y="192"/>
                        </a:lnTo>
                        <a:lnTo>
                          <a:pt x="89" y="199"/>
                        </a:lnTo>
                        <a:lnTo>
                          <a:pt x="123" y="227"/>
                        </a:lnTo>
                        <a:lnTo>
                          <a:pt x="141" y="229"/>
                        </a:lnTo>
                        <a:lnTo>
                          <a:pt x="146" y="237"/>
                        </a:lnTo>
                        <a:lnTo>
                          <a:pt x="157" y="241"/>
                        </a:lnTo>
                        <a:lnTo>
                          <a:pt x="167" y="249"/>
                        </a:lnTo>
                        <a:lnTo>
                          <a:pt x="159" y="261"/>
                        </a:lnTo>
                        <a:lnTo>
                          <a:pt x="147" y="257"/>
                        </a:lnTo>
                        <a:lnTo>
                          <a:pt x="131" y="256"/>
                        </a:lnTo>
                        <a:lnTo>
                          <a:pt x="119" y="261"/>
                        </a:lnTo>
                        <a:lnTo>
                          <a:pt x="104" y="257"/>
                        </a:lnTo>
                        <a:lnTo>
                          <a:pt x="98" y="266"/>
                        </a:lnTo>
                        <a:lnTo>
                          <a:pt x="96" y="272"/>
                        </a:lnTo>
                        <a:lnTo>
                          <a:pt x="78" y="285"/>
                        </a:lnTo>
                        <a:lnTo>
                          <a:pt x="69" y="292"/>
                        </a:lnTo>
                        <a:lnTo>
                          <a:pt x="71" y="302"/>
                        </a:lnTo>
                        <a:lnTo>
                          <a:pt x="63" y="305"/>
                        </a:lnTo>
                        <a:lnTo>
                          <a:pt x="53" y="305"/>
                        </a:lnTo>
                        <a:lnTo>
                          <a:pt x="6" y="330"/>
                        </a:lnTo>
                        <a:lnTo>
                          <a:pt x="6" y="339"/>
                        </a:lnTo>
                        <a:lnTo>
                          <a:pt x="0" y="360"/>
                        </a:lnTo>
                        <a:lnTo>
                          <a:pt x="6" y="377"/>
                        </a:lnTo>
                        <a:lnTo>
                          <a:pt x="14" y="398"/>
                        </a:lnTo>
                        <a:lnTo>
                          <a:pt x="26" y="407"/>
                        </a:lnTo>
                        <a:lnTo>
                          <a:pt x="26" y="413"/>
                        </a:lnTo>
                        <a:lnTo>
                          <a:pt x="33" y="420"/>
                        </a:lnTo>
                        <a:lnTo>
                          <a:pt x="29" y="430"/>
                        </a:lnTo>
                        <a:lnTo>
                          <a:pt x="29" y="430"/>
                        </a:lnTo>
                        <a:lnTo>
                          <a:pt x="29" y="430"/>
                        </a:lnTo>
                        <a:close/>
                      </a:path>
                    </a:pathLst>
                  </a:custGeom>
                  <a:solidFill>
                    <a:srgbClr val="77B8E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a:latin typeface="Proxima Nova A" panose="02000506030000020004" pitchFamily="2" charset="0"/>
                    </a:endParaRPr>
                  </a:p>
                </p:txBody>
              </p:sp>
              <p:sp>
                <p:nvSpPr>
                  <p:cNvPr id="160" name="Freeform 1084">
                    <a:extLst>
                      <a:ext uri="{FF2B5EF4-FFF2-40B4-BE49-F238E27FC236}">
                        <a16:creationId xmlns:a16="http://schemas.microsoft.com/office/drawing/2014/main" id="{1F26D142-23C4-414A-9887-9C1DA2770459}"/>
                      </a:ext>
                    </a:extLst>
                  </p:cNvPr>
                  <p:cNvSpPr>
                    <a:spLocks/>
                  </p:cNvSpPr>
                  <p:nvPr/>
                </p:nvSpPr>
                <p:spPr bwMode="auto">
                  <a:xfrm>
                    <a:off x="5367480" y="2631024"/>
                    <a:ext cx="685871" cy="1141279"/>
                  </a:xfrm>
                  <a:custGeom>
                    <a:avLst/>
                    <a:gdLst>
                      <a:gd name="T0" fmla="*/ 271 w 497"/>
                      <a:gd name="T1" fmla="*/ 233 h 827"/>
                      <a:gd name="T2" fmla="*/ 256 w 497"/>
                      <a:gd name="T3" fmla="*/ 259 h 827"/>
                      <a:gd name="T4" fmla="*/ 244 w 497"/>
                      <a:gd name="T5" fmla="*/ 326 h 827"/>
                      <a:gd name="T6" fmla="*/ 259 w 497"/>
                      <a:gd name="T7" fmla="*/ 376 h 827"/>
                      <a:gd name="T8" fmla="*/ 253 w 497"/>
                      <a:gd name="T9" fmla="*/ 422 h 827"/>
                      <a:gd name="T10" fmla="*/ 223 w 497"/>
                      <a:gd name="T11" fmla="*/ 460 h 827"/>
                      <a:gd name="T12" fmla="*/ 201 w 497"/>
                      <a:gd name="T13" fmla="*/ 485 h 827"/>
                      <a:gd name="T14" fmla="*/ 186 w 497"/>
                      <a:gd name="T15" fmla="*/ 498 h 827"/>
                      <a:gd name="T16" fmla="*/ 163 w 497"/>
                      <a:gd name="T17" fmla="*/ 513 h 827"/>
                      <a:gd name="T18" fmla="*/ 120 w 497"/>
                      <a:gd name="T19" fmla="*/ 533 h 827"/>
                      <a:gd name="T20" fmla="*/ 55 w 497"/>
                      <a:gd name="T21" fmla="*/ 575 h 827"/>
                      <a:gd name="T22" fmla="*/ 25 w 497"/>
                      <a:gd name="T23" fmla="*/ 570 h 827"/>
                      <a:gd name="T24" fmla="*/ 0 w 497"/>
                      <a:gd name="T25" fmla="*/ 603 h 827"/>
                      <a:gd name="T26" fmla="*/ 42 w 497"/>
                      <a:gd name="T27" fmla="*/ 630 h 827"/>
                      <a:gd name="T28" fmla="*/ 85 w 497"/>
                      <a:gd name="T29" fmla="*/ 653 h 827"/>
                      <a:gd name="T30" fmla="*/ 133 w 497"/>
                      <a:gd name="T31" fmla="*/ 703 h 827"/>
                      <a:gd name="T32" fmla="*/ 138 w 497"/>
                      <a:gd name="T33" fmla="*/ 741 h 827"/>
                      <a:gd name="T34" fmla="*/ 166 w 497"/>
                      <a:gd name="T35" fmla="*/ 791 h 827"/>
                      <a:gd name="T36" fmla="*/ 206 w 497"/>
                      <a:gd name="T37" fmla="*/ 803 h 827"/>
                      <a:gd name="T38" fmla="*/ 284 w 497"/>
                      <a:gd name="T39" fmla="*/ 804 h 827"/>
                      <a:gd name="T40" fmla="*/ 324 w 497"/>
                      <a:gd name="T41" fmla="*/ 744 h 827"/>
                      <a:gd name="T42" fmla="*/ 344 w 497"/>
                      <a:gd name="T43" fmla="*/ 798 h 827"/>
                      <a:gd name="T44" fmla="*/ 392 w 497"/>
                      <a:gd name="T45" fmla="*/ 759 h 827"/>
                      <a:gd name="T46" fmla="*/ 437 w 497"/>
                      <a:gd name="T47" fmla="*/ 754 h 827"/>
                      <a:gd name="T48" fmla="*/ 417 w 497"/>
                      <a:gd name="T49" fmla="*/ 660 h 827"/>
                      <a:gd name="T50" fmla="*/ 406 w 497"/>
                      <a:gd name="T51" fmla="*/ 600 h 827"/>
                      <a:gd name="T52" fmla="*/ 387 w 497"/>
                      <a:gd name="T53" fmla="*/ 565 h 827"/>
                      <a:gd name="T54" fmla="*/ 357 w 497"/>
                      <a:gd name="T55" fmla="*/ 520 h 827"/>
                      <a:gd name="T56" fmla="*/ 376 w 497"/>
                      <a:gd name="T57" fmla="*/ 432 h 827"/>
                      <a:gd name="T58" fmla="*/ 288 w 497"/>
                      <a:gd name="T59" fmla="*/ 390 h 827"/>
                      <a:gd name="T60" fmla="*/ 308 w 497"/>
                      <a:gd name="T61" fmla="*/ 344 h 827"/>
                      <a:gd name="T62" fmla="*/ 329 w 497"/>
                      <a:gd name="T63" fmla="*/ 317 h 827"/>
                      <a:gd name="T64" fmla="*/ 384 w 497"/>
                      <a:gd name="T65" fmla="*/ 301 h 827"/>
                      <a:gd name="T66" fmla="*/ 366 w 497"/>
                      <a:gd name="T67" fmla="*/ 256 h 827"/>
                      <a:gd name="T68" fmla="*/ 306 w 497"/>
                      <a:gd name="T69" fmla="*/ 221 h 827"/>
                      <a:gd name="T70" fmla="*/ 283 w 497"/>
                      <a:gd name="T71" fmla="*/ 174 h 827"/>
                      <a:gd name="T72" fmla="*/ 319 w 497"/>
                      <a:gd name="T73" fmla="*/ 135 h 827"/>
                      <a:gd name="T74" fmla="*/ 304 w 497"/>
                      <a:gd name="T75" fmla="*/ 118 h 827"/>
                      <a:gd name="T76" fmla="*/ 334 w 497"/>
                      <a:gd name="T77" fmla="*/ 121 h 827"/>
                      <a:gd name="T78" fmla="*/ 346 w 497"/>
                      <a:gd name="T79" fmla="*/ 145 h 827"/>
                      <a:gd name="T80" fmla="*/ 379 w 497"/>
                      <a:gd name="T81" fmla="*/ 138 h 827"/>
                      <a:gd name="T82" fmla="*/ 379 w 497"/>
                      <a:gd name="T83" fmla="*/ 116 h 827"/>
                      <a:gd name="T84" fmla="*/ 409 w 497"/>
                      <a:gd name="T85" fmla="*/ 145 h 827"/>
                      <a:gd name="T86" fmla="*/ 459 w 497"/>
                      <a:gd name="T87" fmla="*/ 173 h 827"/>
                      <a:gd name="T88" fmla="*/ 477 w 497"/>
                      <a:gd name="T89" fmla="*/ 135 h 827"/>
                      <a:gd name="T90" fmla="*/ 497 w 497"/>
                      <a:gd name="T91" fmla="*/ 85 h 827"/>
                      <a:gd name="T92" fmla="*/ 472 w 497"/>
                      <a:gd name="T93" fmla="*/ 63 h 827"/>
                      <a:gd name="T94" fmla="*/ 444 w 497"/>
                      <a:gd name="T95" fmla="*/ 53 h 827"/>
                      <a:gd name="T96" fmla="*/ 402 w 497"/>
                      <a:gd name="T97" fmla="*/ 61 h 827"/>
                      <a:gd name="T98" fmla="*/ 366 w 497"/>
                      <a:gd name="T99" fmla="*/ 40 h 827"/>
                      <a:gd name="T100" fmla="*/ 351 w 497"/>
                      <a:gd name="T101" fmla="*/ 15 h 827"/>
                      <a:gd name="T102" fmla="*/ 311 w 497"/>
                      <a:gd name="T103" fmla="*/ 28 h 827"/>
                      <a:gd name="T104" fmla="*/ 273 w 497"/>
                      <a:gd name="T105" fmla="*/ 30 h 827"/>
                      <a:gd name="T106" fmla="*/ 259 w 497"/>
                      <a:gd name="T107" fmla="*/ 8 h 827"/>
                      <a:gd name="T108" fmla="*/ 271 w 497"/>
                      <a:gd name="T109" fmla="*/ 50 h 827"/>
                      <a:gd name="T110" fmla="*/ 274 w 497"/>
                      <a:gd name="T111" fmla="*/ 108 h 827"/>
                      <a:gd name="T112" fmla="*/ 286 w 497"/>
                      <a:gd name="T113" fmla="*/ 121 h 827"/>
                      <a:gd name="T114" fmla="*/ 291 w 497"/>
                      <a:gd name="T115" fmla="*/ 145 h 827"/>
                      <a:gd name="T116" fmla="*/ 246 w 497"/>
                      <a:gd name="T117" fmla="*/ 183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7" h="827">
                        <a:moveTo>
                          <a:pt x="246" y="183"/>
                        </a:moveTo>
                        <a:lnTo>
                          <a:pt x="241" y="191"/>
                        </a:lnTo>
                        <a:lnTo>
                          <a:pt x="241" y="199"/>
                        </a:lnTo>
                        <a:lnTo>
                          <a:pt x="240" y="206"/>
                        </a:lnTo>
                        <a:lnTo>
                          <a:pt x="254" y="211"/>
                        </a:lnTo>
                        <a:lnTo>
                          <a:pt x="256" y="223"/>
                        </a:lnTo>
                        <a:lnTo>
                          <a:pt x="271" y="233"/>
                        </a:lnTo>
                        <a:lnTo>
                          <a:pt x="271" y="241"/>
                        </a:lnTo>
                        <a:lnTo>
                          <a:pt x="276" y="244"/>
                        </a:lnTo>
                        <a:lnTo>
                          <a:pt x="271" y="251"/>
                        </a:lnTo>
                        <a:lnTo>
                          <a:pt x="278" y="264"/>
                        </a:lnTo>
                        <a:lnTo>
                          <a:pt x="268" y="263"/>
                        </a:lnTo>
                        <a:lnTo>
                          <a:pt x="263" y="256"/>
                        </a:lnTo>
                        <a:lnTo>
                          <a:pt x="256" y="259"/>
                        </a:lnTo>
                        <a:lnTo>
                          <a:pt x="253" y="269"/>
                        </a:lnTo>
                        <a:lnTo>
                          <a:pt x="240" y="281"/>
                        </a:lnTo>
                        <a:lnTo>
                          <a:pt x="243" y="286"/>
                        </a:lnTo>
                        <a:lnTo>
                          <a:pt x="251" y="294"/>
                        </a:lnTo>
                        <a:lnTo>
                          <a:pt x="251" y="301"/>
                        </a:lnTo>
                        <a:lnTo>
                          <a:pt x="244" y="306"/>
                        </a:lnTo>
                        <a:lnTo>
                          <a:pt x="244" y="326"/>
                        </a:lnTo>
                        <a:lnTo>
                          <a:pt x="254" y="334"/>
                        </a:lnTo>
                        <a:lnTo>
                          <a:pt x="256" y="347"/>
                        </a:lnTo>
                        <a:lnTo>
                          <a:pt x="259" y="357"/>
                        </a:lnTo>
                        <a:lnTo>
                          <a:pt x="258" y="369"/>
                        </a:lnTo>
                        <a:lnTo>
                          <a:pt x="251" y="371"/>
                        </a:lnTo>
                        <a:lnTo>
                          <a:pt x="254" y="376"/>
                        </a:lnTo>
                        <a:lnTo>
                          <a:pt x="259" y="376"/>
                        </a:lnTo>
                        <a:lnTo>
                          <a:pt x="261" y="382"/>
                        </a:lnTo>
                        <a:lnTo>
                          <a:pt x="261" y="392"/>
                        </a:lnTo>
                        <a:lnTo>
                          <a:pt x="258" y="400"/>
                        </a:lnTo>
                        <a:lnTo>
                          <a:pt x="249" y="397"/>
                        </a:lnTo>
                        <a:lnTo>
                          <a:pt x="246" y="400"/>
                        </a:lnTo>
                        <a:lnTo>
                          <a:pt x="253" y="412"/>
                        </a:lnTo>
                        <a:lnTo>
                          <a:pt x="253" y="422"/>
                        </a:lnTo>
                        <a:lnTo>
                          <a:pt x="248" y="434"/>
                        </a:lnTo>
                        <a:lnTo>
                          <a:pt x="240" y="447"/>
                        </a:lnTo>
                        <a:lnTo>
                          <a:pt x="233" y="452"/>
                        </a:lnTo>
                        <a:lnTo>
                          <a:pt x="240" y="459"/>
                        </a:lnTo>
                        <a:lnTo>
                          <a:pt x="235" y="464"/>
                        </a:lnTo>
                        <a:lnTo>
                          <a:pt x="233" y="460"/>
                        </a:lnTo>
                        <a:lnTo>
                          <a:pt x="223" y="460"/>
                        </a:lnTo>
                        <a:lnTo>
                          <a:pt x="226" y="469"/>
                        </a:lnTo>
                        <a:lnTo>
                          <a:pt x="221" y="472"/>
                        </a:lnTo>
                        <a:lnTo>
                          <a:pt x="216" y="470"/>
                        </a:lnTo>
                        <a:lnTo>
                          <a:pt x="213" y="472"/>
                        </a:lnTo>
                        <a:lnTo>
                          <a:pt x="215" y="480"/>
                        </a:lnTo>
                        <a:lnTo>
                          <a:pt x="208" y="487"/>
                        </a:lnTo>
                        <a:lnTo>
                          <a:pt x="201" y="485"/>
                        </a:lnTo>
                        <a:lnTo>
                          <a:pt x="198" y="487"/>
                        </a:lnTo>
                        <a:lnTo>
                          <a:pt x="193" y="482"/>
                        </a:lnTo>
                        <a:lnTo>
                          <a:pt x="186" y="482"/>
                        </a:lnTo>
                        <a:lnTo>
                          <a:pt x="181" y="482"/>
                        </a:lnTo>
                        <a:lnTo>
                          <a:pt x="181" y="487"/>
                        </a:lnTo>
                        <a:lnTo>
                          <a:pt x="186" y="492"/>
                        </a:lnTo>
                        <a:lnTo>
                          <a:pt x="186" y="498"/>
                        </a:lnTo>
                        <a:lnTo>
                          <a:pt x="185" y="505"/>
                        </a:lnTo>
                        <a:lnTo>
                          <a:pt x="183" y="512"/>
                        </a:lnTo>
                        <a:lnTo>
                          <a:pt x="176" y="508"/>
                        </a:lnTo>
                        <a:lnTo>
                          <a:pt x="170" y="507"/>
                        </a:lnTo>
                        <a:lnTo>
                          <a:pt x="173" y="512"/>
                        </a:lnTo>
                        <a:lnTo>
                          <a:pt x="170" y="517"/>
                        </a:lnTo>
                        <a:lnTo>
                          <a:pt x="163" y="513"/>
                        </a:lnTo>
                        <a:lnTo>
                          <a:pt x="151" y="507"/>
                        </a:lnTo>
                        <a:lnTo>
                          <a:pt x="143" y="507"/>
                        </a:lnTo>
                        <a:lnTo>
                          <a:pt x="136" y="503"/>
                        </a:lnTo>
                        <a:lnTo>
                          <a:pt x="133" y="512"/>
                        </a:lnTo>
                        <a:lnTo>
                          <a:pt x="126" y="523"/>
                        </a:lnTo>
                        <a:lnTo>
                          <a:pt x="128" y="527"/>
                        </a:lnTo>
                        <a:lnTo>
                          <a:pt x="120" y="533"/>
                        </a:lnTo>
                        <a:lnTo>
                          <a:pt x="108" y="533"/>
                        </a:lnTo>
                        <a:lnTo>
                          <a:pt x="88" y="543"/>
                        </a:lnTo>
                        <a:lnTo>
                          <a:pt x="78" y="550"/>
                        </a:lnTo>
                        <a:lnTo>
                          <a:pt x="68" y="560"/>
                        </a:lnTo>
                        <a:lnTo>
                          <a:pt x="72" y="568"/>
                        </a:lnTo>
                        <a:lnTo>
                          <a:pt x="63" y="572"/>
                        </a:lnTo>
                        <a:lnTo>
                          <a:pt x="55" y="575"/>
                        </a:lnTo>
                        <a:lnTo>
                          <a:pt x="47" y="570"/>
                        </a:lnTo>
                        <a:lnTo>
                          <a:pt x="42" y="565"/>
                        </a:lnTo>
                        <a:lnTo>
                          <a:pt x="40" y="558"/>
                        </a:lnTo>
                        <a:lnTo>
                          <a:pt x="32" y="555"/>
                        </a:lnTo>
                        <a:lnTo>
                          <a:pt x="23" y="557"/>
                        </a:lnTo>
                        <a:lnTo>
                          <a:pt x="25" y="563"/>
                        </a:lnTo>
                        <a:lnTo>
                          <a:pt x="25" y="570"/>
                        </a:lnTo>
                        <a:lnTo>
                          <a:pt x="18" y="572"/>
                        </a:lnTo>
                        <a:lnTo>
                          <a:pt x="13" y="570"/>
                        </a:lnTo>
                        <a:lnTo>
                          <a:pt x="5" y="570"/>
                        </a:lnTo>
                        <a:lnTo>
                          <a:pt x="4" y="577"/>
                        </a:lnTo>
                        <a:lnTo>
                          <a:pt x="9" y="582"/>
                        </a:lnTo>
                        <a:lnTo>
                          <a:pt x="5" y="592"/>
                        </a:lnTo>
                        <a:lnTo>
                          <a:pt x="0" y="603"/>
                        </a:lnTo>
                        <a:lnTo>
                          <a:pt x="4" y="610"/>
                        </a:lnTo>
                        <a:lnTo>
                          <a:pt x="7" y="618"/>
                        </a:lnTo>
                        <a:lnTo>
                          <a:pt x="10" y="616"/>
                        </a:lnTo>
                        <a:lnTo>
                          <a:pt x="25" y="613"/>
                        </a:lnTo>
                        <a:lnTo>
                          <a:pt x="32" y="626"/>
                        </a:lnTo>
                        <a:lnTo>
                          <a:pt x="40" y="625"/>
                        </a:lnTo>
                        <a:lnTo>
                          <a:pt x="42" y="630"/>
                        </a:lnTo>
                        <a:lnTo>
                          <a:pt x="53" y="638"/>
                        </a:lnTo>
                        <a:lnTo>
                          <a:pt x="68" y="638"/>
                        </a:lnTo>
                        <a:lnTo>
                          <a:pt x="85" y="638"/>
                        </a:lnTo>
                        <a:lnTo>
                          <a:pt x="93" y="638"/>
                        </a:lnTo>
                        <a:lnTo>
                          <a:pt x="93" y="645"/>
                        </a:lnTo>
                        <a:lnTo>
                          <a:pt x="85" y="650"/>
                        </a:lnTo>
                        <a:lnTo>
                          <a:pt x="85" y="653"/>
                        </a:lnTo>
                        <a:lnTo>
                          <a:pt x="83" y="660"/>
                        </a:lnTo>
                        <a:lnTo>
                          <a:pt x="85" y="670"/>
                        </a:lnTo>
                        <a:lnTo>
                          <a:pt x="90" y="673"/>
                        </a:lnTo>
                        <a:lnTo>
                          <a:pt x="105" y="678"/>
                        </a:lnTo>
                        <a:lnTo>
                          <a:pt x="117" y="695"/>
                        </a:lnTo>
                        <a:lnTo>
                          <a:pt x="131" y="696"/>
                        </a:lnTo>
                        <a:lnTo>
                          <a:pt x="133" y="703"/>
                        </a:lnTo>
                        <a:lnTo>
                          <a:pt x="128" y="708"/>
                        </a:lnTo>
                        <a:lnTo>
                          <a:pt x="131" y="718"/>
                        </a:lnTo>
                        <a:lnTo>
                          <a:pt x="140" y="716"/>
                        </a:lnTo>
                        <a:lnTo>
                          <a:pt x="138" y="721"/>
                        </a:lnTo>
                        <a:lnTo>
                          <a:pt x="140" y="731"/>
                        </a:lnTo>
                        <a:lnTo>
                          <a:pt x="148" y="739"/>
                        </a:lnTo>
                        <a:lnTo>
                          <a:pt x="138" y="741"/>
                        </a:lnTo>
                        <a:lnTo>
                          <a:pt x="125" y="748"/>
                        </a:lnTo>
                        <a:lnTo>
                          <a:pt x="126" y="756"/>
                        </a:lnTo>
                        <a:lnTo>
                          <a:pt x="135" y="754"/>
                        </a:lnTo>
                        <a:lnTo>
                          <a:pt x="146" y="763"/>
                        </a:lnTo>
                        <a:lnTo>
                          <a:pt x="160" y="766"/>
                        </a:lnTo>
                        <a:lnTo>
                          <a:pt x="165" y="773"/>
                        </a:lnTo>
                        <a:lnTo>
                          <a:pt x="166" y="791"/>
                        </a:lnTo>
                        <a:lnTo>
                          <a:pt x="175" y="796"/>
                        </a:lnTo>
                        <a:lnTo>
                          <a:pt x="176" y="789"/>
                        </a:lnTo>
                        <a:lnTo>
                          <a:pt x="185" y="788"/>
                        </a:lnTo>
                        <a:lnTo>
                          <a:pt x="186" y="779"/>
                        </a:lnTo>
                        <a:lnTo>
                          <a:pt x="196" y="783"/>
                        </a:lnTo>
                        <a:lnTo>
                          <a:pt x="196" y="794"/>
                        </a:lnTo>
                        <a:lnTo>
                          <a:pt x="206" y="803"/>
                        </a:lnTo>
                        <a:lnTo>
                          <a:pt x="220" y="804"/>
                        </a:lnTo>
                        <a:lnTo>
                          <a:pt x="226" y="809"/>
                        </a:lnTo>
                        <a:lnTo>
                          <a:pt x="226" y="819"/>
                        </a:lnTo>
                        <a:lnTo>
                          <a:pt x="230" y="827"/>
                        </a:lnTo>
                        <a:lnTo>
                          <a:pt x="241" y="826"/>
                        </a:lnTo>
                        <a:lnTo>
                          <a:pt x="266" y="816"/>
                        </a:lnTo>
                        <a:lnTo>
                          <a:pt x="284" y="804"/>
                        </a:lnTo>
                        <a:lnTo>
                          <a:pt x="294" y="791"/>
                        </a:lnTo>
                        <a:lnTo>
                          <a:pt x="304" y="769"/>
                        </a:lnTo>
                        <a:lnTo>
                          <a:pt x="323" y="753"/>
                        </a:lnTo>
                        <a:lnTo>
                          <a:pt x="319" y="744"/>
                        </a:lnTo>
                        <a:lnTo>
                          <a:pt x="309" y="738"/>
                        </a:lnTo>
                        <a:lnTo>
                          <a:pt x="319" y="736"/>
                        </a:lnTo>
                        <a:lnTo>
                          <a:pt x="324" y="744"/>
                        </a:lnTo>
                        <a:lnTo>
                          <a:pt x="328" y="754"/>
                        </a:lnTo>
                        <a:lnTo>
                          <a:pt x="324" y="763"/>
                        </a:lnTo>
                        <a:lnTo>
                          <a:pt x="319" y="776"/>
                        </a:lnTo>
                        <a:lnTo>
                          <a:pt x="321" y="788"/>
                        </a:lnTo>
                        <a:lnTo>
                          <a:pt x="329" y="799"/>
                        </a:lnTo>
                        <a:lnTo>
                          <a:pt x="334" y="791"/>
                        </a:lnTo>
                        <a:lnTo>
                          <a:pt x="344" y="798"/>
                        </a:lnTo>
                        <a:lnTo>
                          <a:pt x="359" y="789"/>
                        </a:lnTo>
                        <a:lnTo>
                          <a:pt x="367" y="778"/>
                        </a:lnTo>
                        <a:lnTo>
                          <a:pt x="377" y="776"/>
                        </a:lnTo>
                        <a:lnTo>
                          <a:pt x="377" y="763"/>
                        </a:lnTo>
                        <a:lnTo>
                          <a:pt x="382" y="754"/>
                        </a:lnTo>
                        <a:lnTo>
                          <a:pt x="386" y="759"/>
                        </a:lnTo>
                        <a:lnTo>
                          <a:pt x="392" y="759"/>
                        </a:lnTo>
                        <a:lnTo>
                          <a:pt x="399" y="754"/>
                        </a:lnTo>
                        <a:lnTo>
                          <a:pt x="399" y="764"/>
                        </a:lnTo>
                        <a:lnTo>
                          <a:pt x="411" y="771"/>
                        </a:lnTo>
                        <a:lnTo>
                          <a:pt x="421" y="769"/>
                        </a:lnTo>
                        <a:lnTo>
                          <a:pt x="429" y="771"/>
                        </a:lnTo>
                        <a:lnTo>
                          <a:pt x="439" y="768"/>
                        </a:lnTo>
                        <a:lnTo>
                          <a:pt x="437" y="754"/>
                        </a:lnTo>
                        <a:lnTo>
                          <a:pt x="432" y="744"/>
                        </a:lnTo>
                        <a:lnTo>
                          <a:pt x="436" y="733"/>
                        </a:lnTo>
                        <a:lnTo>
                          <a:pt x="426" y="714"/>
                        </a:lnTo>
                        <a:lnTo>
                          <a:pt x="424" y="703"/>
                        </a:lnTo>
                        <a:lnTo>
                          <a:pt x="424" y="690"/>
                        </a:lnTo>
                        <a:lnTo>
                          <a:pt x="416" y="676"/>
                        </a:lnTo>
                        <a:lnTo>
                          <a:pt x="417" y="660"/>
                        </a:lnTo>
                        <a:lnTo>
                          <a:pt x="414" y="650"/>
                        </a:lnTo>
                        <a:lnTo>
                          <a:pt x="417" y="645"/>
                        </a:lnTo>
                        <a:lnTo>
                          <a:pt x="416" y="633"/>
                        </a:lnTo>
                        <a:lnTo>
                          <a:pt x="412" y="623"/>
                        </a:lnTo>
                        <a:lnTo>
                          <a:pt x="404" y="620"/>
                        </a:lnTo>
                        <a:lnTo>
                          <a:pt x="407" y="613"/>
                        </a:lnTo>
                        <a:lnTo>
                          <a:pt x="406" y="600"/>
                        </a:lnTo>
                        <a:lnTo>
                          <a:pt x="419" y="588"/>
                        </a:lnTo>
                        <a:lnTo>
                          <a:pt x="414" y="582"/>
                        </a:lnTo>
                        <a:lnTo>
                          <a:pt x="404" y="580"/>
                        </a:lnTo>
                        <a:lnTo>
                          <a:pt x="394" y="580"/>
                        </a:lnTo>
                        <a:lnTo>
                          <a:pt x="386" y="580"/>
                        </a:lnTo>
                        <a:lnTo>
                          <a:pt x="381" y="572"/>
                        </a:lnTo>
                        <a:lnTo>
                          <a:pt x="387" y="565"/>
                        </a:lnTo>
                        <a:lnTo>
                          <a:pt x="389" y="553"/>
                        </a:lnTo>
                        <a:lnTo>
                          <a:pt x="384" y="542"/>
                        </a:lnTo>
                        <a:lnTo>
                          <a:pt x="376" y="540"/>
                        </a:lnTo>
                        <a:lnTo>
                          <a:pt x="372" y="535"/>
                        </a:lnTo>
                        <a:lnTo>
                          <a:pt x="364" y="530"/>
                        </a:lnTo>
                        <a:lnTo>
                          <a:pt x="356" y="528"/>
                        </a:lnTo>
                        <a:lnTo>
                          <a:pt x="357" y="520"/>
                        </a:lnTo>
                        <a:lnTo>
                          <a:pt x="357" y="497"/>
                        </a:lnTo>
                        <a:lnTo>
                          <a:pt x="371" y="487"/>
                        </a:lnTo>
                        <a:lnTo>
                          <a:pt x="379" y="479"/>
                        </a:lnTo>
                        <a:lnTo>
                          <a:pt x="377" y="470"/>
                        </a:lnTo>
                        <a:lnTo>
                          <a:pt x="372" y="457"/>
                        </a:lnTo>
                        <a:lnTo>
                          <a:pt x="372" y="445"/>
                        </a:lnTo>
                        <a:lnTo>
                          <a:pt x="376" y="432"/>
                        </a:lnTo>
                        <a:lnTo>
                          <a:pt x="367" y="427"/>
                        </a:lnTo>
                        <a:lnTo>
                          <a:pt x="359" y="425"/>
                        </a:lnTo>
                        <a:lnTo>
                          <a:pt x="348" y="425"/>
                        </a:lnTo>
                        <a:lnTo>
                          <a:pt x="326" y="420"/>
                        </a:lnTo>
                        <a:lnTo>
                          <a:pt x="308" y="409"/>
                        </a:lnTo>
                        <a:lnTo>
                          <a:pt x="298" y="405"/>
                        </a:lnTo>
                        <a:lnTo>
                          <a:pt x="288" y="390"/>
                        </a:lnTo>
                        <a:lnTo>
                          <a:pt x="279" y="379"/>
                        </a:lnTo>
                        <a:lnTo>
                          <a:pt x="286" y="371"/>
                        </a:lnTo>
                        <a:lnTo>
                          <a:pt x="296" y="352"/>
                        </a:lnTo>
                        <a:lnTo>
                          <a:pt x="291" y="346"/>
                        </a:lnTo>
                        <a:lnTo>
                          <a:pt x="298" y="341"/>
                        </a:lnTo>
                        <a:lnTo>
                          <a:pt x="304" y="337"/>
                        </a:lnTo>
                        <a:lnTo>
                          <a:pt x="308" y="344"/>
                        </a:lnTo>
                        <a:lnTo>
                          <a:pt x="304" y="349"/>
                        </a:lnTo>
                        <a:lnTo>
                          <a:pt x="313" y="349"/>
                        </a:lnTo>
                        <a:lnTo>
                          <a:pt x="316" y="346"/>
                        </a:lnTo>
                        <a:lnTo>
                          <a:pt x="319" y="339"/>
                        </a:lnTo>
                        <a:lnTo>
                          <a:pt x="329" y="332"/>
                        </a:lnTo>
                        <a:lnTo>
                          <a:pt x="331" y="324"/>
                        </a:lnTo>
                        <a:lnTo>
                          <a:pt x="329" y="317"/>
                        </a:lnTo>
                        <a:lnTo>
                          <a:pt x="329" y="307"/>
                        </a:lnTo>
                        <a:lnTo>
                          <a:pt x="338" y="302"/>
                        </a:lnTo>
                        <a:lnTo>
                          <a:pt x="349" y="306"/>
                        </a:lnTo>
                        <a:lnTo>
                          <a:pt x="357" y="299"/>
                        </a:lnTo>
                        <a:lnTo>
                          <a:pt x="362" y="302"/>
                        </a:lnTo>
                        <a:lnTo>
                          <a:pt x="376" y="304"/>
                        </a:lnTo>
                        <a:lnTo>
                          <a:pt x="384" y="301"/>
                        </a:lnTo>
                        <a:lnTo>
                          <a:pt x="394" y="296"/>
                        </a:lnTo>
                        <a:lnTo>
                          <a:pt x="399" y="281"/>
                        </a:lnTo>
                        <a:lnTo>
                          <a:pt x="382" y="274"/>
                        </a:lnTo>
                        <a:lnTo>
                          <a:pt x="374" y="268"/>
                        </a:lnTo>
                        <a:lnTo>
                          <a:pt x="374" y="259"/>
                        </a:lnTo>
                        <a:lnTo>
                          <a:pt x="374" y="253"/>
                        </a:lnTo>
                        <a:lnTo>
                          <a:pt x="366" y="256"/>
                        </a:lnTo>
                        <a:lnTo>
                          <a:pt x="357" y="256"/>
                        </a:lnTo>
                        <a:lnTo>
                          <a:pt x="344" y="258"/>
                        </a:lnTo>
                        <a:lnTo>
                          <a:pt x="333" y="253"/>
                        </a:lnTo>
                        <a:lnTo>
                          <a:pt x="328" y="243"/>
                        </a:lnTo>
                        <a:lnTo>
                          <a:pt x="323" y="234"/>
                        </a:lnTo>
                        <a:lnTo>
                          <a:pt x="309" y="226"/>
                        </a:lnTo>
                        <a:lnTo>
                          <a:pt x="306" y="221"/>
                        </a:lnTo>
                        <a:lnTo>
                          <a:pt x="298" y="214"/>
                        </a:lnTo>
                        <a:lnTo>
                          <a:pt x="289" y="218"/>
                        </a:lnTo>
                        <a:lnTo>
                          <a:pt x="281" y="223"/>
                        </a:lnTo>
                        <a:lnTo>
                          <a:pt x="279" y="213"/>
                        </a:lnTo>
                        <a:lnTo>
                          <a:pt x="281" y="206"/>
                        </a:lnTo>
                        <a:lnTo>
                          <a:pt x="281" y="191"/>
                        </a:lnTo>
                        <a:lnTo>
                          <a:pt x="283" y="174"/>
                        </a:lnTo>
                        <a:lnTo>
                          <a:pt x="289" y="165"/>
                        </a:lnTo>
                        <a:lnTo>
                          <a:pt x="299" y="156"/>
                        </a:lnTo>
                        <a:lnTo>
                          <a:pt x="308" y="158"/>
                        </a:lnTo>
                        <a:lnTo>
                          <a:pt x="306" y="151"/>
                        </a:lnTo>
                        <a:lnTo>
                          <a:pt x="309" y="145"/>
                        </a:lnTo>
                        <a:lnTo>
                          <a:pt x="314" y="138"/>
                        </a:lnTo>
                        <a:lnTo>
                          <a:pt x="319" y="135"/>
                        </a:lnTo>
                        <a:lnTo>
                          <a:pt x="328" y="136"/>
                        </a:lnTo>
                        <a:lnTo>
                          <a:pt x="331" y="131"/>
                        </a:lnTo>
                        <a:lnTo>
                          <a:pt x="324" y="128"/>
                        </a:lnTo>
                        <a:lnTo>
                          <a:pt x="319" y="126"/>
                        </a:lnTo>
                        <a:lnTo>
                          <a:pt x="311" y="121"/>
                        </a:lnTo>
                        <a:lnTo>
                          <a:pt x="311" y="120"/>
                        </a:lnTo>
                        <a:lnTo>
                          <a:pt x="304" y="118"/>
                        </a:lnTo>
                        <a:lnTo>
                          <a:pt x="306" y="110"/>
                        </a:lnTo>
                        <a:lnTo>
                          <a:pt x="309" y="106"/>
                        </a:lnTo>
                        <a:lnTo>
                          <a:pt x="313" y="105"/>
                        </a:lnTo>
                        <a:lnTo>
                          <a:pt x="314" y="108"/>
                        </a:lnTo>
                        <a:lnTo>
                          <a:pt x="321" y="108"/>
                        </a:lnTo>
                        <a:lnTo>
                          <a:pt x="331" y="118"/>
                        </a:lnTo>
                        <a:lnTo>
                          <a:pt x="334" y="121"/>
                        </a:lnTo>
                        <a:lnTo>
                          <a:pt x="338" y="116"/>
                        </a:lnTo>
                        <a:lnTo>
                          <a:pt x="344" y="123"/>
                        </a:lnTo>
                        <a:lnTo>
                          <a:pt x="349" y="128"/>
                        </a:lnTo>
                        <a:lnTo>
                          <a:pt x="351" y="135"/>
                        </a:lnTo>
                        <a:lnTo>
                          <a:pt x="346" y="140"/>
                        </a:lnTo>
                        <a:lnTo>
                          <a:pt x="343" y="141"/>
                        </a:lnTo>
                        <a:lnTo>
                          <a:pt x="346" y="145"/>
                        </a:lnTo>
                        <a:lnTo>
                          <a:pt x="351" y="145"/>
                        </a:lnTo>
                        <a:lnTo>
                          <a:pt x="354" y="143"/>
                        </a:lnTo>
                        <a:lnTo>
                          <a:pt x="356" y="141"/>
                        </a:lnTo>
                        <a:lnTo>
                          <a:pt x="361" y="143"/>
                        </a:lnTo>
                        <a:lnTo>
                          <a:pt x="367" y="146"/>
                        </a:lnTo>
                        <a:lnTo>
                          <a:pt x="374" y="141"/>
                        </a:lnTo>
                        <a:lnTo>
                          <a:pt x="379" y="138"/>
                        </a:lnTo>
                        <a:lnTo>
                          <a:pt x="386" y="141"/>
                        </a:lnTo>
                        <a:lnTo>
                          <a:pt x="392" y="145"/>
                        </a:lnTo>
                        <a:lnTo>
                          <a:pt x="396" y="135"/>
                        </a:lnTo>
                        <a:lnTo>
                          <a:pt x="391" y="131"/>
                        </a:lnTo>
                        <a:lnTo>
                          <a:pt x="382" y="130"/>
                        </a:lnTo>
                        <a:lnTo>
                          <a:pt x="379" y="121"/>
                        </a:lnTo>
                        <a:lnTo>
                          <a:pt x="379" y="116"/>
                        </a:lnTo>
                        <a:lnTo>
                          <a:pt x="384" y="116"/>
                        </a:lnTo>
                        <a:lnTo>
                          <a:pt x="394" y="116"/>
                        </a:lnTo>
                        <a:lnTo>
                          <a:pt x="401" y="120"/>
                        </a:lnTo>
                        <a:lnTo>
                          <a:pt x="404" y="126"/>
                        </a:lnTo>
                        <a:lnTo>
                          <a:pt x="402" y="133"/>
                        </a:lnTo>
                        <a:lnTo>
                          <a:pt x="409" y="141"/>
                        </a:lnTo>
                        <a:lnTo>
                          <a:pt x="409" y="145"/>
                        </a:lnTo>
                        <a:lnTo>
                          <a:pt x="407" y="146"/>
                        </a:lnTo>
                        <a:lnTo>
                          <a:pt x="412" y="153"/>
                        </a:lnTo>
                        <a:lnTo>
                          <a:pt x="424" y="161"/>
                        </a:lnTo>
                        <a:lnTo>
                          <a:pt x="432" y="171"/>
                        </a:lnTo>
                        <a:lnTo>
                          <a:pt x="441" y="173"/>
                        </a:lnTo>
                        <a:lnTo>
                          <a:pt x="451" y="174"/>
                        </a:lnTo>
                        <a:lnTo>
                          <a:pt x="459" y="173"/>
                        </a:lnTo>
                        <a:lnTo>
                          <a:pt x="466" y="178"/>
                        </a:lnTo>
                        <a:lnTo>
                          <a:pt x="469" y="171"/>
                        </a:lnTo>
                        <a:lnTo>
                          <a:pt x="474" y="161"/>
                        </a:lnTo>
                        <a:lnTo>
                          <a:pt x="467" y="156"/>
                        </a:lnTo>
                        <a:lnTo>
                          <a:pt x="469" y="148"/>
                        </a:lnTo>
                        <a:lnTo>
                          <a:pt x="474" y="141"/>
                        </a:lnTo>
                        <a:lnTo>
                          <a:pt x="477" y="135"/>
                        </a:lnTo>
                        <a:lnTo>
                          <a:pt x="484" y="140"/>
                        </a:lnTo>
                        <a:lnTo>
                          <a:pt x="485" y="131"/>
                        </a:lnTo>
                        <a:lnTo>
                          <a:pt x="495" y="125"/>
                        </a:lnTo>
                        <a:lnTo>
                          <a:pt x="495" y="110"/>
                        </a:lnTo>
                        <a:lnTo>
                          <a:pt x="495" y="105"/>
                        </a:lnTo>
                        <a:lnTo>
                          <a:pt x="495" y="95"/>
                        </a:lnTo>
                        <a:lnTo>
                          <a:pt x="497" y="85"/>
                        </a:lnTo>
                        <a:lnTo>
                          <a:pt x="497" y="80"/>
                        </a:lnTo>
                        <a:lnTo>
                          <a:pt x="492" y="73"/>
                        </a:lnTo>
                        <a:lnTo>
                          <a:pt x="487" y="73"/>
                        </a:lnTo>
                        <a:lnTo>
                          <a:pt x="477" y="68"/>
                        </a:lnTo>
                        <a:lnTo>
                          <a:pt x="470" y="70"/>
                        </a:lnTo>
                        <a:lnTo>
                          <a:pt x="467" y="66"/>
                        </a:lnTo>
                        <a:lnTo>
                          <a:pt x="472" y="63"/>
                        </a:lnTo>
                        <a:lnTo>
                          <a:pt x="466" y="60"/>
                        </a:lnTo>
                        <a:lnTo>
                          <a:pt x="464" y="63"/>
                        </a:lnTo>
                        <a:lnTo>
                          <a:pt x="457" y="60"/>
                        </a:lnTo>
                        <a:lnTo>
                          <a:pt x="451" y="58"/>
                        </a:lnTo>
                        <a:lnTo>
                          <a:pt x="447" y="61"/>
                        </a:lnTo>
                        <a:lnTo>
                          <a:pt x="442" y="58"/>
                        </a:lnTo>
                        <a:lnTo>
                          <a:pt x="444" y="53"/>
                        </a:lnTo>
                        <a:lnTo>
                          <a:pt x="436" y="52"/>
                        </a:lnTo>
                        <a:lnTo>
                          <a:pt x="431" y="52"/>
                        </a:lnTo>
                        <a:lnTo>
                          <a:pt x="424" y="57"/>
                        </a:lnTo>
                        <a:lnTo>
                          <a:pt x="421" y="60"/>
                        </a:lnTo>
                        <a:lnTo>
                          <a:pt x="414" y="58"/>
                        </a:lnTo>
                        <a:lnTo>
                          <a:pt x="412" y="61"/>
                        </a:lnTo>
                        <a:lnTo>
                          <a:pt x="402" y="61"/>
                        </a:lnTo>
                        <a:lnTo>
                          <a:pt x="397" y="58"/>
                        </a:lnTo>
                        <a:lnTo>
                          <a:pt x="394" y="50"/>
                        </a:lnTo>
                        <a:lnTo>
                          <a:pt x="391" y="47"/>
                        </a:lnTo>
                        <a:lnTo>
                          <a:pt x="381" y="47"/>
                        </a:lnTo>
                        <a:lnTo>
                          <a:pt x="379" y="40"/>
                        </a:lnTo>
                        <a:lnTo>
                          <a:pt x="372" y="43"/>
                        </a:lnTo>
                        <a:lnTo>
                          <a:pt x="366" y="40"/>
                        </a:lnTo>
                        <a:lnTo>
                          <a:pt x="369" y="33"/>
                        </a:lnTo>
                        <a:lnTo>
                          <a:pt x="367" y="25"/>
                        </a:lnTo>
                        <a:lnTo>
                          <a:pt x="366" y="22"/>
                        </a:lnTo>
                        <a:lnTo>
                          <a:pt x="357" y="20"/>
                        </a:lnTo>
                        <a:lnTo>
                          <a:pt x="357" y="17"/>
                        </a:lnTo>
                        <a:lnTo>
                          <a:pt x="354" y="15"/>
                        </a:lnTo>
                        <a:lnTo>
                          <a:pt x="351" y="15"/>
                        </a:lnTo>
                        <a:lnTo>
                          <a:pt x="346" y="18"/>
                        </a:lnTo>
                        <a:lnTo>
                          <a:pt x="341" y="18"/>
                        </a:lnTo>
                        <a:lnTo>
                          <a:pt x="334" y="18"/>
                        </a:lnTo>
                        <a:lnTo>
                          <a:pt x="329" y="20"/>
                        </a:lnTo>
                        <a:lnTo>
                          <a:pt x="321" y="20"/>
                        </a:lnTo>
                        <a:lnTo>
                          <a:pt x="319" y="23"/>
                        </a:lnTo>
                        <a:lnTo>
                          <a:pt x="311" y="28"/>
                        </a:lnTo>
                        <a:lnTo>
                          <a:pt x="313" y="32"/>
                        </a:lnTo>
                        <a:lnTo>
                          <a:pt x="308" y="35"/>
                        </a:lnTo>
                        <a:lnTo>
                          <a:pt x="303" y="30"/>
                        </a:lnTo>
                        <a:lnTo>
                          <a:pt x="296" y="28"/>
                        </a:lnTo>
                        <a:lnTo>
                          <a:pt x="288" y="30"/>
                        </a:lnTo>
                        <a:lnTo>
                          <a:pt x="279" y="33"/>
                        </a:lnTo>
                        <a:lnTo>
                          <a:pt x="273" y="30"/>
                        </a:lnTo>
                        <a:lnTo>
                          <a:pt x="266" y="23"/>
                        </a:lnTo>
                        <a:lnTo>
                          <a:pt x="263" y="20"/>
                        </a:lnTo>
                        <a:lnTo>
                          <a:pt x="263" y="15"/>
                        </a:lnTo>
                        <a:lnTo>
                          <a:pt x="266" y="12"/>
                        </a:lnTo>
                        <a:lnTo>
                          <a:pt x="264" y="5"/>
                        </a:lnTo>
                        <a:lnTo>
                          <a:pt x="259" y="0"/>
                        </a:lnTo>
                        <a:lnTo>
                          <a:pt x="259" y="8"/>
                        </a:lnTo>
                        <a:lnTo>
                          <a:pt x="259" y="17"/>
                        </a:lnTo>
                        <a:lnTo>
                          <a:pt x="254" y="18"/>
                        </a:lnTo>
                        <a:lnTo>
                          <a:pt x="251" y="27"/>
                        </a:lnTo>
                        <a:lnTo>
                          <a:pt x="253" y="33"/>
                        </a:lnTo>
                        <a:lnTo>
                          <a:pt x="259" y="40"/>
                        </a:lnTo>
                        <a:lnTo>
                          <a:pt x="266" y="43"/>
                        </a:lnTo>
                        <a:lnTo>
                          <a:pt x="271" y="50"/>
                        </a:lnTo>
                        <a:lnTo>
                          <a:pt x="273" y="53"/>
                        </a:lnTo>
                        <a:lnTo>
                          <a:pt x="278" y="61"/>
                        </a:lnTo>
                        <a:lnTo>
                          <a:pt x="279" y="66"/>
                        </a:lnTo>
                        <a:lnTo>
                          <a:pt x="283" y="75"/>
                        </a:lnTo>
                        <a:lnTo>
                          <a:pt x="283" y="93"/>
                        </a:lnTo>
                        <a:lnTo>
                          <a:pt x="278" y="101"/>
                        </a:lnTo>
                        <a:lnTo>
                          <a:pt x="274" y="108"/>
                        </a:lnTo>
                        <a:lnTo>
                          <a:pt x="273" y="113"/>
                        </a:lnTo>
                        <a:lnTo>
                          <a:pt x="279" y="116"/>
                        </a:lnTo>
                        <a:lnTo>
                          <a:pt x="281" y="113"/>
                        </a:lnTo>
                        <a:lnTo>
                          <a:pt x="286" y="110"/>
                        </a:lnTo>
                        <a:lnTo>
                          <a:pt x="286" y="115"/>
                        </a:lnTo>
                        <a:lnTo>
                          <a:pt x="283" y="118"/>
                        </a:lnTo>
                        <a:lnTo>
                          <a:pt x="286" y="121"/>
                        </a:lnTo>
                        <a:lnTo>
                          <a:pt x="291" y="120"/>
                        </a:lnTo>
                        <a:lnTo>
                          <a:pt x="293" y="125"/>
                        </a:lnTo>
                        <a:lnTo>
                          <a:pt x="289" y="130"/>
                        </a:lnTo>
                        <a:lnTo>
                          <a:pt x="293" y="135"/>
                        </a:lnTo>
                        <a:lnTo>
                          <a:pt x="298" y="136"/>
                        </a:lnTo>
                        <a:lnTo>
                          <a:pt x="296" y="141"/>
                        </a:lnTo>
                        <a:lnTo>
                          <a:pt x="291" y="145"/>
                        </a:lnTo>
                        <a:lnTo>
                          <a:pt x="284" y="153"/>
                        </a:lnTo>
                        <a:lnTo>
                          <a:pt x="266" y="165"/>
                        </a:lnTo>
                        <a:lnTo>
                          <a:pt x="254" y="173"/>
                        </a:lnTo>
                        <a:lnTo>
                          <a:pt x="261" y="184"/>
                        </a:lnTo>
                        <a:lnTo>
                          <a:pt x="253" y="183"/>
                        </a:lnTo>
                        <a:lnTo>
                          <a:pt x="249" y="183"/>
                        </a:lnTo>
                        <a:lnTo>
                          <a:pt x="246" y="183"/>
                        </a:lnTo>
                        <a:lnTo>
                          <a:pt x="246" y="183"/>
                        </a:lnTo>
                        <a:lnTo>
                          <a:pt x="246" y="183"/>
                        </a:lnTo>
                        <a:close/>
                      </a:path>
                    </a:pathLst>
                  </a:custGeom>
                  <a:solidFill>
                    <a:srgbClr val="77B8E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a:latin typeface="Proxima Nova A" panose="02000506030000020004" pitchFamily="2" charset="0"/>
                    </a:endParaRPr>
                  </a:p>
                </p:txBody>
              </p:sp>
              <p:sp>
                <p:nvSpPr>
                  <p:cNvPr id="161" name="Freeform 1112">
                    <a:extLst>
                      <a:ext uri="{FF2B5EF4-FFF2-40B4-BE49-F238E27FC236}">
                        <a16:creationId xmlns:a16="http://schemas.microsoft.com/office/drawing/2014/main" id="{2228EEA9-6887-4B1C-9878-94A943B742E3}"/>
                      </a:ext>
                    </a:extLst>
                  </p:cNvPr>
                  <p:cNvSpPr>
                    <a:spLocks/>
                  </p:cNvSpPr>
                  <p:nvPr/>
                </p:nvSpPr>
                <p:spPr bwMode="auto">
                  <a:xfrm>
                    <a:off x="4906553" y="3025711"/>
                    <a:ext cx="818354" cy="687251"/>
                  </a:xfrm>
                  <a:custGeom>
                    <a:avLst/>
                    <a:gdLst>
                      <a:gd name="T0" fmla="*/ 472 w 593"/>
                      <a:gd name="T1" fmla="*/ 435 h 498"/>
                      <a:gd name="T2" fmla="*/ 465 w 593"/>
                      <a:gd name="T3" fmla="*/ 409 h 498"/>
                      <a:gd name="T4" fmla="*/ 419 w 593"/>
                      <a:gd name="T5" fmla="*/ 364 h 498"/>
                      <a:gd name="T6" fmla="*/ 372 w 593"/>
                      <a:gd name="T7" fmla="*/ 337 h 498"/>
                      <a:gd name="T8" fmla="*/ 334 w 593"/>
                      <a:gd name="T9" fmla="*/ 315 h 498"/>
                      <a:gd name="T10" fmla="*/ 354 w 593"/>
                      <a:gd name="T11" fmla="*/ 284 h 498"/>
                      <a:gd name="T12" fmla="*/ 376 w 593"/>
                      <a:gd name="T13" fmla="*/ 272 h 498"/>
                      <a:gd name="T14" fmla="*/ 422 w 593"/>
                      <a:gd name="T15" fmla="*/ 256 h 498"/>
                      <a:gd name="T16" fmla="*/ 467 w 593"/>
                      <a:gd name="T17" fmla="*/ 226 h 498"/>
                      <a:gd name="T18" fmla="*/ 504 w 593"/>
                      <a:gd name="T19" fmla="*/ 229 h 498"/>
                      <a:gd name="T20" fmla="*/ 515 w 593"/>
                      <a:gd name="T21" fmla="*/ 203 h 498"/>
                      <a:gd name="T22" fmla="*/ 540 w 593"/>
                      <a:gd name="T23" fmla="*/ 201 h 498"/>
                      <a:gd name="T24" fmla="*/ 560 w 593"/>
                      <a:gd name="T25" fmla="*/ 181 h 498"/>
                      <a:gd name="T26" fmla="*/ 565 w 593"/>
                      <a:gd name="T27" fmla="*/ 164 h 498"/>
                      <a:gd name="T28" fmla="*/ 580 w 593"/>
                      <a:gd name="T29" fmla="*/ 114 h 498"/>
                      <a:gd name="T30" fmla="*/ 585 w 593"/>
                      <a:gd name="T31" fmla="*/ 88 h 498"/>
                      <a:gd name="T32" fmla="*/ 588 w 593"/>
                      <a:gd name="T33" fmla="*/ 46 h 498"/>
                      <a:gd name="T34" fmla="*/ 552 w 593"/>
                      <a:gd name="T35" fmla="*/ 1 h 498"/>
                      <a:gd name="T36" fmla="*/ 527 w 593"/>
                      <a:gd name="T37" fmla="*/ 20 h 498"/>
                      <a:gd name="T38" fmla="*/ 497 w 593"/>
                      <a:gd name="T39" fmla="*/ 45 h 498"/>
                      <a:gd name="T40" fmla="*/ 469 w 593"/>
                      <a:gd name="T41" fmla="*/ 106 h 498"/>
                      <a:gd name="T42" fmla="*/ 434 w 593"/>
                      <a:gd name="T43" fmla="*/ 119 h 498"/>
                      <a:gd name="T44" fmla="*/ 386 w 593"/>
                      <a:gd name="T45" fmla="*/ 138 h 498"/>
                      <a:gd name="T46" fmla="*/ 361 w 593"/>
                      <a:gd name="T47" fmla="*/ 114 h 498"/>
                      <a:gd name="T48" fmla="*/ 328 w 593"/>
                      <a:gd name="T49" fmla="*/ 93 h 498"/>
                      <a:gd name="T50" fmla="*/ 301 w 593"/>
                      <a:gd name="T51" fmla="*/ 124 h 498"/>
                      <a:gd name="T52" fmla="*/ 239 w 593"/>
                      <a:gd name="T53" fmla="*/ 148 h 498"/>
                      <a:gd name="T54" fmla="*/ 203 w 593"/>
                      <a:gd name="T55" fmla="*/ 156 h 498"/>
                      <a:gd name="T56" fmla="*/ 175 w 593"/>
                      <a:gd name="T57" fmla="*/ 153 h 498"/>
                      <a:gd name="T58" fmla="*/ 151 w 593"/>
                      <a:gd name="T59" fmla="*/ 174 h 498"/>
                      <a:gd name="T60" fmla="*/ 121 w 593"/>
                      <a:gd name="T61" fmla="*/ 138 h 498"/>
                      <a:gd name="T62" fmla="*/ 103 w 593"/>
                      <a:gd name="T63" fmla="*/ 146 h 498"/>
                      <a:gd name="T64" fmla="*/ 68 w 593"/>
                      <a:gd name="T65" fmla="*/ 139 h 498"/>
                      <a:gd name="T66" fmla="*/ 7 w 593"/>
                      <a:gd name="T67" fmla="*/ 174 h 498"/>
                      <a:gd name="T68" fmla="*/ 13 w 593"/>
                      <a:gd name="T69" fmla="*/ 211 h 498"/>
                      <a:gd name="T70" fmla="*/ 58 w 593"/>
                      <a:gd name="T71" fmla="*/ 261 h 498"/>
                      <a:gd name="T72" fmla="*/ 90 w 593"/>
                      <a:gd name="T73" fmla="*/ 267 h 498"/>
                      <a:gd name="T74" fmla="*/ 87 w 593"/>
                      <a:gd name="T75" fmla="*/ 302 h 498"/>
                      <a:gd name="T76" fmla="*/ 103 w 593"/>
                      <a:gd name="T77" fmla="*/ 315 h 498"/>
                      <a:gd name="T78" fmla="*/ 112 w 593"/>
                      <a:gd name="T79" fmla="*/ 362 h 498"/>
                      <a:gd name="T80" fmla="*/ 140 w 593"/>
                      <a:gd name="T81" fmla="*/ 362 h 498"/>
                      <a:gd name="T82" fmla="*/ 118 w 593"/>
                      <a:gd name="T83" fmla="*/ 409 h 498"/>
                      <a:gd name="T84" fmla="*/ 103 w 593"/>
                      <a:gd name="T85" fmla="*/ 432 h 498"/>
                      <a:gd name="T86" fmla="*/ 150 w 593"/>
                      <a:gd name="T87" fmla="*/ 453 h 498"/>
                      <a:gd name="T88" fmla="*/ 200 w 593"/>
                      <a:gd name="T89" fmla="*/ 438 h 498"/>
                      <a:gd name="T90" fmla="*/ 236 w 593"/>
                      <a:gd name="T91" fmla="*/ 432 h 498"/>
                      <a:gd name="T92" fmla="*/ 230 w 593"/>
                      <a:gd name="T93" fmla="*/ 485 h 498"/>
                      <a:gd name="T94" fmla="*/ 264 w 593"/>
                      <a:gd name="T95" fmla="*/ 497 h 498"/>
                      <a:gd name="T96" fmla="*/ 281 w 593"/>
                      <a:gd name="T97" fmla="*/ 475 h 498"/>
                      <a:gd name="T98" fmla="*/ 331 w 593"/>
                      <a:gd name="T99" fmla="*/ 487 h 498"/>
                      <a:gd name="T100" fmla="*/ 336 w 593"/>
                      <a:gd name="T101" fmla="*/ 498 h 498"/>
                      <a:gd name="T102" fmla="*/ 362 w 593"/>
                      <a:gd name="T103" fmla="*/ 482 h 498"/>
                      <a:gd name="T104" fmla="*/ 361 w 593"/>
                      <a:gd name="T105" fmla="*/ 447 h 498"/>
                      <a:gd name="T106" fmla="*/ 354 w 593"/>
                      <a:gd name="T107" fmla="*/ 422 h 498"/>
                      <a:gd name="T108" fmla="*/ 394 w 593"/>
                      <a:gd name="T109" fmla="*/ 428 h 498"/>
                      <a:gd name="T110" fmla="*/ 452 w 593"/>
                      <a:gd name="T111" fmla="*/ 457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93" h="498">
                        <a:moveTo>
                          <a:pt x="459" y="462"/>
                        </a:moveTo>
                        <a:lnTo>
                          <a:pt x="472" y="453"/>
                        </a:lnTo>
                        <a:lnTo>
                          <a:pt x="482" y="452"/>
                        </a:lnTo>
                        <a:lnTo>
                          <a:pt x="474" y="443"/>
                        </a:lnTo>
                        <a:lnTo>
                          <a:pt x="472" y="435"/>
                        </a:lnTo>
                        <a:lnTo>
                          <a:pt x="474" y="427"/>
                        </a:lnTo>
                        <a:lnTo>
                          <a:pt x="465" y="430"/>
                        </a:lnTo>
                        <a:lnTo>
                          <a:pt x="464" y="420"/>
                        </a:lnTo>
                        <a:lnTo>
                          <a:pt x="467" y="415"/>
                        </a:lnTo>
                        <a:lnTo>
                          <a:pt x="465" y="409"/>
                        </a:lnTo>
                        <a:lnTo>
                          <a:pt x="451" y="407"/>
                        </a:lnTo>
                        <a:lnTo>
                          <a:pt x="439" y="390"/>
                        </a:lnTo>
                        <a:lnTo>
                          <a:pt x="422" y="387"/>
                        </a:lnTo>
                        <a:lnTo>
                          <a:pt x="419" y="382"/>
                        </a:lnTo>
                        <a:lnTo>
                          <a:pt x="419" y="364"/>
                        </a:lnTo>
                        <a:lnTo>
                          <a:pt x="427" y="355"/>
                        </a:lnTo>
                        <a:lnTo>
                          <a:pt x="429" y="352"/>
                        </a:lnTo>
                        <a:lnTo>
                          <a:pt x="417" y="350"/>
                        </a:lnTo>
                        <a:lnTo>
                          <a:pt x="387" y="350"/>
                        </a:lnTo>
                        <a:lnTo>
                          <a:pt x="372" y="337"/>
                        </a:lnTo>
                        <a:lnTo>
                          <a:pt x="366" y="339"/>
                        </a:lnTo>
                        <a:lnTo>
                          <a:pt x="359" y="325"/>
                        </a:lnTo>
                        <a:lnTo>
                          <a:pt x="341" y="330"/>
                        </a:lnTo>
                        <a:lnTo>
                          <a:pt x="338" y="322"/>
                        </a:lnTo>
                        <a:lnTo>
                          <a:pt x="334" y="315"/>
                        </a:lnTo>
                        <a:lnTo>
                          <a:pt x="343" y="292"/>
                        </a:lnTo>
                        <a:lnTo>
                          <a:pt x="338" y="289"/>
                        </a:lnTo>
                        <a:lnTo>
                          <a:pt x="339" y="282"/>
                        </a:lnTo>
                        <a:lnTo>
                          <a:pt x="347" y="282"/>
                        </a:lnTo>
                        <a:lnTo>
                          <a:pt x="354" y="284"/>
                        </a:lnTo>
                        <a:lnTo>
                          <a:pt x="361" y="282"/>
                        </a:lnTo>
                        <a:lnTo>
                          <a:pt x="359" y="277"/>
                        </a:lnTo>
                        <a:lnTo>
                          <a:pt x="356" y="271"/>
                        </a:lnTo>
                        <a:lnTo>
                          <a:pt x="367" y="267"/>
                        </a:lnTo>
                        <a:lnTo>
                          <a:pt x="376" y="272"/>
                        </a:lnTo>
                        <a:lnTo>
                          <a:pt x="376" y="279"/>
                        </a:lnTo>
                        <a:lnTo>
                          <a:pt x="389" y="289"/>
                        </a:lnTo>
                        <a:lnTo>
                          <a:pt x="406" y="282"/>
                        </a:lnTo>
                        <a:lnTo>
                          <a:pt x="402" y="272"/>
                        </a:lnTo>
                        <a:lnTo>
                          <a:pt x="422" y="256"/>
                        </a:lnTo>
                        <a:lnTo>
                          <a:pt x="442" y="246"/>
                        </a:lnTo>
                        <a:lnTo>
                          <a:pt x="454" y="247"/>
                        </a:lnTo>
                        <a:lnTo>
                          <a:pt x="462" y="241"/>
                        </a:lnTo>
                        <a:lnTo>
                          <a:pt x="459" y="236"/>
                        </a:lnTo>
                        <a:lnTo>
                          <a:pt x="467" y="226"/>
                        </a:lnTo>
                        <a:lnTo>
                          <a:pt x="470" y="216"/>
                        </a:lnTo>
                        <a:lnTo>
                          <a:pt x="474" y="221"/>
                        </a:lnTo>
                        <a:lnTo>
                          <a:pt x="484" y="219"/>
                        </a:lnTo>
                        <a:lnTo>
                          <a:pt x="497" y="227"/>
                        </a:lnTo>
                        <a:lnTo>
                          <a:pt x="504" y="229"/>
                        </a:lnTo>
                        <a:lnTo>
                          <a:pt x="505" y="224"/>
                        </a:lnTo>
                        <a:lnTo>
                          <a:pt x="504" y="219"/>
                        </a:lnTo>
                        <a:lnTo>
                          <a:pt x="517" y="224"/>
                        </a:lnTo>
                        <a:lnTo>
                          <a:pt x="522" y="204"/>
                        </a:lnTo>
                        <a:lnTo>
                          <a:pt x="515" y="203"/>
                        </a:lnTo>
                        <a:lnTo>
                          <a:pt x="515" y="193"/>
                        </a:lnTo>
                        <a:lnTo>
                          <a:pt x="527" y="196"/>
                        </a:lnTo>
                        <a:lnTo>
                          <a:pt x="532" y="201"/>
                        </a:lnTo>
                        <a:lnTo>
                          <a:pt x="535" y="198"/>
                        </a:lnTo>
                        <a:lnTo>
                          <a:pt x="540" y="201"/>
                        </a:lnTo>
                        <a:lnTo>
                          <a:pt x="549" y="193"/>
                        </a:lnTo>
                        <a:lnTo>
                          <a:pt x="545" y="184"/>
                        </a:lnTo>
                        <a:lnTo>
                          <a:pt x="549" y="183"/>
                        </a:lnTo>
                        <a:lnTo>
                          <a:pt x="557" y="184"/>
                        </a:lnTo>
                        <a:lnTo>
                          <a:pt x="560" y="181"/>
                        </a:lnTo>
                        <a:lnTo>
                          <a:pt x="555" y="174"/>
                        </a:lnTo>
                        <a:lnTo>
                          <a:pt x="565" y="174"/>
                        </a:lnTo>
                        <a:lnTo>
                          <a:pt x="569" y="178"/>
                        </a:lnTo>
                        <a:lnTo>
                          <a:pt x="574" y="173"/>
                        </a:lnTo>
                        <a:lnTo>
                          <a:pt x="565" y="164"/>
                        </a:lnTo>
                        <a:lnTo>
                          <a:pt x="574" y="159"/>
                        </a:lnTo>
                        <a:lnTo>
                          <a:pt x="583" y="143"/>
                        </a:lnTo>
                        <a:lnTo>
                          <a:pt x="587" y="136"/>
                        </a:lnTo>
                        <a:lnTo>
                          <a:pt x="587" y="124"/>
                        </a:lnTo>
                        <a:lnTo>
                          <a:pt x="580" y="114"/>
                        </a:lnTo>
                        <a:lnTo>
                          <a:pt x="582" y="108"/>
                        </a:lnTo>
                        <a:lnTo>
                          <a:pt x="590" y="113"/>
                        </a:lnTo>
                        <a:lnTo>
                          <a:pt x="593" y="106"/>
                        </a:lnTo>
                        <a:lnTo>
                          <a:pt x="593" y="88"/>
                        </a:lnTo>
                        <a:lnTo>
                          <a:pt x="585" y="88"/>
                        </a:lnTo>
                        <a:lnTo>
                          <a:pt x="585" y="85"/>
                        </a:lnTo>
                        <a:lnTo>
                          <a:pt x="592" y="81"/>
                        </a:lnTo>
                        <a:lnTo>
                          <a:pt x="593" y="70"/>
                        </a:lnTo>
                        <a:lnTo>
                          <a:pt x="590" y="58"/>
                        </a:lnTo>
                        <a:lnTo>
                          <a:pt x="588" y="46"/>
                        </a:lnTo>
                        <a:lnTo>
                          <a:pt x="578" y="38"/>
                        </a:lnTo>
                        <a:lnTo>
                          <a:pt x="578" y="18"/>
                        </a:lnTo>
                        <a:lnTo>
                          <a:pt x="574" y="11"/>
                        </a:lnTo>
                        <a:lnTo>
                          <a:pt x="555" y="3"/>
                        </a:lnTo>
                        <a:lnTo>
                          <a:pt x="552" y="1"/>
                        </a:lnTo>
                        <a:lnTo>
                          <a:pt x="544" y="0"/>
                        </a:lnTo>
                        <a:lnTo>
                          <a:pt x="545" y="10"/>
                        </a:lnTo>
                        <a:lnTo>
                          <a:pt x="539" y="16"/>
                        </a:lnTo>
                        <a:lnTo>
                          <a:pt x="537" y="26"/>
                        </a:lnTo>
                        <a:lnTo>
                          <a:pt x="527" y="20"/>
                        </a:lnTo>
                        <a:lnTo>
                          <a:pt x="517" y="20"/>
                        </a:lnTo>
                        <a:lnTo>
                          <a:pt x="514" y="26"/>
                        </a:lnTo>
                        <a:lnTo>
                          <a:pt x="517" y="36"/>
                        </a:lnTo>
                        <a:lnTo>
                          <a:pt x="510" y="36"/>
                        </a:lnTo>
                        <a:lnTo>
                          <a:pt x="497" y="45"/>
                        </a:lnTo>
                        <a:lnTo>
                          <a:pt x="497" y="66"/>
                        </a:lnTo>
                        <a:lnTo>
                          <a:pt x="490" y="80"/>
                        </a:lnTo>
                        <a:lnTo>
                          <a:pt x="489" y="98"/>
                        </a:lnTo>
                        <a:lnTo>
                          <a:pt x="485" y="109"/>
                        </a:lnTo>
                        <a:lnTo>
                          <a:pt x="469" y="106"/>
                        </a:lnTo>
                        <a:lnTo>
                          <a:pt x="470" y="121"/>
                        </a:lnTo>
                        <a:lnTo>
                          <a:pt x="456" y="119"/>
                        </a:lnTo>
                        <a:lnTo>
                          <a:pt x="449" y="111"/>
                        </a:lnTo>
                        <a:lnTo>
                          <a:pt x="442" y="118"/>
                        </a:lnTo>
                        <a:lnTo>
                          <a:pt x="434" y="119"/>
                        </a:lnTo>
                        <a:lnTo>
                          <a:pt x="426" y="111"/>
                        </a:lnTo>
                        <a:lnTo>
                          <a:pt x="416" y="133"/>
                        </a:lnTo>
                        <a:lnTo>
                          <a:pt x="407" y="151"/>
                        </a:lnTo>
                        <a:lnTo>
                          <a:pt x="391" y="136"/>
                        </a:lnTo>
                        <a:lnTo>
                          <a:pt x="386" y="138"/>
                        </a:lnTo>
                        <a:lnTo>
                          <a:pt x="386" y="129"/>
                        </a:lnTo>
                        <a:lnTo>
                          <a:pt x="389" y="119"/>
                        </a:lnTo>
                        <a:lnTo>
                          <a:pt x="377" y="118"/>
                        </a:lnTo>
                        <a:lnTo>
                          <a:pt x="369" y="123"/>
                        </a:lnTo>
                        <a:lnTo>
                          <a:pt x="361" y="114"/>
                        </a:lnTo>
                        <a:lnTo>
                          <a:pt x="364" y="111"/>
                        </a:lnTo>
                        <a:lnTo>
                          <a:pt x="359" y="99"/>
                        </a:lnTo>
                        <a:lnTo>
                          <a:pt x="349" y="96"/>
                        </a:lnTo>
                        <a:lnTo>
                          <a:pt x="338" y="103"/>
                        </a:lnTo>
                        <a:lnTo>
                          <a:pt x="328" y="93"/>
                        </a:lnTo>
                        <a:lnTo>
                          <a:pt x="308" y="93"/>
                        </a:lnTo>
                        <a:lnTo>
                          <a:pt x="308" y="104"/>
                        </a:lnTo>
                        <a:lnTo>
                          <a:pt x="301" y="111"/>
                        </a:lnTo>
                        <a:lnTo>
                          <a:pt x="306" y="121"/>
                        </a:lnTo>
                        <a:lnTo>
                          <a:pt x="301" y="124"/>
                        </a:lnTo>
                        <a:lnTo>
                          <a:pt x="294" y="124"/>
                        </a:lnTo>
                        <a:lnTo>
                          <a:pt x="286" y="131"/>
                        </a:lnTo>
                        <a:lnTo>
                          <a:pt x="266" y="133"/>
                        </a:lnTo>
                        <a:lnTo>
                          <a:pt x="249" y="139"/>
                        </a:lnTo>
                        <a:lnTo>
                          <a:pt x="239" y="148"/>
                        </a:lnTo>
                        <a:lnTo>
                          <a:pt x="231" y="161"/>
                        </a:lnTo>
                        <a:lnTo>
                          <a:pt x="228" y="153"/>
                        </a:lnTo>
                        <a:lnTo>
                          <a:pt x="221" y="153"/>
                        </a:lnTo>
                        <a:lnTo>
                          <a:pt x="211" y="159"/>
                        </a:lnTo>
                        <a:lnTo>
                          <a:pt x="203" y="156"/>
                        </a:lnTo>
                        <a:lnTo>
                          <a:pt x="203" y="148"/>
                        </a:lnTo>
                        <a:lnTo>
                          <a:pt x="200" y="148"/>
                        </a:lnTo>
                        <a:lnTo>
                          <a:pt x="191" y="138"/>
                        </a:lnTo>
                        <a:lnTo>
                          <a:pt x="175" y="148"/>
                        </a:lnTo>
                        <a:lnTo>
                          <a:pt x="175" y="153"/>
                        </a:lnTo>
                        <a:lnTo>
                          <a:pt x="170" y="158"/>
                        </a:lnTo>
                        <a:lnTo>
                          <a:pt x="161" y="153"/>
                        </a:lnTo>
                        <a:lnTo>
                          <a:pt x="160" y="159"/>
                        </a:lnTo>
                        <a:lnTo>
                          <a:pt x="153" y="169"/>
                        </a:lnTo>
                        <a:lnTo>
                          <a:pt x="151" y="174"/>
                        </a:lnTo>
                        <a:lnTo>
                          <a:pt x="145" y="163"/>
                        </a:lnTo>
                        <a:lnTo>
                          <a:pt x="135" y="159"/>
                        </a:lnTo>
                        <a:lnTo>
                          <a:pt x="126" y="148"/>
                        </a:lnTo>
                        <a:lnTo>
                          <a:pt x="130" y="141"/>
                        </a:lnTo>
                        <a:lnTo>
                          <a:pt x="121" y="138"/>
                        </a:lnTo>
                        <a:lnTo>
                          <a:pt x="117" y="141"/>
                        </a:lnTo>
                        <a:lnTo>
                          <a:pt x="112" y="136"/>
                        </a:lnTo>
                        <a:lnTo>
                          <a:pt x="105" y="139"/>
                        </a:lnTo>
                        <a:lnTo>
                          <a:pt x="108" y="144"/>
                        </a:lnTo>
                        <a:lnTo>
                          <a:pt x="103" y="146"/>
                        </a:lnTo>
                        <a:lnTo>
                          <a:pt x="98" y="139"/>
                        </a:lnTo>
                        <a:lnTo>
                          <a:pt x="95" y="133"/>
                        </a:lnTo>
                        <a:lnTo>
                          <a:pt x="88" y="128"/>
                        </a:lnTo>
                        <a:lnTo>
                          <a:pt x="80" y="133"/>
                        </a:lnTo>
                        <a:lnTo>
                          <a:pt x="68" y="139"/>
                        </a:lnTo>
                        <a:lnTo>
                          <a:pt x="43" y="143"/>
                        </a:lnTo>
                        <a:lnTo>
                          <a:pt x="22" y="141"/>
                        </a:lnTo>
                        <a:lnTo>
                          <a:pt x="7" y="153"/>
                        </a:lnTo>
                        <a:lnTo>
                          <a:pt x="15" y="164"/>
                        </a:lnTo>
                        <a:lnTo>
                          <a:pt x="7" y="174"/>
                        </a:lnTo>
                        <a:lnTo>
                          <a:pt x="7" y="184"/>
                        </a:lnTo>
                        <a:lnTo>
                          <a:pt x="3" y="198"/>
                        </a:lnTo>
                        <a:lnTo>
                          <a:pt x="0" y="206"/>
                        </a:lnTo>
                        <a:lnTo>
                          <a:pt x="8" y="209"/>
                        </a:lnTo>
                        <a:lnTo>
                          <a:pt x="13" y="211"/>
                        </a:lnTo>
                        <a:lnTo>
                          <a:pt x="28" y="226"/>
                        </a:lnTo>
                        <a:lnTo>
                          <a:pt x="37" y="236"/>
                        </a:lnTo>
                        <a:lnTo>
                          <a:pt x="47" y="242"/>
                        </a:lnTo>
                        <a:lnTo>
                          <a:pt x="55" y="252"/>
                        </a:lnTo>
                        <a:lnTo>
                          <a:pt x="58" y="261"/>
                        </a:lnTo>
                        <a:lnTo>
                          <a:pt x="63" y="272"/>
                        </a:lnTo>
                        <a:lnTo>
                          <a:pt x="72" y="277"/>
                        </a:lnTo>
                        <a:lnTo>
                          <a:pt x="82" y="274"/>
                        </a:lnTo>
                        <a:lnTo>
                          <a:pt x="85" y="269"/>
                        </a:lnTo>
                        <a:lnTo>
                          <a:pt x="90" y="267"/>
                        </a:lnTo>
                        <a:lnTo>
                          <a:pt x="97" y="274"/>
                        </a:lnTo>
                        <a:lnTo>
                          <a:pt x="97" y="281"/>
                        </a:lnTo>
                        <a:lnTo>
                          <a:pt x="92" y="289"/>
                        </a:lnTo>
                        <a:lnTo>
                          <a:pt x="88" y="296"/>
                        </a:lnTo>
                        <a:lnTo>
                          <a:pt x="87" y="302"/>
                        </a:lnTo>
                        <a:lnTo>
                          <a:pt x="85" y="306"/>
                        </a:lnTo>
                        <a:lnTo>
                          <a:pt x="85" y="311"/>
                        </a:lnTo>
                        <a:lnTo>
                          <a:pt x="93" y="309"/>
                        </a:lnTo>
                        <a:lnTo>
                          <a:pt x="102" y="307"/>
                        </a:lnTo>
                        <a:lnTo>
                          <a:pt x="103" y="315"/>
                        </a:lnTo>
                        <a:lnTo>
                          <a:pt x="100" y="324"/>
                        </a:lnTo>
                        <a:lnTo>
                          <a:pt x="97" y="334"/>
                        </a:lnTo>
                        <a:lnTo>
                          <a:pt x="100" y="342"/>
                        </a:lnTo>
                        <a:lnTo>
                          <a:pt x="112" y="349"/>
                        </a:lnTo>
                        <a:lnTo>
                          <a:pt x="112" y="362"/>
                        </a:lnTo>
                        <a:lnTo>
                          <a:pt x="115" y="360"/>
                        </a:lnTo>
                        <a:lnTo>
                          <a:pt x="118" y="357"/>
                        </a:lnTo>
                        <a:lnTo>
                          <a:pt x="123" y="364"/>
                        </a:lnTo>
                        <a:lnTo>
                          <a:pt x="133" y="362"/>
                        </a:lnTo>
                        <a:lnTo>
                          <a:pt x="140" y="362"/>
                        </a:lnTo>
                        <a:lnTo>
                          <a:pt x="143" y="369"/>
                        </a:lnTo>
                        <a:lnTo>
                          <a:pt x="140" y="384"/>
                        </a:lnTo>
                        <a:lnTo>
                          <a:pt x="133" y="387"/>
                        </a:lnTo>
                        <a:lnTo>
                          <a:pt x="128" y="404"/>
                        </a:lnTo>
                        <a:lnTo>
                          <a:pt x="118" y="409"/>
                        </a:lnTo>
                        <a:lnTo>
                          <a:pt x="112" y="414"/>
                        </a:lnTo>
                        <a:lnTo>
                          <a:pt x="98" y="420"/>
                        </a:lnTo>
                        <a:lnTo>
                          <a:pt x="93" y="427"/>
                        </a:lnTo>
                        <a:lnTo>
                          <a:pt x="98" y="432"/>
                        </a:lnTo>
                        <a:lnTo>
                          <a:pt x="103" y="432"/>
                        </a:lnTo>
                        <a:lnTo>
                          <a:pt x="110" y="437"/>
                        </a:lnTo>
                        <a:lnTo>
                          <a:pt x="121" y="447"/>
                        </a:lnTo>
                        <a:lnTo>
                          <a:pt x="130" y="448"/>
                        </a:lnTo>
                        <a:lnTo>
                          <a:pt x="136" y="453"/>
                        </a:lnTo>
                        <a:lnTo>
                          <a:pt x="150" y="453"/>
                        </a:lnTo>
                        <a:lnTo>
                          <a:pt x="155" y="447"/>
                        </a:lnTo>
                        <a:lnTo>
                          <a:pt x="163" y="442"/>
                        </a:lnTo>
                        <a:lnTo>
                          <a:pt x="175" y="440"/>
                        </a:lnTo>
                        <a:lnTo>
                          <a:pt x="186" y="440"/>
                        </a:lnTo>
                        <a:lnTo>
                          <a:pt x="200" y="438"/>
                        </a:lnTo>
                        <a:lnTo>
                          <a:pt x="205" y="437"/>
                        </a:lnTo>
                        <a:lnTo>
                          <a:pt x="216" y="440"/>
                        </a:lnTo>
                        <a:lnTo>
                          <a:pt x="221" y="433"/>
                        </a:lnTo>
                        <a:lnTo>
                          <a:pt x="230" y="433"/>
                        </a:lnTo>
                        <a:lnTo>
                          <a:pt x="236" y="432"/>
                        </a:lnTo>
                        <a:lnTo>
                          <a:pt x="239" y="443"/>
                        </a:lnTo>
                        <a:lnTo>
                          <a:pt x="241" y="452"/>
                        </a:lnTo>
                        <a:lnTo>
                          <a:pt x="241" y="463"/>
                        </a:lnTo>
                        <a:lnTo>
                          <a:pt x="234" y="477"/>
                        </a:lnTo>
                        <a:lnTo>
                          <a:pt x="230" y="485"/>
                        </a:lnTo>
                        <a:lnTo>
                          <a:pt x="234" y="488"/>
                        </a:lnTo>
                        <a:lnTo>
                          <a:pt x="241" y="488"/>
                        </a:lnTo>
                        <a:lnTo>
                          <a:pt x="251" y="492"/>
                        </a:lnTo>
                        <a:lnTo>
                          <a:pt x="259" y="495"/>
                        </a:lnTo>
                        <a:lnTo>
                          <a:pt x="264" y="497"/>
                        </a:lnTo>
                        <a:lnTo>
                          <a:pt x="268" y="488"/>
                        </a:lnTo>
                        <a:lnTo>
                          <a:pt x="271" y="483"/>
                        </a:lnTo>
                        <a:lnTo>
                          <a:pt x="276" y="482"/>
                        </a:lnTo>
                        <a:lnTo>
                          <a:pt x="276" y="475"/>
                        </a:lnTo>
                        <a:lnTo>
                          <a:pt x="281" y="475"/>
                        </a:lnTo>
                        <a:lnTo>
                          <a:pt x="289" y="477"/>
                        </a:lnTo>
                        <a:lnTo>
                          <a:pt x="299" y="482"/>
                        </a:lnTo>
                        <a:lnTo>
                          <a:pt x="306" y="487"/>
                        </a:lnTo>
                        <a:lnTo>
                          <a:pt x="319" y="487"/>
                        </a:lnTo>
                        <a:lnTo>
                          <a:pt x="331" y="487"/>
                        </a:lnTo>
                        <a:lnTo>
                          <a:pt x="334" y="480"/>
                        </a:lnTo>
                        <a:lnTo>
                          <a:pt x="341" y="482"/>
                        </a:lnTo>
                        <a:lnTo>
                          <a:pt x="338" y="490"/>
                        </a:lnTo>
                        <a:lnTo>
                          <a:pt x="334" y="495"/>
                        </a:lnTo>
                        <a:lnTo>
                          <a:pt x="336" y="498"/>
                        </a:lnTo>
                        <a:lnTo>
                          <a:pt x="344" y="498"/>
                        </a:lnTo>
                        <a:lnTo>
                          <a:pt x="349" y="498"/>
                        </a:lnTo>
                        <a:lnTo>
                          <a:pt x="356" y="493"/>
                        </a:lnTo>
                        <a:lnTo>
                          <a:pt x="362" y="488"/>
                        </a:lnTo>
                        <a:lnTo>
                          <a:pt x="362" y="482"/>
                        </a:lnTo>
                        <a:lnTo>
                          <a:pt x="366" y="475"/>
                        </a:lnTo>
                        <a:lnTo>
                          <a:pt x="367" y="468"/>
                        </a:lnTo>
                        <a:lnTo>
                          <a:pt x="361" y="458"/>
                        </a:lnTo>
                        <a:lnTo>
                          <a:pt x="366" y="453"/>
                        </a:lnTo>
                        <a:lnTo>
                          <a:pt x="361" y="447"/>
                        </a:lnTo>
                        <a:lnTo>
                          <a:pt x="367" y="442"/>
                        </a:lnTo>
                        <a:lnTo>
                          <a:pt x="367" y="437"/>
                        </a:lnTo>
                        <a:lnTo>
                          <a:pt x="361" y="432"/>
                        </a:lnTo>
                        <a:lnTo>
                          <a:pt x="354" y="427"/>
                        </a:lnTo>
                        <a:lnTo>
                          <a:pt x="354" y="422"/>
                        </a:lnTo>
                        <a:lnTo>
                          <a:pt x="362" y="419"/>
                        </a:lnTo>
                        <a:lnTo>
                          <a:pt x="364" y="414"/>
                        </a:lnTo>
                        <a:lnTo>
                          <a:pt x="376" y="420"/>
                        </a:lnTo>
                        <a:lnTo>
                          <a:pt x="382" y="427"/>
                        </a:lnTo>
                        <a:lnTo>
                          <a:pt x="394" y="428"/>
                        </a:lnTo>
                        <a:lnTo>
                          <a:pt x="402" y="435"/>
                        </a:lnTo>
                        <a:lnTo>
                          <a:pt x="416" y="445"/>
                        </a:lnTo>
                        <a:lnTo>
                          <a:pt x="429" y="443"/>
                        </a:lnTo>
                        <a:lnTo>
                          <a:pt x="442" y="447"/>
                        </a:lnTo>
                        <a:lnTo>
                          <a:pt x="452" y="457"/>
                        </a:lnTo>
                        <a:lnTo>
                          <a:pt x="459" y="462"/>
                        </a:lnTo>
                        <a:lnTo>
                          <a:pt x="459" y="462"/>
                        </a:lnTo>
                        <a:lnTo>
                          <a:pt x="459" y="462"/>
                        </a:lnTo>
                        <a:close/>
                      </a:path>
                    </a:pathLst>
                  </a:custGeom>
                  <a:solidFill>
                    <a:srgbClr val="77B8E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dirty="0">
                      <a:latin typeface="Proxima Nova A" panose="02000506030000020004" pitchFamily="2" charset="0"/>
                    </a:endParaRPr>
                  </a:p>
                </p:txBody>
              </p:sp>
              <p:sp>
                <p:nvSpPr>
                  <p:cNvPr id="162" name="Freeform 1114">
                    <a:extLst>
                      <a:ext uri="{FF2B5EF4-FFF2-40B4-BE49-F238E27FC236}">
                        <a16:creationId xmlns:a16="http://schemas.microsoft.com/office/drawing/2014/main" id="{50AF9021-DF91-45C8-BA28-E3CAFE11A750}"/>
                      </a:ext>
                    </a:extLst>
                  </p:cNvPr>
                  <p:cNvSpPr>
                    <a:spLocks/>
                  </p:cNvSpPr>
                  <p:nvPr/>
                </p:nvSpPr>
                <p:spPr bwMode="auto">
                  <a:xfrm>
                    <a:off x="2439072" y="2087296"/>
                    <a:ext cx="1552526" cy="1424183"/>
                  </a:xfrm>
                  <a:custGeom>
                    <a:avLst/>
                    <a:gdLst>
                      <a:gd name="T0" fmla="*/ 261 w 1125"/>
                      <a:gd name="T1" fmla="*/ 786 h 1032"/>
                      <a:gd name="T2" fmla="*/ 307 w 1125"/>
                      <a:gd name="T3" fmla="*/ 778 h 1032"/>
                      <a:gd name="T4" fmla="*/ 357 w 1125"/>
                      <a:gd name="T5" fmla="*/ 818 h 1032"/>
                      <a:gd name="T6" fmla="*/ 416 w 1125"/>
                      <a:gd name="T7" fmla="*/ 829 h 1032"/>
                      <a:gd name="T8" fmla="*/ 442 w 1125"/>
                      <a:gd name="T9" fmla="*/ 829 h 1032"/>
                      <a:gd name="T10" fmla="*/ 457 w 1125"/>
                      <a:gd name="T11" fmla="*/ 881 h 1032"/>
                      <a:gd name="T12" fmla="*/ 482 w 1125"/>
                      <a:gd name="T13" fmla="*/ 896 h 1032"/>
                      <a:gd name="T14" fmla="*/ 489 w 1125"/>
                      <a:gd name="T15" fmla="*/ 941 h 1032"/>
                      <a:gd name="T16" fmla="*/ 525 w 1125"/>
                      <a:gd name="T17" fmla="*/ 974 h 1032"/>
                      <a:gd name="T18" fmla="*/ 570 w 1125"/>
                      <a:gd name="T19" fmla="*/ 1014 h 1032"/>
                      <a:gd name="T20" fmla="*/ 622 w 1125"/>
                      <a:gd name="T21" fmla="*/ 1024 h 1032"/>
                      <a:gd name="T22" fmla="*/ 627 w 1125"/>
                      <a:gd name="T23" fmla="*/ 995 h 1032"/>
                      <a:gd name="T24" fmla="*/ 675 w 1125"/>
                      <a:gd name="T25" fmla="*/ 951 h 1032"/>
                      <a:gd name="T26" fmla="*/ 688 w 1125"/>
                      <a:gd name="T27" fmla="*/ 889 h 1032"/>
                      <a:gd name="T28" fmla="*/ 658 w 1125"/>
                      <a:gd name="T29" fmla="*/ 824 h 1032"/>
                      <a:gd name="T30" fmla="*/ 690 w 1125"/>
                      <a:gd name="T31" fmla="*/ 798 h 1032"/>
                      <a:gd name="T32" fmla="*/ 676 w 1125"/>
                      <a:gd name="T33" fmla="*/ 761 h 1032"/>
                      <a:gd name="T34" fmla="*/ 713 w 1125"/>
                      <a:gd name="T35" fmla="*/ 748 h 1032"/>
                      <a:gd name="T36" fmla="*/ 748 w 1125"/>
                      <a:gd name="T37" fmla="*/ 771 h 1032"/>
                      <a:gd name="T38" fmla="*/ 720 w 1125"/>
                      <a:gd name="T39" fmla="*/ 794 h 1032"/>
                      <a:gd name="T40" fmla="*/ 788 w 1125"/>
                      <a:gd name="T41" fmla="*/ 789 h 1032"/>
                      <a:gd name="T42" fmla="*/ 798 w 1125"/>
                      <a:gd name="T43" fmla="*/ 833 h 1032"/>
                      <a:gd name="T44" fmla="*/ 801 w 1125"/>
                      <a:gd name="T45" fmla="*/ 889 h 1032"/>
                      <a:gd name="T46" fmla="*/ 760 w 1125"/>
                      <a:gd name="T47" fmla="*/ 917 h 1032"/>
                      <a:gd name="T48" fmla="*/ 799 w 1125"/>
                      <a:gd name="T49" fmla="*/ 917 h 1032"/>
                      <a:gd name="T50" fmla="*/ 838 w 1125"/>
                      <a:gd name="T51" fmla="*/ 866 h 1032"/>
                      <a:gd name="T52" fmla="*/ 873 w 1125"/>
                      <a:gd name="T53" fmla="*/ 874 h 1032"/>
                      <a:gd name="T54" fmla="*/ 904 w 1125"/>
                      <a:gd name="T55" fmla="*/ 876 h 1032"/>
                      <a:gd name="T56" fmla="*/ 931 w 1125"/>
                      <a:gd name="T57" fmla="*/ 864 h 1032"/>
                      <a:gd name="T58" fmla="*/ 952 w 1125"/>
                      <a:gd name="T59" fmla="*/ 836 h 1032"/>
                      <a:gd name="T60" fmla="*/ 941 w 1125"/>
                      <a:gd name="T61" fmla="*/ 798 h 1032"/>
                      <a:gd name="T62" fmla="*/ 931 w 1125"/>
                      <a:gd name="T63" fmla="*/ 765 h 1032"/>
                      <a:gd name="T64" fmla="*/ 992 w 1125"/>
                      <a:gd name="T65" fmla="*/ 748 h 1032"/>
                      <a:gd name="T66" fmla="*/ 994 w 1125"/>
                      <a:gd name="T67" fmla="*/ 698 h 1032"/>
                      <a:gd name="T68" fmla="*/ 911 w 1125"/>
                      <a:gd name="T69" fmla="*/ 708 h 1032"/>
                      <a:gd name="T70" fmla="*/ 924 w 1125"/>
                      <a:gd name="T71" fmla="*/ 627 h 1032"/>
                      <a:gd name="T72" fmla="*/ 1105 w 1125"/>
                      <a:gd name="T73" fmla="*/ 515 h 1032"/>
                      <a:gd name="T74" fmla="*/ 1107 w 1125"/>
                      <a:gd name="T75" fmla="*/ 489 h 1032"/>
                      <a:gd name="T76" fmla="*/ 1035 w 1125"/>
                      <a:gd name="T77" fmla="*/ 500 h 1032"/>
                      <a:gd name="T78" fmla="*/ 1057 w 1125"/>
                      <a:gd name="T79" fmla="*/ 474 h 1032"/>
                      <a:gd name="T80" fmla="*/ 1037 w 1125"/>
                      <a:gd name="T81" fmla="*/ 441 h 1032"/>
                      <a:gd name="T82" fmla="*/ 984 w 1125"/>
                      <a:gd name="T83" fmla="*/ 357 h 1032"/>
                      <a:gd name="T84" fmla="*/ 949 w 1125"/>
                      <a:gd name="T85" fmla="*/ 369 h 1032"/>
                      <a:gd name="T86" fmla="*/ 916 w 1125"/>
                      <a:gd name="T87" fmla="*/ 318 h 1032"/>
                      <a:gd name="T88" fmla="*/ 874 w 1125"/>
                      <a:gd name="T89" fmla="*/ 301 h 1032"/>
                      <a:gd name="T90" fmla="*/ 856 w 1125"/>
                      <a:gd name="T91" fmla="*/ 339 h 1032"/>
                      <a:gd name="T92" fmla="*/ 836 w 1125"/>
                      <a:gd name="T93" fmla="*/ 323 h 1032"/>
                      <a:gd name="T94" fmla="*/ 791 w 1125"/>
                      <a:gd name="T95" fmla="*/ 243 h 1032"/>
                      <a:gd name="T96" fmla="*/ 769 w 1125"/>
                      <a:gd name="T97" fmla="*/ 171 h 1032"/>
                      <a:gd name="T98" fmla="*/ 743 w 1125"/>
                      <a:gd name="T99" fmla="*/ 141 h 1032"/>
                      <a:gd name="T100" fmla="*/ 688 w 1125"/>
                      <a:gd name="T101" fmla="*/ 127 h 1032"/>
                      <a:gd name="T102" fmla="*/ 665 w 1125"/>
                      <a:gd name="T103" fmla="*/ 82 h 1032"/>
                      <a:gd name="T104" fmla="*/ 655 w 1125"/>
                      <a:gd name="T105" fmla="*/ 35 h 1032"/>
                      <a:gd name="T106" fmla="*/ 537 w 1125"/>
                      <a:gd name="T107" fmla="*/ 25 h 1032"/>
                      <a:gd name="T108" fmla="*/ 401 w 1125"/>
                      <a:gd name="T109" fmla="*/ 188 h 1032"/>
                      <a:gd name="T110" fmla="*/ 238 w 1125"/>
                      <a:gd name="T111" fmla="*/ 318 h 1032"/>
                      <a:gd name="T112" fmla="*/ 126 w 1125"/>
                      <a:gd name="T113" fmla="*/ 284 h 1032"/>
                      <a:gd name="T114" fmla="*/ 0 w 1125"/>
                      <a:gd name="T115" fmla="*/ 451 h 1032"/>
                      <a:gd name="T116" fmla="*/ 86 w 1125"/>
                      <a:gd name="T117" fmla="*/ 514 h 1032"/>
                      <a:gd name="T118" fmla="*/ 133 w 1125"/>
                      <a:gd name="T119" fmla="*/ 617 h 1032"/>
                      <a:gd name="T120" fmla="*/ 185 w 1125"/>
                      <a:gd name="T121" fmla="*/ 760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25" h="1032">
                        <a:moveTo>
                          <a:pt x="193" y="776"/>
                        </a:moveTo>
                        <a:lnTo>
                          <a:pt x="204" y="781"/>
                        </a:lnTo>
                        <a:lnTo>
                          <a:pt x="218" y="779"/>
                        </a:lnTo>
                        <a:lnTo>
                          <a:pt x="226" y="778"/>
                        </a:lnTo>
                        <a:lnTo>
                          <a:pt x="236" y="776"/>
                        </a:lnTo>
                        <a:lnTo>
                          <a:pt x="246" y="776"/>
                        </a:lnTo>
                        <a:lnTo>
                          <a:pt x="256" y="784"/>
                        </a:lnTo>
                        <a:lnTo>
                          <a:pt x="261" y="786"/>
                        </a:lnTo>
                        <a:lnTo>
                          <a:pt x="264" y="781"/>
                        </a:lnTo>
                        <a:lnTo>
                          <a:pt x="273" y="781"/>
                        </a:lnTo>
                        <a:lnTo>
                          <a:pt x="276" y="786"/>
                        </a:lnTo>
                        <a:lnTo>
                          <a:pt x="281" y="791"/>
                        </a:lnTo>
                        <a:lnTo>
                          <a:pt x="284" y="779"/>
                        </a:lnTo>
                        <a:lnTo>
                          <a:pt x="293" y="786"/>
                        </a:lnTo>
                        <a:lnTo>
                          <a:pt x="299" y="781"/>
                        </a:lnTo>
                        <a:lnTo>
                          <a:pt x="307" y="778"/>
                        </a:lnTo>
                        <a:lnTo>
                          <a:pt x="319" y="786"/>
                        </a:lnTo>
                        <a:lnTo>
                          <a:pt x="327" y="791"/>
                        </a:lnTo>
                        <a:lnTo>
                          <a:pt x="339" y="791"/>
                        </a:lnTo>
                        <a:lnTo>
                          <a:pt x="342" y="793"/>
                        </a:lnTo>
                        <a:lnTo>
                          <a:pt x="336" y="798"/>
                        </a:lnTo>
                        <a:lnTo>
                          <a:pt x="347" y="801"/>
                        </a:lnTo>
                        <a:lnTo>
                          <a:pt x="357" y="808"/>
                        </a:lnTo>
                        <a:lnTo>
                          <a:pt x="357" y="818"/>
                        </a:lnTo>
                        <a:lnTo>
                          <a:pt x="362" y="821"/>
                        </a:lnTo>
                        <a:lnTo>
                          <a:pt x="366" y="818"/>
                        </a:lnTo>
                        <a:lnTo>
                          <a:pt x="367" y="811"/>
                        </a:lnTo>
                        <a:lnTo>
                          <a:pt x="381" y="814"/>
                        </a:lnTo>
                        <a:lnTo>
                          <a:pt x="386" y="816"/>
                        </a:lnTo>
                        <a:lnTo>
                          <a:pt x="387" y="821"/>
                        </a:lnTo>
                        <a:lnTo>
                          <a:pt x="396" y="829"/>
                        </a:lnTo>
                        <a:lnTo>
                          <a:pt x="416" y="829"/>
                        </a:lnTo>
                        <a:lnTo>
                          <a:pt x="420" y="836"/>
                        </a:lnTo>
                        <a:lnTo>
                          <a:pt x="424" y="831"/>
                        </a:lnTo>
                        <a:lnTo>
                          <a:pt x="422" y="823"/>
                        </a:lnTo>
                        <a:lnTo>
                          <a:pt x="429" y="813"/>
                        </a:lnTo>
                        <a:lnTo>
                          <a:pt x="442" y="813"/>
                        </a:lnTo>
                        <a:lnTo>
                          <a:pt x="447" y="816"/>
                        </a:lnTo>
                        <a:lnTo>
                          <a:pt x="442" y="824"/>
                        </a:lnTo>
                        <a:lnTo>
                          <a:pt x="442" y="829"/>
                        </a:lnTo>
                        <a:lnTo>
                          <a:pt x="454" y="831"/>
                        </a:lnTo>
                        <a:lnTo>
                          <a:pt x="459" y="833"/>
                        </a:lnTo>
                        <a:lnTo>
                          <a:pt x="455" y="838"/>
                        </a:lnTo>
                        <a:lnTo>
                          <a:pt x="447" y="841"/>
                        </a:lnTo>
                        <a:lnTo>
                          <a:pt x="440" y="858"/>
                        </a:lnTo>
                        <a:lnTo>
                          <a:pt x="442" y="863"/>
                        </a:lnTo>
                        <a:lnTo>
                          <a:pt x="454" y="873"/>
                        </a:lnTo>
                        <a:lnTo>
                          <a:pt x="457" y="881"/>
                        </a:lnTo>
                        <a:lnTo>
                          <a:pt x="464" y="884"/>
                        </a:lnTo>
                        <a:lnTo>
                          <a:pt x="472" y="879"/>
                        </a:lnTo>
                        <a:lnTo>
                          <a:pt x="472" y="874"/>
                        </a:lnTo>
                        <a:lnTo>
                          <a:pt x="475" y="869"/>
                        </a:lnTo>
                        <a:lnTo>
                          <a:pt x="477" y="874"/>
                        </a:lnTo>
                        <a:lnTo>
                          <a:pt x="484" y="883"/>
                        </a:lnTo>
                        <a:lnTo>
                          <a:pt x="480" y="891"/>
                        </a:lnTo>
                        <a:lnTo>
                          <a:pt x="482" y="896"/>
                        </a:lnTo>
                        <a:lnTo>
                          <a:pt x="474" y="906"/>
                        </a:lnTo>
                        <a:lnTo>
                          <a:pt x="472" y="917"/>
                        </a:lnTo>
                        <a:lnTo>
                          <a:pt x="479" y="919"/>
                        </a:lnTo>
                        <a:lnTo>
                          <a:pt x="482" y="926"/>
                        </a:lnTo>
                        <a:lnTo>
                          <a:pt x="487" y="929"/>
                        </a:lnTo>
                        <a:lnTo>
                          <a:pt x="494" y="931"/>
                        </a:lnTo>
                        <a:lnTo>
                          <a:pt x="492" y="936"/>
                        </a:lnTo>
                        <a:lnTo>
                          <a:pt x="489" y="941"/>
                        </a:lnTo>
                        <a:lnTo>
                          <a:pt x="494" y="947"/>
                        </a:lnTo>
                        <a:lnTo>
                          <a:pt x="499" y="942"/>
                        </a:lnTo>
                        <a:lnTo>
                          <a:pt x="504" y="939"/>
                        </a:lnTo>
                        <a:lnTo>
                          <a:pt x="510" y="942"/>
                        </a:lnTo>
                        <a:lnTo>
                          <a:pt x="512" y="947"/>
                        </a:lnTo>
                        <a:lnTo>
                          <a:pt x="507" y="962"/>
                        </a:lnTo>
                        <a:lnTo>
                          <a:pt x="514" y="972"/>
                        </a:lnTo>
                        <a:lnTo>
                          <a:pt x="525" y="974"/>
                        </a:lnTo>
                        <a:lnTo>
                          <a:pt x="530" y="969"/>
                        </a:lnTo>
                        <a:lnTo>
                          <a:pt x="535" y="974"/>
                        </a:lnTo>
                        <a:lnTo>
                          <a:pt x="538" y="984"/>
                        </a:lnTo>
                        <a:lnTo>
                          <a:pt x="553" y="984"/>
                        </a:lnTo>
                        <a:lnTo>
                          <a:pt x="563" y="992"/>
                        </a:lnTo>
                        <a:lnTo>
                          <a:pt x="570" y="995"/>
                        </a:lnTo>
                        <a:lnTo>
                          <a:pt x="568" y="1007"/>
                        </a:lnTo>
                        <a:lnTo>
                          <a:pt x="570" y="1014"/>
                        </a:lnTo>
                        <a:lnTo>
                          <a:pt x="578" y="1012"/>
                        </a:lnTo>
                        <a:lnTo>
                          <a:pt x="585" y="1009"/>
                        </a:lnTo>
                        <a:lnTo>
                          <a:pt x="592" y="1012"/>
                        </a:lnTo>
                        <a:lnTo>
                          <a:pt x="592" y="1022"/>
                        </a:lnTo>
                        <a:lnTo>
                          <a:pt x="595" y="1032"/>
                        </a:lnTo>
                        <a:lnTo>
                          <a:pt x="602" y="1022"/>
                        </a:lnTo>
                        <a:lnTo>
                          <a:pt x="608" y="1025"/>
                        </a:lnTo>
                        <a:lnTo>
                          <a:pt x="622" y="1024"/>
                        </a:lnTo>
                        <a:lnTo>
                          <a:pt x="630" y="1019"/>
                        </a:lnTo>
                        <a:lnTo>
                          <a:pt x="637" y="1014"/>
                        </a:lnTo>
                        <a:lnTo>
                          <a:pt x="643" y="1010"/>
                        </a:lnTo>
                        <a:lnTo>
                          <a:pt x="650" y="1014"/>
                        </a:lnTo>
                        <a:lnTo>
                          <a:pt x="651" y="1009"/>
                        </a:lnTo>
                        <a:lnTo>
                          <a:pt x="647" y="1000"/>
                        </a:lnTo>
                        <a:lnTo>
                          <a:pt x="633" y="1000"/>
                        </a:lnTo>
                        <a:lnTo>
                          <a:pt x="627" y="995"/>
                        </a:lnTo>
                        <a:lnTo>
                          <a:pt x="625" y="991"/>
                        </a:lnTo>
                        <a:lnTo>
                          <a:pt x="630" y="986"/>
                        </a:lnTo>
                        <a:lnTo>
                          <a:pt x="630" y="976"/>
                        </a:lnTo>
                        <a:lnTo>
                          <a:pt x="643" y="967"/>
                        </a:lnTo>
                        <a:lnTo>
                          <a:pt x="651" y="969"/>
                        </a:lnTo>
                        <a:lnTo>
                          <a:pt x="653" y="962"/>
                        </a:lnTo>
                        <a:lnTo>
                          <a:pt x="666" y="961"/>
                        </a:lnTo>
                        <a:lnTo>
                          <a:pt x="675" y="951"/>
                        </a:lnTo>
                        <a:lnTo>
                          <a:pt x="680" y="949"/>
                        </a:lnTo>
                        <a:lnTo>
                          <a:pt x="675" y="944"/>
                        </a:lnTo>
                        <a:lnTo>
                          <a:pt x="680" y="932"/>
                        </a:lnTo>
                        <a:lnTo>
                          <a:pt x="676" y="924"/>
                        </a:lnTo>
                        <a:lnTo>
                          <a:pt x="676" y="912"/>
                        </a:lnTo>
                        <a:lnTo>
                          <a:pt x="680" y="902"/>
                        </a:lnTo>
                        <a:lnTo>
                          <a:pt x="688" y="894"/>
                        </a:lnTo>
                        <a:lnTo>
                          <a:pt x="688" y="889"/>
                        </a:lnTo>
                        <a:lnTo>
                          <a:pt x="683" y="887"/>
                        </a:lnTo>
                        <a:lnTo>
                          <a:pt x="675" y="876"/>
                        </a:lnTo>
                        <a:lnTo>
                          <a:pt x="680" y="868"/>
                        </a:lnTo>
                        <a:lnTo>
                          <a:pt x="680" y="861"/>
                        </a:lnTo>
                        <a:lnTo>
                          <a:pt x="656" y="861"/>
                        </a:lnTo>
                        <a:lnTo>
                          <a:pt x="661" y="846"/>
                        </a:lnTo>
                        <a:lnTo>
                          <a:pt x="673" y="834"/>
                        </a:lnTo>
                        <a:lnTo>
                          <a:pt x="658" y="824"/>
                        </a:lnTo>
                        <a:lnTo>
                          <a:pt x="656" y="819"/>
                        </a:lnTo>
                        <a:lnTo>
                          <a:pt x="666" y="808"/>
                        </a:lnTo>
                        <a:lnTo>
                          <a:pt x="668" y="798"/>
                        </a:lnTo>
                        <a:lnTo>
                          <a:pt x="666" y="786"/>
                        </a:lnTo>
                        <a:lnTo>
                          <a:pt x="670" y="794"/>
                        </a:lnTo>
                        <a:lnTo>
                          <a:pt x="678" y="806"/>
                        </a:lnTo>
                        <a:lnTo>
                          <a:pt x="685" y="804"/>
                        </a:lnTo>
                        <a:lnTo>
                          <a:pt x="690" y="798"/>
                        </a:lnTo>
                        <a:lnTo>
                          <a:pt x="695" y="788"/>
                        </a:lnTo>
                        <a:lnTo>
                          <a:pt x="690" y="786"/>
                        </a:lnTo>
                        <a:lnTo>
                          <a:pt x="675" y="786"/>
                        </a:lnTo>
                        <a:lnTo>
                          <a:pt x="673" y="776"/>
                        </a:lnTo>
                        <a:lnTo>
                          <a:pt x="670" y="770"/>
                        </a:lnTo>
                        <a:lnTo>
                          <a:pt x="670" y="765"/>
                        </a:lnTo>
                        <a:lnTo>
                          <a:pt x="675" y="756"/>
                        </a:lnTo>
                        <a:lnTo>
                          <a:pt x="676" y="761"/>
                        </a:lnTo>
                        <a:lnTo>
                          <a:pt x="681" y="765"/>
                        </a:lnTo>
                        <a:lnTo>
                          <a:pt x="685" y="770"/>
                        </a:lnTo>
                        <a:lnTo>
                          <a:pt x="691" y="776"/>
                        </a:lnTo>
                        <a:lnTo>
                          <a:pt x="703" y="776"/>
                        </a:lnTo>
                        <a:lnTo>
                          <a:pt x="708" y="771"/>
                        </a:lnTo>
                        <a:lnTo>
                          <a:pt x="711" y="766"/>
                        </a:lnTo>
                        <a:lnTo>
                          <a:pt x="713" y="756"/>
                        </a:lnTo>
                        <a:lnTo>
                          <a:pt x="713" y="748"/>
                        </a:lnTo>
                        <a:lnTo>
                          <a:pt x="731" y="748"/>
                        </a:lnTo>
                        <a:lnTo>
                          <a:pt x="740" y="751"/>
                        </a:lnTo>
                        <a:lnTo>
                          <a:pt x="738" y="761"/>
                        </a:lnTo>
                        <a:lnTo>
                          <a:pt x="740" y="770"/>
                        </a:lnTo>
                        <a:lnTo>
                          <a:pt x="731" y="761"/>
                        </a:lnTo>
                        <a:lnTo>
                          <a:pt x="730" y="771"/>
                        </a:lnTo>
                        <a:lnTo>
                          <a:pt x="736" y="776"/>
                        </a:lnTo>
                        <a:lnTo>
                          <a:pt x="748" y="771"/>
                        </a:lnTo>
                        <a:lnTo>
                          <a:pt x="751" y="778"/>
                        </a:lnTo>
                        <a:lnTo>
                          <a:pt x="745" y="781"/>
                        </a:lnTo>
                        <a:lnTo>
                          <a:pt x="736" y="784"/>
                        </a:lnTo>
                        <a:lnTo>
                          <a:pt x="730" y="778"/>
                        </a:lnTo>
                        <a:lnTo>
                          <a:pt x="726" y="775"/>
                        </a:lnTo>
                        <a:lnTo>
                          <a:pt x="726" y="781"/>
                        </a:lnTo>
                        <a:lnTo>
                          <a:pt x="720" y="788"/>
                        </a:lnTo>
                        <a:lnTo>
                          <a:pt x="720" y="794"/>
                        </a:lnTo>
                        <a:lnTo>
                          <a:pt x="728" y="796"/>
                        </a:lnTo>
                        <a:lnTo>
                          <a:pt x="733" y="796"/>
                        </a:lnTo>
                        <a:lnTo>
                          <a:pt x="746" y="801"/>
                        </a:lnTo>
                        <a:lnTo>
                          <a:pt x="755" y="803"/>
                        </a:lnTo>
                        <a:lnTo>
                          <a:pt x="760" y="798"/>
                        </a:lnTo>
                        <a:lnTo>
                          <a:pt x="773" y="803"/>
                        </a:lnTo>
                        <a:lnTo>
                          <a:pt x="779" y="794"/>
                        </a:lnTo>
                        <a:lnTo>
                          <a:pt x="788" y="789"/>
                        </a:lnTo>
                        <a:lnTo>
                          <a:pt x="799" y="794"/>
                        </a:lnTo>
                        <a:lnTo>
                          <a:pt x="801" y="801"/>
                        </a:lnTo>
                        <a:lnTo>
                          <a:pt x="799" y="811"/>
                        </a:lnTo>
                        <a:lnTo>
                          <a:pt x="813" y="823"/>
                        </a:lnTo>
                        <a:lnTo>
                          <a:pt x="806" y="828"/>
                        </a:lnTo>
                        <a:lnTo>
                          <a:pt x="809" y="838"/>
                        </a:lnTo>
                        <a:lnTo>
                          <a:pt x="804" y="839"/>
                        </a:lnTo>
                        <a:lnTo>
                          <a:pt x="798" y="833"/>
                        </a:lnTo>
                        <a:lnTo>
                          <a:pt x="789" y="838"/>
                        </a:lnTo>
                        <a:lnTo>
                          <a:pt x="784" y="844"/>
                        </a:lnTo>
                        <a:lnTo>
                          <a:pt x="786" y="851"/>
                        </a:lnTo>
                        <a:lnTo>
                          <a:pt x="791" y="856"/>
                        </a:lnTo>
                        <a:lnTo>
                          <a:pt x="798" y="866"/>
                        </a:lnTo>
                        <a:lnTo>
                          <a:pt x="786" y="873"/>
                        </a:lnTo>
                        <a:lnTo>
                          <a:pt x="786" y="883"/>
                        </a:lnTo>
                        <a:lnTo>
                          <a:pt x="801" y="889"/>
                        </a:lnTo>
                        <a:lnTo>
                          <a:pt x="788" y="896"/>
                        </a:lnTo>
                        <a:lnTo>
                          <a:pt x="779" y="902"/>
                        </a:lnTo>
                        <a:lnTo>
                          <a:pt x="771" y="901"/>
                        </a:lnTo>
                        <a:lnTo>
                          <a:pt x="763" y="894"/>
                        </a:lnTo>
                        <a:lnTo>
                          <a:pt x="753" y="902"/>
                        </a:lnTo>
                        <a:lnTo>
                          <a:pt x="750" y="911"/>
                        </a:lnTo>
                        <a:lnTo>
                          <a:pt x="751" y="917"/>
                        </a:lnTo>
                        <a:lnTo>
                          <a:pt x="760" y="917"/>
                        </a:lnTo>
                        <a:lnTo>
                          <a:pt x="763" y="924"/>
                        </a:lnTo>
                        <a:lnTo>
                          <a:pt x="764" y="931"/>
                        </a:lnTo>
                        <a:lnTo>
                          <a:pt x="776" y="931"/>
                        </a:lnTo>
                        <a:lnTo>
                          <a:pt x="783" y="929"/>
                        </a:lnTo>
                        <a:lnTo>
                          <a:pt x="783" y="921"/>
                        </a:lnTo>
                        <a:lnTo>
                          <a:pt x="788" y="917"/>
                        </a:lnTo>
                        <a:lnTo>
                          <a:pt x="791" y="922"/>
                        </a:lnTo>
                        <a:lnTo>
                          <a:pt x="799" y="917"/>
                        </a:lnTo>
                        <a:lnTo>
                          <a:pt x="813" y="917"/>
                        </a:lnTo>
                        <a:lnTo>
                          <a:pt x="819" y="907"/>
                        </a:lnTo>
                        <a:lnTo>
                          <a:pt x="813" y="904"/>
                        </a:lnTo>
                        <a:lnTo>
                          <a:pt x="819" y="894"/>
                        </a:lnTo>
                        <a:lnTo>
                          <a:pt x="831" y="889"/>
                        </a:lnTo>
                        <a:lnTo>
                          <a:pt x="838" y="886"/>
                        </a:lnTo>
                        <a:lnTo>
                          <a:pt x="838" y="876"/>
                        </a:lnTo>
                        <a:lnTo>
                          <a:pt x="838" y="866"/>
                        </a:lnTo>
                        <a:lnTo>
                          <a:pt x="838" y="861"/>
                        </a:lnTo>
                        <a:lnTo>
                          <a:pt x="843" y="854"/>
                        </a:lnTo>
                        <a:lnTo>
                          <a:pt x="848" y="859"/>
                        </a:lnTo>
                        <a:lnTo>
                          <a:pt x="846" y="868"/>
                        </a:lnTo>
                        <a:lnTo>
                          <a:pt x="846" y="873"/>
                        </a:lnTo>
                        <a:lnTo>
                          <a:pt x="856" y="869"/>
                        </a:lnTo>
                        <a:lnTo>
                          <a:pt x="863" y="868"/>
                        </a:lnTo>
                        <a:lnTo>
                          <a:pt x="873" y="874"/>
                        </a:lnTo>
                        <a:lnTo>
                          <a:pt x="881" y="873"/>
                        </a:lnTo>
                        <a:lnTo>
                          <a:pt x="891" y="881"/>
                        </a:lnTo>
                        <a:lnTo>
                          <a:pt x="894" y="876"/>
                        </a:lnTo>
                        <a:lnTo>
                          <a:pt x="894" y="871"/>
                        </a:lnTo>
                        <a:lnTo>
                          <a:pt x="899" y="866"/>
                        </a:lnTo>
                        <a:lnTo>
                          <a:pt x="907" y="863"/>
                        </a:lnTo>
                        <a:lnTo>
                          <a:pt x="909" y="871"/>
                        </a:lnTo>
                        <a:lnTo>
                          <a:pt x="904" y="876"/>
                        </a:lnTo>
                        <a:lnTo>
                          <a:pt x="907" y="881"/>
                        </a:lnTo>
                        <a:lnTo>
                          <a:pt x="916" y="883"/>
                        </a:lnTo>
                        <a:lnTo>
                          <a:pt x="924" y="886"/>
                        </a:lnTo>
                        <a:lnTo>
                          <a:pt x="936" y="886"/>
                        </a:lnTo>
                        <a:lnTo>
                          <a:pt x="942" y="878"/>
                        </a:lnTo>
                        <a:lnTo>
                          <a:pt x="942" y="873"/>
                        </a:lnTo>
                        <a:lnTo>
                          <a:pt x="934" y="869"/>
                        </a:lnTo>
                        <a:lnTo>
                          <a:pt x="931" y="864"/>
                        </a:lnTo>
                        <a:lnTo>
                          <a:pt x="929" y="854"/>
                        </a:lnTo>
                        <a:lnTo>
                          <a:pt x="931" y="848"/>
                        </a:lnTo>
                        <a:lnTo>
                          <a:pt x="929" y="838"/>
                        </a:lnTo>
                        <a:lnTo>
                          <a:pt x="927" y="829"/>
                        </a:lnTo>
                        <a:lnTo>
                          <a:pt x="931" y="824"/>
                        </a:lnTo>
                        <a:lnTo>
                          <a:pt x="942" y="833"/>
                        </a:lnTo>
                        <a:lnTo>
                          <a:pt x="944" y="839"/>
                        </a:lnTo>
                        <a:lnTo>
                          <a:pt x="952" y="836"/>
                        </a:lnTo>
                        <a:lnTo>
                          <a:pt x="959" y="831"/>
                        </a:lnTo>
                        <a:lnTo>
                          <a:pt x="962" y="824"/>
                        </a:lnTo>
                        <a:lnTo>
                          <a:pt x="961" y="816"/>
                        </a:lnTo>
                        <a:lnTo>
                          <a:pt x="954" y="809"/>
                        </a:lnTo>
                        <a:lnTo>
                          <a:pt x="956" y="804"/>
                        </a:lnTo>
                        <a:lnTo>
                          <a:pt x="956" y="796"/>
                        </a:lnTo>
                        <a:lnTo>
                          <a:pt x="949" y="793"/>
                        </a:lnTo>
                        <a:lnTo>
                          <a:pt x="941" y="798"/>
                        </a:lnTo>
                        <a:lnTo>
                          <a:pt x="934" y="796"/>
                        </a:lnTo>
                        <a:lnTo>
                          <a:pt x="926" y="791"/>
                        </a:lnTo>
                        <a:lnTo>
                          <a:pt x="926" y="784"/>
                        </a:lnTo>
                        <a:lnTo>
                          <a:pt x="936" y="784"/>
                        </a:lnTo>
                        <a:lnTo>
                          <a:pt x="942" y="784"/>
                        </a:lnTo>
                        <a:lnTo>
                          <a:pt x="937" y="773"/>
                        </a:lnTo>
                        <a:lnTo>
                          <a:pt x="934" y="768"/>
                        </a:lnTo>
                        <a:lnTo>
                          <a:pt x="931" y="765"/>
                        </a:lnTo>
                        <a:lnTo>
                          <a:pt x="934" y="760"/>
                        </a:lnTo>
                        <a:lnTo>
                          <a:pt x="941" y="753"/>
                        </a:lnTo>
                        <a:lnTo>
                          <a:pt x="949" y="751"/>
                        </a:lnTo>
                        <a:lnTo>
                          <a:pt x="959" y="751"/>
                        </a:lnTo>
                        <a:lnTo>
                          <a:pt x="967" y="751"/>
                        </a:lnTo>
                        <a:lnTo>
                          <a:pt x="977" y="746"/>
                        </a:lnTo>
                        <a:lnTo>
                          <a:pt x="982" y="745"/>
                        </a:lnTo>
                        <a:lnTo>
                          <a:pt x="992" y="748"/>
                        </a:lnTo>
                        <a:lnTo>
                          <a:pt x="999" y="748"/>
                        </a:lnTo>
                        <a:lnTo>
                          <a:pt x="1002" y="741"/>
                        </a:lnTo>
                        <a:lnTo>
                          <a:pt x="1007" y="736"/>
                        </a:lnTo>
                        <a:lnTo>
                          <a:pt x="1007" y="731"/>
                        </a:lnTo>
                        <a:lnTo>
                          <a:pt x="1000" y="726"/>
                        </a:lnTo>
                        <a:lnTo>
                          <a:pt x="1002" y="713"/>
                        </a:lnTo>
                        <a:lnTo>
                          <a:pt x="1000" y="700"/>
                        </a:lnTo>
                        <a:lnTo>
                          <a:pt x="994" y="698"/>
                        </a:lnTo>
                        <a:lnTo>
                          <a:pt x="987" y="700"/>
                        </a:lnTo>
                        <a:lnTo>
                          <a:pt x="982" y="708"/>
                        </a:lnTo>
                        <a:lnTo>
                          <a:pt x="981" y="718"/>
                        </a:lnTo>
                        <a:lnTo>
                          <a:pt x="969" y="711"/>
                        </a:lnTo>
                        <a:lnTo>
                          <a:pt x="959" y="716"/>
                        </a:lnTo>
                        <a:lnTo>
                          <a:pt x="942" y="716"/>
                        </a:lnTo>
                        <a:lnTo>
                          <a:pt x="931" y="718"/>
                        </a:lnTo>
                        <a:lnTo>
                          <a:pt x="911" y="708"/>
                        </a:lnTo>
                        <a:lnTo>
                          <a:pt x="904" y="708"/>
                        </a:lnTo>
                        <a:lnTo>
                          <a:pt x="897" y="691"/>
                        </a:lnTo>
                        <a:lnTo>
                          <a:pt x="894" y="680"/>
                        </a:lnTo>
                        <a:lnTo>
                          <a:pt x="894" y="671"/>
                        </a:lnTo>
                        <a:lnTo>
                          <a:pt x="889" y="655"/>
                        </a:lnTo>
                        <a:lnTo>
                          <a:pt x="894" y="638"/>
                        </a:lnTo>
                        <a:lnTo>
                          <a:pt x="907" y="630"/>
                        </a:lnTo>
                        <a:lnTo>
                          <a:pt x="924" y="627"/>
                        </a:lnTo>
                        <a:lnTo>
                          <a:pt x="942" y="608"/>
                        </a:lnTo>
                        <a:lnTo>
                          <a:pt x="951" y="600"/>
                        </a:lnTo>
                        <a:lnTo>
                          <a:pt x="999" y="568"/>
                        </a:lnTo>
                        <a:lnTo>
                          <a:pt x="1019" y="562"/>
                        </a:lnTo>
                        <a:lnTo>
                          <a:pt x="1064" y="537"/>
                        </a:lnTo>
                        <a:lnTo>
                          <a:pt x="1087" y="520"/>
                        </a:lnTo>
                        <a:lnTo>
                          <a:pt x="1099" y="522"/>
                        </a:lnTo>
                        <a:lnTo>
                          <a:pt x="1105" y="515"/>
                        </a:lnTo>
                        <a:lnTo>
                          <a:pt x="1105" y="509"/>
                        </a:lnTo>
                        <a:lnTo>
                          <a:pt x="1113" y="505"/>
                        </a:lnTo>
                        <a:lnTo>
                          <a:pt x="1115" y="499"/>
                        </a:lnTo>
                        <a:lnTo>
                          <a:pt x="1123" y="494"/>
                        </a:lnTo>
                        <a:lnTo>
                          <a:pt x="1125" y="485"/>
                        </a:lnTo>
                        <a:lnTo>
                          <a:pt x="1117" y="484"/>
                        </a:lnTo>
                        <a:lnTo>
                          <a:pt x="1100" y="484"/>
                        </a:lnTo>
                        <a:lnTo>
                          <a:pt x="1107" y="489"/>
                        </a:lnTo>
                        <a:lnTo>
                          <a:pt x="1100" y="492"/>
                        </a:lnTo>
                        <a:lnTo>
                          <a:pt x="1099" y="502"/>
                        </a:lnTo>
                        <a:lnTo>
                          <a:pt x="1090" y="499"/>
                        </a:lnTo>
                        <a:lnTo>
                          <a:pt x="1092" y="489"/>
                        </a:lnTo>
                        <a:lnTo>
                          <a:pt x="1077" y="495"/>
                        </a:lnTo>
                        <a:lnTo>
                          <a:pt x="1059" y="485"/>
                        </a:lnTo>
                        <a:lnTo>
                          <a:pt x="1050" y="495"/>
                        </a:lnTo>
                        <a:lnTo>
                          <a:pt x="1035" y="500"/>
                        </a:lnTo>
                        <a:lnTo>
                          <a:pt x="1024" y="500"/>
                        </a:lnTo>
                        <a:lnTo>
                          <a:pt x="1025" y="510"/>
                        </a:lnTo>
                        <a:lnTo>
                          <a:pt x="1019" y="509"/>
                        </a:lnTo>
                        <a:lnTo>
                          <a:pt x="1017" y="504"/>
                        </a:lnTo>
                        <a:lnTo>
                          <a:pt x="1022" y="489"/>
                        </a:lnTo>
                        <a:lnTo>
                          <a:pt x="1045" y="484"/>
                        </a:lnTo>
                        <a:lnTo>
                          <a:pt x="1057" y="482"/>
                        </a:lnTo>
                        <a:lnTo>
                          <a:pt x="1057" y="474"/>
                        </a:lnTo>
                        <a:lnTo>
                          <a:pt x="1054" y="470"/>
                        </a:lnTo>
                        <a:lnTo>
                          <a:pt x="1047" y="470"/>
                        </a:lnTo>
                        <a:lnTo>
                          <a:pt x="1044" y="475"/>
                        </a:lnTo>
                        <a:lnTo>
                          <a:pt x="1030" y="469"/>
                        </a:lnTo>
                        <a:lnTo>
                          <a:pt x="1027" y="457"/>
                        </a:lnTo>
                        <a:lnTo>
                          <a:pt x="1039" y="460"/>
                        </a:lnTo>
                        <a:lnTo>
                          <a:pt x="1049" y="447"/>
                        </a:lnTo>
                        <a:lnTo>
                          <a:pt x="1037" y="441"/>
                        </a:lnTo>
                        <a:lnTo>
                          <a:pt x="1044" y="429"/>
                        </a:lnTo>
                        <a:lnTo>
                          <a:pt x="1035" y="429"/>
                        </a:lnTo>
                        <a:lnTo>
                          <a:pt x="1024" y="419"/>
                        </a:lnTo>
                        <a:lnTo>
                          <a:pt x="1004" y="391"/>
                        </a:lnTo>
                        <a:lnTo>
                          <a:pt x="1007" y="376"/>
                        </a:lnTo>
                        <a:lnTo>
                          <a:pt x="1000" y="356"/>
                        </a:lnTo>
                        <a:lnTo>
                          <a:pt x="989" y="359"/>
                        </a:lnTo>
                        <a:lnTo>
                          <a:pt x="984" y="357"/>
                        </a:lnTo>
                        <a:lnTo>
                          <a:pt x="977" y="359"/>
                        </a:lnTo>
                        <a:lnTo>
                          <a:pt x="969" y="354"/>
                        </a:lnTo>
                        <a:lnTo>
                          <a:pt x="961" y="359"/>
                        </a:lnTo>
                        <a:lnTo>
                          <a:pt x="969" y="369"/>
                        </a:lnTo>
                        <a:lnTo>
                          <a:pt x="961" y="367"/>
                        </a:lnTo>
                        <a:lnTo>
                          <a:pt x="951" y="379"/>
                        </a:lnTo>
                        <a:lnTo>
                          <a:pt x="944" y="376"/>
                        </a:lnTo>
                        <a:lnTo>
                          <a:pt x="949" y="369"/>
                        </a:lnTo>
                        <a:lnTo>
                          <a:pt x="951" y="361"/>
                        </a:lnTo>
                        <a:lnTo>
                          <a:pt x="956" y="347"/>
                        </a:lnTo>
                        <a:lnTo>
                          <a:pt x="951" y="319"/>
                        </a:lnTo>
                        <a:lnTo>
                          <a:pt x="957" y="313"/>
                        </a:lnTo>
                        <a:lnTo>
                          <a:pt x="949" y="303"/>
                        </a:lnTo>
                        <a:lnTo>
                          <a:pt x="941" y="296"/>
                        </a:lnTo>
                        <a:lnTo>
                          <a:pt x="932" y="306"/>
                        </a:lnTo>
                        <a:lnTo>
                          <a:pt x="916" y="318"/>
                        </a:lnTo>
                        <a:lnTo>
                          <a:pt x="919" y="328"/>
                        </a:lnTo>
                        <a:lnTo>
                          <a:pt x="911" y="328"/>
                        </a:lnTo>
                        <a:lnTo>
                          <a:pt x="907" y="331"/>
                        </a:lnTo>
                        <a:lnTo>
                          <a:pt x="902" y="324"/>
                        </a:lnTo>
                        <a:lnTo>
                          <a:pt x="892" y="318"/>
                        </a:lnTo>
                        <a:lnTo>
                          <a:pt x="896" y="308"/>
                        </a:lnTo>
                        <a:lnTo>
                          <a:pt x="879" y="301"/>
                        </a:lnTo>
                        <a:lnTo>
                          <a:pt x="874" y="301"/>
                        </a:lnTo>
                        <a:lnTo>
                          <a:pt x="876" y="309"/>
                        </a:lnTo>
                        <a:lnTo>
                          <a:pt x="871" y="314"/>
                        </a:lnTo>
                        <a:lnTo>
                          <a:pt x="879" y="318"/>
                        </a:lnTo>
                        <a:lnTo>
                          <a:pt x="879" y="324"/>
                        </a:lnTo>
                        <a:lnTo>
                          <a:pt x="866" y="319"/>
                        </a:lnTo>
                        <a:lnTo>
                          <a:pt x="853" y="318"/>
                        </a:lnTo>
                        <a:lnTo>
                          <a:pt x="856" y="334"/>
                        </a:lnTo>
                        <a:lnTo>
                          <a:pt x="856" y="339"/>
                        </a:lnTo>
                        <a:lnTo>
                          <a:pt x="858" y="347"/>
                        </a:lnTo>
                        <a:lnTo>
                          <a:pt x="858" y="354"/>
                        </a:lnTo>
                        <a:lnTo>
                          <a:pt x="851" y="346"/>
                        </a:lnTo>
                        <a:lnTo>
                          <a:pt x="846" y="349"/>
                        </a:lnTo>
                        <a:lnTo>
                          <a:pt x="836" y="346"/>
                        </a:lnTo>
                        <a:lnTo>
                          <a:pt x="829" y="338"/>
                        </a:lnTo>
                        <a:lnTo>
                          <a:pt x="836" y="329"/>
                        </a:lnTo>
                        <a:lnTo>
                          <a:pt x="836" y="323"/>
                        </a:lnTo>
                        <a:lnTo>
                          <a:pt x="838" y="316"/>
                        </a:lnTo>
                        <a:lnTo>
                          <a:pt x="834" y="313"/>
                        </a:lnTo>
                        <a:lnTo>
                          <a:pt x="839" y="303"/>
                        </a:lnTo>
                        <a:lnTo>
                          <a:pt x="844" y="303"/>
                        </a:lnTo>
                        <a:lnTo>
                          <a:pt x="839" y="289"/>
                        </a:lnTo>
                        <a:lnTo>
                          <a:pt x="831" y="274"/>
                        </a:lnTo>
                        <a:lnTo>
                          <a:pt x="808" y="263"/>
                        </a:lnTo>
                        <a:lnTo>
                          <a:pt x="791" y="243"/>
                        </a:lnTo>
                        <a:lnTo>
                          <a:pt x="791" y="233"/>
                        </a:lnTo>
                        <a:lnTo>
                          <a:pt x="779" y="231"/>
                        </a:lnTo>
                        <a:lnTo>
                          <a:pt x="781" y="203"/>
                        </a:lnTo>
                        <a:lnTo>
                          <a:pt x="774" y="191"/>
                        </a:lnTo>
                        <a:lnTo>
                          <a:pt x="783" y="185"/>
                        </a:lnTo>
                        <a:lnTo>
                          <a:pt x="783" y="176"/>
                        </a:lnTo>
                        <a:lnTo>
                          <a:pt x="771" y="176"/>
                        </a:lnTo>
                        <a:lnTo>
                          <a:pt x="769" y="171"/>
                        </a:lnTo>
                        <a:lnTo>
                          <a:pt x="764" y="168"/>
                        </a:lnTo>
                        <a:lnTo>
                          <a:pt x="764" y="155"/>
                        </a:lnTo>
                        <a:lnTo>
                          <a:pt x="769" y="148"/>
                        </a:lnTo>
                        <a:lnTo>
                          <a:pt x="768" y="136"/>
                        </a:lnTo>
                        <a:lnTo>
                          <a:pt x="760" y="141"/>
                        </a:lnTo>
                        <a:lnTo>
                          <a:pt x="758" y="135"/>
                        </a:lnTo>
                        <a:lnTo>
                          <a:pt x="750" y="141"/>
                        </a:lnTo>
                        <a:lnTo>
                          <a:pt x="743" y="141"/>
                        </a:lnTo>
                        <a:lnTo>
                          <a:pt x="740" y="136"/>
                        </a:lnTo>
                        <a:lnTo>
                          <a:pt x="736" y="143"/>
                        </a:lnTo>
                        <a:lnTo>
                          <a:pt x="725" y="141"/>
                        </a:lnTo>
                        <a:lnTo>
                          <a:pt x="720" y="133"/>
                        </a:lnTo>
                        <a:lnTo>
                          <a:pt x="708" y="131"/>
                        </a:lnTo>
                        <a:lnTo>
                          <a:pt x="710" y="125"/>
                        </a:lnTo>
                        <a:lnTo>
                          <a:pt x="695" y="118"/>
                        </a:lnTo>
                        <a:lnTo>
                          <a:pt x="688" y="127"/>
                        </a:lnTo>
                        <a:lnTo>
                          <a:pt x="673" y="125"/>
                        </a:lnTo>
                        <a:lnTo>
                          <a:pt x="668" y="133"/>
                        </a:lnTo>
                        <a:lnTo>
                          <a:pt x="663" y="131"/>
                        </a:lnTo>
                        <a:lnTo>
                          <a:pt x="663" y="122"/>
                        </a:lnTo>
                        <a:lnTo>
                          <a:pt x="658" y="110"/>
                        </a:lnTo>
                        <a:lnTo>
                          <a:pt x="665" y="107"/>
                        </a:lnTo>
                        <a:lnTo>
                          <a:pt x="668" y="100"/>
                        </a:lnTo>
                        <a:lnTo>
                          <a:pt x="665" y="82"/>
                        </a:lnTo>
                        <a:lnTo>
                          <a:pt x="670" y="67"/>
                        </a:lnTo>
                        <a:lnTo>
                          <a:pt x="655" y="72"/>
                        </a:lnTo>
                        <a:lnTo>
                          <a:pt x="655" y="65"/>
                        </a:lnTo>
                        <a:lnTo>
                          <a:pt x="651" y="60"/>
                        </a:lnTo>
                        <a:lnTo>
                          <a:pt x="656" y="52"/>
                        </a:lnTo>
                        <a:lnTo>
                          <a:pt x="661" y="53"/>
                        </a:lnTo>
                        <a:lnTo>
                          <a:pt x="663" y="42"/>
                        </a:lnTo>
                        <a:lnTo>
                          <a:pt x="655" y="35"/>
                        </a:lnTo>
                        <a:lnTo>
                          <a:pt x="610" y="33"/>
                        </a:lnTo>
                        <a:lnTo>
                          <a:pt x="588" y="30"/>
                        </a:lnTo>
                        <a:lnTo>
                          <a:pt x="582" y="20"/>
                        </a:lnTo>
                        <a:lnTo>
                          <a:pt x="593" y="12"/>
                        </a:lnTo>
                        <a:lnTo>
                          <a:pt x="593" y="0"/>
                        </a:lnTo>
                        <a:lnTo>
                          <a:pt x="578" y="7"/>
                        </a:lnTo>
                        <a:lnTo>
                          <a:pt x="573" y="15"/>
                        </a:lnTo>
                        <a:lnTo>
                          <a:pt x="537" y="25"/>
                        </a:lnTo>
                        <a:lnTo>
                          <a:pt x="522" y="30"/>
                        </a:lnTo>
                        <a:lnTo>
                          <a:pt x="514" y="67"/>
                        </a:lnTo>
                        <a:lnTo>
                          <a:pt x="497" y="105"/>
                        </a:lnTo>
                        <a:lnTo>
                          <a:pt x="474" y="138"/>
                        </a:lnTo>
                        <a:lnTo>
                          <a:pt x="464" y="145"/>
                        </a:lnTo>
                        <a:lnTo>
                          <a:pt x="459" y="158"/>
                        </a:lnTo>
                        <a:lnTo>
                          <a:pt x="444" y="166"/>
                        </a:lnTo>
                        <a:lnTo>
                          <a:pt x="401" y="188"/>
                        </a:lnTo>
                        <a:lnTo>
                          <a:pt x="381" y="203"/>
                        </a:lnTo>
                        <a:lnTo>
                          <a:pt x="369" y="231"/>
                        </a:lnTo>
                        <a:lnTo>
                          <a:pt x="361" y="249"/>
                        </a:lnTo>
                        <a:lnTo>
                          <a:pt x="331" y="274"/>
                        </a:lnTo>
                        <a:lnTo>
                          <a:pt x="321" y="298"/>
                        </a:lnTo>
                        <a:lnTo>
                          <a:pt x="316" y="311"/>
                        </a:lnTo>
                        <a:lnTo>
                          <a:pt x="286" y="318"/>
                        </a:lnTo>
                        <a:lnTo>
                          <a:pt x="238" y="318"/>
                        </a:lnTo>
                        <a:lnTo>
                          <a:pt x="198" y="331"/>
                        </a:lnTo>
                        <a:lnTo>
                          <a:pt x="178" y="336"/>
                        </a:lnTo>
                        <a:lnTo>
                          <a:pt x="170" y="333"/>
                        </a:lnTo>
                        <a:lnTo>
                          <a:pt x="165" y="319"/>
                        </a:lnTo>
                        <a:lnTo>
                          <a:pt x="160" y="301"/>
                        </a:lnTo>
                        <a:lnTo>
                          <a:pt x="153" y="288"/>
                        </a:lnTo>
                        <a:lnTo>
                          <a:pt x="138" y="284"/>
                        </a:lnTo>
                        <a:lnTo>
                          <a:pt x="126" y="284"/>
                        </a:lnTo>
                        <a:lnTo>
                          <a:pt x="111" y="299"/>
                        </a:lnTo>
                        <a:lnTo>
                          <a:pt x="91" y="316"/>
                        </a:lnTo>
                        <a:lnTo>
                          <a:pt x="81" y="339"/>
                        </a:lnTo>
                        <a:lnTo>
                          <a:pt x="65" y="357"/>
                        </a:lnTo>
                        <a:lnTo>
                          <a:pt x="45" y="377"/>
                        </a:lnTo>
                        <a:lnTo>
                          <a:pt x="20" y="394"/>
                        </a:lnTo>
                        <a:lnTo>
                          <a:pt x="5" y="424"/>
                        </a:lnTo>
                        <a:lnTo>
                          <a:pt x="0" y="451"/>
                        </a:lnTo>
                        <a:lnTo>
                          <a:pt x="2" y="460"/>
                        </a:lnTo>
                        <a:lnTo>
                          <a:pt x="18" y="472"/>
                        </a:lnTo>
                        <a:lnTo>
                          <a:pt x="37" y="480"/>
                        </a:lnTo>
                        <a:lnTo>
                          <a:pt x="43" y="489"/>
                        </a:lnTo>
                        <a:lnTo>
                          <a:pt x="62" y="487"/>
                        </a:lnTo>
                        <a:lnTo>
                          <a:pt x="76" y="489"/>
                        </a:lnTo>
                        <a:lnTo>
                          <a:pt x="86" y="497"/>
                        </a:lnTo>
                        <a:lnTo>
                          <a:pt x="86" y="514"/>
                        </a:lnTo>
                        <a:lnTo>
                          <a:pt x="80" y="540"/>
                        </a:lnTo>
                        <a:lnTo>
                          <a:pt x="76" y="555"/>
                        </a:lnTo>
                        <a:lnTo>
                          <a:pt x="68" y="567"/>
                        </a:lnTo>
                        <a:lnTo>
                          <a:pt x="73" y="588"/>
                        </a:lnTo>
                        <a:lnTo>
                          <a:pt x="90" y="612"/>
                        </a:lnTo>
                        <a:lnTo>
                          <a:pt x="98" y="623"/>
                        </a:lnTo>
                        <a:lnTo>
                          <a:pt x="121" y="622"/>
                        </a:lnTo>
                        <a:lnTo>
                          <a:pt x="133" y="617"/>
                        </a:lnTo>
                        <a:lnTo>
                          <a:pt x="140" y="625"/>
                        </a:lnTo>
                        <a:lnTo>
                          <a:pt x="141" y="645"/>
                        </a:lnTo>
                        <a:lnTo>
                          <a:pt x="141" y="663"/>
                        </a:lnTo>
                        <a:lnTo>
                          <a:pt x="146" y="676"/>
                        </a:lnTo>
                        <a:lnTo>
                          <a:pt x="166" y="706"/>
                        </a:lnTo>
                        <a:lnTo>
                          <a:pt x="168" y="725"/>
                        </a:lnTo>
                        <a:lnTo>
                          <a:pt x="175" y="745"/>
                        </a:lnTo>
                        <a:lnTo>
                          <a:pt x="185" y="760"/>
                        </a:lnTo>
                        <a:lnTo>
                          <a:pt x="188" y="776"/>
                        </a:lnTo>
                        <a:lnTo>
                          <a:pt x="193" y="776"/>
                        </a:lnTo>
                        <a:lnTo>
                          <a:pt x="193" y="776"/>
                        </a:lnTo>
                        <a:lnTo>
                          <a:pt x="193" y="776"/>
                        </a:lnTo>
                        <a:close/>
                      </a:path>
                    </a:pathLst>
                  </a:custGeom>
                  <a:solidFill>
                    <a:srgbClr val="77B8E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a:latin typeface="Proxima Nova A" panose="02000506030000020004" pitchFamily="2" charset="0"/>
                    </a:endParaRPr>
                  </a:p>
                </p:txBody>
              </p:sp>
              <p:sp>
                <p:nvSpPr>
                  <p:cNvPr id="163" name="Freeform 1116">
                    <a:extLst>
                      <a:ext uri="{FF2B5EF4-FFF2-40B4-BE49-F238E27FC236}">
                        <a16:creationId xmlns:a16="http://schemas.microsoft.com/office/drawing/2014/main" id="{7431A0FB-BDA1-4EF6-9743-30F9C314BA98}"/>
                      </a:ext>
                    </a:extLst>
                  </p:cNvPr>
                  <p:cNvSpPr>
                    <a:spLocks/>
                  </p:cNvSpPr>
                  <p:nvPr/>
                </p:nvSpPr>
                <p:spPr bwMode="auto">
                  <a:xfrm>
                    <a:off x="2147887" y="3154053"/>
                    <a:ext cx="1144039" cy="921855"/>
                  </a:xfrm>
                  <a:custGeom>
                    <a:avLst/>
                    <a:gdLst>
                      <a:gd name="T0" fmla="*/ 786 w 829"/>
                      <a:gd name="T1" fmla="*/ 473 h 668"/>
                      <a:gd name="T2" fmla="*/ 736 w 829"/>
                      <a:gd name="T3" fmla="*/ 452 h 668"/>
                      <a:gd name="T4" fmla="*/ 771 w 829"/>
                      <a:gd name="T5" fmla="*/ 407 h 668"/>
                      <a:gd name="T6" fmla="*/ 793 w 829"/>
                      <a:gd name="T7" fmla="*/ 350 h 668"/>
                      <a:gd name="T8" fmla="*/ 781 w 829"/>
                      <a:gd name="T9" fmla="*/ 327 h 668"/>
                      <a:gd name="T10" fmla="*/ 806 w 829"/>
                      <a:gd name="T11" fmla="*/ 257 h 668"/>
                      <a:gd name="T12" fmla="*/ 768 w 829"/>
                      <a:gd name="T13" fmla="*/ 209 h 668"/>
                      <a:gd name="T14" fmla="*/ 706 w 829"/>
                      <a:gd name="T15" fmla="*/ 173 h 668"/>
                      <a:gd name="T16" fmla="*/ 693 w 829"/>
                      <a:gd name="T17" fmla="*/ 116 h 668"/>
                      <a:gd name="T18" fmla="*/ 653 w 829"/>
                      <a:gd name="T19" fmla="*/ 90 h 668"/>
                      <a:gd name="T20" fmla="*/ 641 w 829"/>
                      <a:gd name="T21" fmla="*/ 38 h 668"/>
                      <a:gd name="T22" fmla="*/ 580 w 829"/>
                      <a:gd name="T23" fmla="*/ 43 h 668"/>
                      <a:gd name="T24" fmla="*/ 530 w 829"/>
                      <a:gd name="T25" fmla="*/ 11 h 668"/>
                      <a:gd name="T26" fmla="*/ 455 w 829"/>
                      <a:gd name="T27" fmla="*/ 2 h 668"/>
                      <a:gd name="T28" fmla="*/ 389 w 829"/>
                      <a:gd name="T29" fmla="*/ 33 h 668"/>
                      <a:gd name="T30" fmla="*/ 344 w 829"/>
                      <a:gd name="T31" fmla="*/ 61 h 668"/>
                      <a:gd name="T32" fmla="*/ 263 w 829"/>
                      <a:gd name="T33" fmla="*/ 45 h 668"/>
                      <a:gd name="T34" fmla="*/ 160 w 829"/>
                      <a:gd name="T35" fmla="*/ 38 h 668"/>
                      <a:gd name="T36" fmla="*/ 90 w 829"/>
                      <a:gd name="T37" fmla="*/ 30 h 668"/>
                      <a:gd name="T38" fmla="*/ 13 w 829"/>
                      <a:gd name="T39" fmla="*/ 80 h 668"/>
                      <a:gd name="T40" fmla="*/ 22 w 829"/>
                      <a:gd name="T41" fmla="*/ 131 h 668"/>
                      <a:gd name="T42" fmla="*/ 76 w 829"/>
                      <a:gd name="T43" fmla="*/ 100 h 668"/>
                      <a:gd name="T44" fmla="*/ 30 w 829"/>
                      <a:gd name="T45" fmla="*/ 138 h 668"/>
                      <a:gd name="T46" fmla="*/ 45 w 829"/>
                      <a:gd name="T47" fmla="*/ 176 h 668"/>
                      <a:gd name="T48" fmla="*/ 165 w 829"/>
                      <a:gd name="T49" fmla="*/ 257 h 668"/>
                      <a:gd name="T50" fmla="*/ 248 w 829"/>
                      <a:gd name="T51" fmla="*/ 231 h 668"/>
                      <a:gd name="T52" fmla="*/ 314 w 829"/>
                      <a:gd name="T53" fmla="*/ 213 h 668"/>
                      <a:gd name="T54" fmla="*/ 302 w 829"/>
                      <a:gd name="T55" fmla="*/ 239 h 668"/>
                      <a:gd name="T56" fmla="*/ 276 w 829"/>
                      <a:gd name="T57" fmla="*/ 259 h 668"/>
                      <a:gd name="T58" fmla="*/ 213 w 829"/>
                      <a:gd name="T59" fmla="*/ 311 h 668"/>
                      <a:gd name="T60" fmla="*/ 178 w 829"/>
                      <a:gd name="T61" fmla="*/ 316 h 668"/>
                      <a:gd name="T62" fmla="*/ 146 w 829"/>
                      <a:gd name="T63" fmla="*/ 327 h 668"/>
                      <a:gd name="T64" fmla="*/ 116 w 829"/>
                      <a:gd name="T65" fmla="*/ 306 h 668"/>
                      <a:gd name="T66" fmla="*/ 85 w 829"/>
                      <a:gd name="T67" fmla="*/ 316 h 668"/>
                      <a:gd name="T68" fmla="*/ 248 w 829"/>
                      <a:gd name="T69" fmla="*/ 523 h 668"/>
                      <a:gd name="T70" fmla="*/ 346 w 829"/>
                      <a:gd name="T71" fmla="*/ 561 h 668"/>
                      <a:gd name="T72" fmla="*/ 435 w 829"/>
                      <a:gd name="T73" fmla="*/ 530 h 668"/>
                      <a:gd name="T74" fmla="*/ 518 w 829"/>
                      <a:gd name="T75" fmla="*/ 470 h 668"/>
                      <a:gd name="T76" fmla="*/ 518 w 829"/>
                      <a:gd name="T77" fmla="*/ 425 h 668"/>
                      <a:gd name="T78" fmla="*/ 507 w 829"/>
                      <a:gd name="T79" fmla="*/ 399 h 668"/>
                      <a:gd name="T80" fmla="*/ 537 w 829"/>
                      <a:gd name="T81" fmla="*/ 357 h 668"/>
                      <a:gd name="T82" fmla="*/ 573 w 829"/>
                      <a:gd name="T83" fmla="*/ 355 h 668"/>
                      <a:gd name="T84" fmla="*/ 588 w 829"/>
                      <a:gd name="T85" fmla="*/ 369 h 668"/>
                      <a:gd name="T86" fmla="*/ 593 w 829"/>
                      <a:gd name="T87" fmla="*/ 399 h 668"/>
                      <a:gd name="T88" fmla="*/ 565 w 829"/>
                      <a:gd name="T89" fmla="*/ 443 h 668"/>
                      <a:gd name="T90" fmla="*/ 585 w 829"/>
                      <a:gd name="T91" fmla="*/ 472 h 668"/>
                      <a:gd name="T92" fmla="*/ 570 w 829"/>
                      <a:gd name="T93" fmla="*/ 495 h 668"/>
                      <a:gd name="T94" fmla="*/ 575 w 829"/>
                      <a:gd name="T95" fmla="*/ 517 h 668"/>
                      <a:gd name="T96" fmla="*/ 588 w 829"/>
                      <a:gd name="T97" fmla="*/ 535 h 668"/>
                      <a:gd name="T98" fmla="*/ 607 w 829"/>
                      <a:gd name="T99" fmla="*/ 566 h 668"/>
                      <a:gd name="T100" fmla="*/ 598 w 829"/>
                      <a:gd name="T101" fmla="*/ 636 h 668"/>
                      <a:gd name="T102" fmla="*/ 615 w 829"/>
                      <a:gd name="T103" fmla="*/ 640 h 668"/>
                      <a:gd name="T104" fmla="*/ 648 w 829"/>
                      <a:gd name="T105" fmla="*/ 659 h 668"/>
                      <a:gd name="T106" fmla="*/ 666 w 829"/>
                      <a:gd name="T107" fmla="*/ 598 h 668"/>
                      <a:gd name="T108" fmla="*/ 725 w 829"/>
                      <a:gd name="T109" fmla="*/ 595 h 668"/>
                      <a:gd name="T110" fmla="*/ 706 w 829"/>
                      <a:gd name="T111" fmla="*/ 527 h 668"/>
                      <a:gd name="T112" fmla="*/ 749 w 829"/>
                      <a:gd name="T113" fmla="*/ 488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9" h="668">
                        <a:moveTo>
                          <a:pt x="749" y="488"/>
                        </a:moveTo>
                        <a:lnTo>
                          <a:pt x="769" y="483"/>
                        </a:lnTo>
                        <a:lnTo>
                          <a:pt x="776" y="483"/>
                        </a:lnTo>
                        <a:lnTo>
                          <a:pt x="783" y="478"/>
                        </a:lnTo>
                        <a:lnTo>
                          <a:pt x="794" y="480"/>
                        </a:lnTo>
                        <a:lnTo>
                          <a:pt x="803" y="477"/>
                        </a:lnTo>
                        <a:lnTo>
                          <a:pt x="803" y="468"/>
                        </a:lnTo>
                        <a:lnTo>
                          <a:pt x="794" y="468"/>
                        </a:lnTo>
                        <a:lnTo>
                          <a:pt x="786" y="473"/>
                        </a:lnTo>
                        <a:lnTo>
                          <a:pt x="779" y="468"/>
                        </a:lnTo>
                        <a:lnTo>
                          <a:pt x="768" y="465"/>
                        </a:lnTo>
                        <a:lnTo>
                          <a:pt x="756" y="468"/>
                        </a:lnTo>
                        <a:lnTo>
                          <a:pt x="744" y="473"/>
                        </a:lnTo>
                        <a:lnTo>
                          <a:pt x="735" y="472"/>
                        </a:lnTo>
                        <a:lnTo>
                          <a:pt x="730" y="465"/>
                        </a:lnTo>
                        <a:lnTo>
                          <a:pt x="730" y="460"/>
                        </a:lnTo>
                        <a:lnTo>
                          <a:pt x="726" y="457"/>
                        </a:lnTo>
                        <a:lnTo>
                          <a:pt x="736" y="452"/>
                        </a:lnTo>
                        <a:lnTo>
                          <a:pt x="741" y="450"/>
                        </a:lnTo>
                        <a:lnTo>
                          <a:pt x="741" y="445"/>
                        </a:lnTo>
                        <a:lnTo>
                          <a:pt x="733" y="435"/>
                        </a:lnTo>
                        <a:lnTo>
                          <a:pt x="733" y="430"/>
                        </a:lnTo>
                        <a:lnTo>
                          <a:pt x="738" y="425"/>
                        </a:lnTo>
                        <a:lnTo>
                          <a:pt x="751" y="424"/>
                        </a:lnTo>
                        <a:lnTo>
                          <a:pt x="763" y="417"/>
                        </a:lnTo>
                        <a:lnTo>
                          <a:pt x="763" y="409"/>
                        </a:lnTo>
                        <a:lnTo>
                          <a:pt x="771" y="407"/>
                        </a:lnTo>
                        <a:lnTo>
                          <a:pt x="776" y="399"/>
                        </a:lnTo>
                        <a:lnTo>
                          <a:pt x="776" y="387"/>
                        </a:lnTo>
                        <a:lnTo>
                          <a:pt x="778" y="379"/>
                        </a:lnTo>
                        <a:lnTo>
                          <a:pt x="768" y="365"/>
                        </a:lnTo>
                        <a:lnTo>
                          <a:pt x="768" y="359"/>
                        </a:lnTo>
                        <a:lnTo>
                          <a:pt x="771" y="350"/>
                        </a:lnTo>
                        <a:lnTo>
                          <a:pt x="779" y="352"/>
                        </a:lnTo>
                        <a:lnTo>
                          <a:pt x="784" y="357"/>
                        </a:lnTo>
                        <a:lnTo>
                          <a:pt x="793" y="350"/>
                        </a:lnTo>
                        <a:lnTo>
                          <a:pt x="798" y="342"/>
                        </a:lnTo>
                        <a:lnTo>
                          <a:pt x="791" y="340"/>
                        </a:lnTo>
                        <a:lnTo>
                          <a:pt x="786" y="335"/>
                        </a:lnTo>
                        <a:lnTo>
                          <a:pt x="781" y="337"/>
                        </a:lnTo>
                        <a:lnTo>
                          <a:pt x="774" y="342"/>
                        </a:lnTo>
                        <a:lnTo>
                          <a:pt x="769" y="334"/>
                        </a:lnTo>
                        <a:lnTo>
                          <a:pt x="764" y="332"/>
                        </a:lnTo>
                        <a:lnTo>
                          <a:pt x="769" y="324"/>
                        </a:lnTo>
                        <a:lnTo>
                          <a:pt x="781" y="327"/>
                        </a:lnTo>
                        <a:lnTo>
                          <a:pt x="798" y="317"/>
                        </a:lnTo>
                        <a:lnTo>
                          <a:pt x="811" y="317"/>
                        </a:lnTo>
                        <a:lnTo>
                          <a:pt x="819" y="297"/>
                        </a:lnTo>
                        <a:lnTo>
                          <a:pt x="829" y="286"/>
                        </a:lnTo>
                        <a:lnTo>
                          <a:pt x="829" y="277"/>
                        </a:lnTo>
                        <a:lnTo>
                          <a:pt x="821" y="277"/>
                        </a:lnTo>
                        <a:lnTo>
                          <a:pt x="814" y="276"/>
                        </a:lnTo>
                        <a:lnTo>
                          <a:pt x="809" y="266"/>
                        </a:lnTo>
                        <a:lnTo>
                          <a:pt x="806" y="257"/>
                        </a:lnTo>
                        <a:lnTo>
                          <a:pt x="803" y="247"/>
                        </a:lnTo>
                        <a:lnTo>
                          <a:pt x="803" y="237"/>
                        </a:lnTo>
                        <a:lnTo>
                          <a:pt x="796" y="234"/>
                        </a:lnTo>
                        <a:lnTo>
                          <a:pt x="789" y="237"/>
                        </a:lnTo>
                        <a:lnTo>
                          <a:pt x="781" y="239"/>
                        </a:lnTo>
                        <a:lnTo>
                          <a:pt x="781" y="232"/>
                        </a:lnTo>
                        <a:lnTo>
                          <a:pt x="783" y="221"/>
                        </a:lnTo>
                        <a:lnTo>
                          <a:pt x="774" y="219"/>
                        </a:lnTo>
                        <a:lnTo>
                          <a:pt x="768" y="209"/>
                        </a:lnTo>
                        <a:lnTo>
                          <a:pt x="749" y="209"/>
                        </a:lnTo>
                        <a:lnTo>
                          <a:pt x="743" y="194"/>
                        </a:lnTo>
                        <a:lnTo>
                          <a:pt x="738" y="199"/>
                        </a:lnTo>
                        <a:lnTo>
                          <a:pt x="725" y="198"/>
                        </a:lnTo>
                        <a:lnTo>
                          <a:pt x="720" y="189"/>
                        </a:lnTo>
                        <a:lnTo>
                          <a:pt x="725" y="174"/>
                        </a:lnTo>
                        <a:lnTo>
                          <a:pt x="723" y="166"/>
                        </a:lnTo>
                        <a:lnTo>
                          <a:pt x="716" y="164"/>
                        </a:lnTo>
                        <a:lnTo>
                          <a:pt x="706" y="173"/>
                        </a:lnTo>
                        <a:lnTo>
                          <a:pt x="700" y="166"/>
                        </a:lnTo>
                        <a:lnTo>
                          <a:pt x="706" y="156"/>
                        </a:lnTo>
                        <a:lnTo>
                          <a:pt x="701" y="156"/>
                        </a:lnTo>
                        <a:lnTo>
                          <a:pt x="693" y="151"/>
                        </a:lnTo>
                        <a:lnTo>
                          <a:pt x="691" y="146"/>
                        </a:lnTo>
                        <a:lnTo>
                          <a:pt x="683" y="143"/>
                        </a:lnTo>
                        <a:lnTo>
                          <a:pt x="686" y="133"/>
                        </a:lnTo>
                        <a:lnTo>
                          <a:pt x="695" y="123"/>
                        </a:lnTo>
                        <a:lnTo>
                          <a:pt x="693" y="116"/>
                        </a:lnTo>
                        <a:lnTo>
                          <a:pt x="696" y="110"/>
                        </a:lnTo>
                        <a:lnTo>
                          <a:pt x="690" y="100"/>
                        </a:lnTo>
                        <a:lnTo>
                          <a:pt x="686" y="95"/>
                        </a:lnTo>
                        <a:lnTo>
                          <a:pt x="683" y="100"/>
                        </a:lnTo>
                        <a:lnTo>
                          <a:pt x="683" y="106"/>
                        </a:lnTo>
                        <a:lnTo>
                          <a:pt x="675" y="111"/>
                        </a:lnTo>
                        <a:lnTo>
                          <a:pt x="670" y="106"/>
                        </a:lnTo>
                        <a:lnTo>
                          <a:pt x="666" y="100"/>
                        </a:lnTo>
                        <a:lnTo>
                          <a:pt x="653" y="90"/>
                        </a:lnTo>
                        <a:lnTo>
                          <a:pt x="653" y="83"/>
                        </a:lnTo>
                        <a:lnTo>
                          <a:pt x="660" y="66"/>
                        </a:lnTo>
                        <a:lnTo>
                          <a:pt x="666" y="63"/>
                        </a:lnTo>
                        <a:lnTo>
                          <a:pt x="671" y="58"/>
                        </a:lnTo>
                        <a:lnTo>
                          <a:pt x="655" y="55"/>
                        </a:lnTo>
                        <a:lnTo>
                          <a:pt x="655" y="51"/>
                        </a:lnTo>
                        <a:lnTo>
                          <a:pt x="661" y="43"/>
                        </a:lnTo>
                        <a:lnTo>
                          <a:pt x="656" y="38"/>
                        </a:lnTo>
                        <a:lnTo>
                          <a:pt x="641" y="38"/>
                        </a:lnTo>
                        <a:lnTo>
                          <a:pt x="635" y="46"/>
                        </a:lnTo>
                        <a:lnTo>
                          <a:pt x="636" y="58"/>
                        </a:lnTo>
                        <a:lnTo>
                          <a:pt x="633" y="63"/>
                        </a:lnTo>
                        <a:lnTo>
                          <a:pt x="627" y="55"/>
                        </a:lnTo>
                        <a:lnTo>
                          <a:pt x="607" y="55"/>
                        </a:lnTo>
                        <a:lnTo>
                          <a:pt x="598" y="46"/>
                        </a:lnTo>
                        <a:lnTo>
                          <a:pt x="597" y="41"/>
                        </a:lnTo>
                        <a:lnTo>
                          <a:pt x="580" y="36"/>
                        </a:lnTo>
                        <a:lnTo>
                          <a:pt x="580" y="43"/>
                        </a:lnTo>
                        <a:lnTo>
                          <a:pt x="575" y="46"/>
                        </a:lnTo>
                        <a:lnTo>
                          <a:pt x="570" y="45"/>
                        </a:lnTo>
                        <a:lnTo>
                          <a:pt x="570" y="35"/>
                        </a:lnTo>
                        <a:lnTo>
                          <a:pt x="553" y="26"/>
                        </a:lnTo>
                        <a:lnTo>
                          <a:pt x="547" y="25"/>
                        </a:lnTo>
                        <a:lnTo>
                          <a:pt x="555" y="18"/>
                        </a:lnTo>
                        <a:lnTo>
                          <a:pt x="548" y="15"/>
                        </a:lnTo>
                        <a:lnTo>
                          <a:pt x="538" y="16"/>
                        </a:lnTo>
                        <a:lnTo>
                          <a:pt x="530" y="11"/>
                        </a:lnTo>
                        <a:lnTo>
                          <a:pt x="518" y="5"/>
                        </a:lnTo>
                        <a:lnTo>
                          <a:pt x="510" y="8"/>
                        </a:lnTo>
                        <a:lnTo>
                          <a:pt x="505" y="13"/>
                        </a:lnTo>
                        <a:lnTo>
                          <a:pt x="492" y="5"/>
                        </a:lnTo>
                        <a:lnTo>
                          <a:pt x="495" y="18"/>
                        </a:lnTo>
                        <a:lnTo>
                          <a:pt x="484" y="10"/>
                        </a:lnTo>
                        <a:lnTo>
                          <a:pt x="477" y="6"/>
                        </a:lnTo>
                        <a:lnTo>
                          <a:pt x="472" y="13"/>
                        </a:lnTo>
                        <a:lnTo>
                          <a:pt x="455" y="2"/>
                        </a:lnTo>
                        <a:lnTo>
                          <a:pt x="445" y="3"/>
                        </a:lnTo>
                        <a:lnTo>
                          <a:pt x="437" y="5"/>
                        </a:lnTo>
                        <a:lnTo>
                          <a:pt x="422" y="6"/>
                        </a:lnTo>
                        <a:lnTo>
                          <a:pt x="417" y="8"/>
                        </a:lnTo>
                        <a:lnTo>
                          <a:pt x="399" y="0"/>
                        </a:lnTo>
                        <a:lnTo>
                          <a:pt x="386" y="5"/>
                        </a:lnTo>
                        <a:lnTo>
                          <a:pt x="386" y="16"/>
                        </a:lnTo>
                        <a:lnTo>
                          <a:pt x="384" y="26"/>
                        </a:lnTo>
                        <a:lnTo>
                          <a:pt x="389" y="33"/>
                        </a:lnTo>
                        <a:lnTo>
                          <a:pt x="396" y="33"/>
                        </a:lnTo>
                        <a:lnTo>
                          <a:pt x="399" y="38"/>
                        </a:lnTo>
                        <a:lnTo>
                          <a:pt x="394" y="41"/>
                        </a:lnTo>
                        <a:lnTo>
                          <a:pt x="384" y="46"/>
                        </a:lnTo>
                        <a:lnTo>
                          <a:pt x="376" y="45"/>
                        </a:lnTo>
                        <a:lnTo>
                          <a:pt x="366" y="48"/>
                        </a:lnTo>
                        <a:lnTo>
                          <a:pt x="366" y="56"/>
                        </a:lnTo>
                        <a:lnTo>
                          <a:pt x="359" y="63"/>
                        </a:lnTo>
                        <a:lnTo>
                          <a:pt x="344" y="61"/>
                        </a:lnTo>
                        <a:lnTo>
                          <a:pt x="329" y="56"/>
                        </a:lnTo>
                        <a:lnTo>
                          <a:pt x="327" y="48"/>
                        </a:lnTo>
                        <a:lnTo>
                          <a:pt x="327" y="40"/>
                        </a:lnTo>
                        <a:lnTo>
                          <a:pt x="331" y="35"/>
                        </a:lnTo>
                        <a:lnTo>
                          <a:pt x="326" y="28"/>
                        </a:lnTo>
                        <a:lnTo>
                          <a:pt x="314" y="33"/>
                        </a:lnTo>
                        <a:lnTo>
                          <a:pt x="297" y="40"/>
                        </a:lnTo>
                        <a:lnTo>
                          <a:pt x="278" y="41"/>
                        </a:lnTo>
                        <a:lnTo>
                          <a:pt x="263" y="45"/>
                        </a:lnTo>
                        <a:lnTo>
                          <a:pt x="259" y="55"/>
                        </a:lnTo>
                        <a:lnTo>
                          <a:pt x="258" y="60"/>
                        </a:lnTo>
                        <a:lnTo>
                          <a:pt x="239" y="61"/>
                        </a:lnTo>
                        <a:lnTo>
                          <a:pt x="224" y="60"/>
                        </a:lnTo>
                        <a:lnTo>
                          <a:pt x="213" y="60"/>
                        </a:lnTo>
                        <a:lnTo>
                          <a:pt x="203" y="48"/>
                        </a:lnTo>
                        <a:lnTo>
                          <a:pt x="194" y="41"/>
                        </a:lnTo>
                        <a:lnTo>
                          <a:pt x="178" y="43"/>
                        </a:lnTo>
                        <a:lnTo>
                          <a:pt x="160" y="38"/>
                        </a:lnTo>
                        <a:lnTo>
                          <a:pt x="150" y="48"/>
                        </a:lnTo>
                        <a:lnTo>
                          <a:pt x="141" y="43"/>
                        </a:lnTo>
                        <a:lnTo>
                          <a:pt x="130" y="38"/>
                        </a:lnTo>
                        <a:lnTo>
                          <a:pt x="118" y="46"/>
                        </a:lnTo>
                        <a:lnTo>
                          <a:pt x="113" y="38"/>
                        </a:lnTo>
                        <a:lnTo>
                          <a:pt x="105" y="38"/>
                        </a:lnTo>
                        <a:lnTo>
                          <a:pt x="100" y="43"/>
                        </a:lnTo>
                        <a:lnTo>
                          <a:pt x="98" y="35"/>
                        </a:lnTo>
                        <a:lnTo>
                          <a:pt x="90" y="30"/>
                        </a:lnTo>
                        <a:lnTo>
                          <a:pt x="85" y="40"/>
                        </a:lnTo>
                        <a:lnTo>
                          <a:pt x="85" y="56"/>
                        </a:lnTo>
                        <a:lnTo>
                          <a:pt x="85" y="73"/>
                        </a:lnTo>
                        <a:lnTo>
                          <a:pt x="83" y="80"/>
                        </a:lnTo>
                        <a:lnTo>
                          <a:pt x="71" y="81"/>
                        </a:lnTo>
                        <a:lnTo>
                          <a:pt x="52" y="78"/>
                        </a:lnTo>
                        <a:lnTo>
                          <a:pt x="35" y="75"/>
                        </a:lnTo>
                        <a:lnTo>
                          <a:pt x="25" y="75"/>
                        </a:lnTo>
                        <a:lnTo>
                          <a:pt x="13" y="80"/>
                        </a:lnTo>
                        <a:lnTo>
                          <a:pt x="5" y="93"/>
                        </a:lnTo>
                        <a:lnTo>
                          <a:pt x="7" y="105"/>
                        </a:lnTo>
                        <a:lnTo>
                          <a:pt x="2" y="118"/>
                        </a:lnTo>
                        <a:lnTo>
                          <a:pt x="10" y="105"/>
                        </a:lnTo>
                        <a:lnTo>
                          <a:pt x="15" y="114"/>
                        </a:lnTo>
                        <a:lnTo>
                          <a:pt x="5" y="119"/>
                        </a:lnTo>
                        <a:lnTo>
                          <a:pt x="0" y="124"/>
                        </a:lnTo>
                        <a:lnTo>
                          <a:pt x="0" y="129"/>
                        </a:lnTo>
                        <a:lnTo>
                          <a:pt x="22" y="131"/>
                        </a:lnTo>
                        <a:lnTo>
                          <a:pt x="25" y="124"/>
                        </a:lnTo>
                        <a:lnTo>
                          <a:pt x="32" y="113"/>
                        </a:lnTo>
                        <a:lnTo>
                          <a:pt x="47" y="110"/>
                        </a:lnTo>
                        <a:lnTo>
                          <a:pt x="52" y="106"/>
                        </a:lnTo>
                        <a:lnTo>
                          <a:pt x="61" y="96"/>
                        </a:lnTo>
                        <a:lnTo>
                          <a:pt x="71" y="98"/>
                        </a:lnTo>
                        <a:lnTo>
                          <a:pt x="80" y="88"/>
                        </a:lnTo>
                        <a:lnTo>
                          <a:pt x="88" y="91"/>
                        </a:lnTo>
                        <a:lnTo>
                          <a:pt x="76" y="100"/>
                        </a:lnTo>
                        <a:lnTo>
                          <a:pt x="65" y="105"/>
                        </a:lnTo>
                        <a:lnTo>
                          <a:pt x="52" y="118"/>
                        </a:lnTo>
                        <a:lnTo>
                          <a:pt x="40" y="119"/>
                        </a:lnTo>
                        <a:lnTo>
                          <a:pt x="37" y="124"/>
                        </a:lnTo>
                        <a:lnTo>
                          <a:pt x="27" y="126"/>
                        </a:lnTo>
                        <a:lnTo>
                          <a:pt x="30" y="131"/>
                        </a:lnTo>
                        <a:lnTo>
                          <a:pt x="25" y="139"/>
                        </a:lnTo>
                        <a:lnTo>
                          <a:pt x="28" y="146"/>
                        </a:lnTo>
                        <a:lnTo>
                          <a:pt x="30" y="138"/>
                        </a:lnTo>
                        <a:lnTo>
                          <a:pt x="38" y="146"/>
                        </a:lnTo>
                        <a:lnTo>
                          <a:pt x="32" y="149"/>
                        </a:lnTo>
                        <a:lnTo>
                          <a:pt x="35" y="156"/>
                        </a:lnTo>
                        <a:lnTo>
                          <a:pt x="35" y="163"/>
                        </a:lnTo>
                        <a:lnTo>
                          <a:pt x="40" y="159"/>
                        </a:lnTo>
                        <a:lnTo>
                          <a:pt x="45" y="164"/>
                        </a:lnTo>
                        <a:lnTo>
                          <a:pt x="53" y="169"/>
                        </a:lnTo>
                        <a:lnTo>
                          <a:pt x="45" y="169"/>
                        </a:lnTo>
                        <a:lnTo>
                          <a:pt x="45" y="176"/>
                        </a:lnTo>
                        <a:lnTo>
                          <a:pt x="42" y="179"/>
                        </a:lnTo>
                        <a:lnTo>
                          <a:pt x="50" y="179"/>
                        </a:lnTo>
                        <a:lnTo>
                          <a:pt x="50" y="188"/>
                        </a:lnTo>
                        <a:lnTo>
                          <a:pt x="55" y="194"/>
                        </a:lnTo>
                        <a:lnTo>
                          <a:pt x="60" y="199"/>
                        </a:lnTo>
                        <a:lnTo>
                          <a:pt x="98" y="229"/>
                        </a:lnTo>
                        <a:lnTo>
                          <a:pt x="128" y="249"/>
                        </a:lnTo>
                        <a:lnTo>
                          <a:pt x="151" y="251"/>
                        </a:lnTo>
                        <a:lnTo>
                          <a:pt x="165" y="257"/>
                        </a:lnTo>
                        <a:lnTo>
                          <a:pt x="179" y="254"/>
                        </a:lnTo>
                        <a:lnTo>
                          <a:pt x="189" y="259"/>
                        </a:lnTo>
                        <a:lnTo>
                          <a:pt x="206" y="249"/>
                        </a:lnTo>
                        <a:lnTo>
                          <a:pt x="218" y="246"/>
                        </a:lnTo>
                        <a:lnTo>
                          <a:pt x="223" y="244"/>
                        </a:lnTo>
                        <a:lnTo>
                          <a:pt x="234" y="244"/>
                        </a:lnTo>
                        <a:lnTo>
                          <a:pt x="244" y="244"/>
                        </a:lnTo>
                        <a:lnTo>
                          <a:pt x="238" y="236"/>
                        </a:lnTo>
                        <a:lnTo>
                          <a:pt x="248" y="231"/>
                        </a:lnTo>
                        <a:lnTo>
                          <a:pt x="259" y="229"/>
                        </a:lnTo>
                        <a:lnTo>
                          <a:pt x="259" y="218"/>
                        </a:lnTo>
                        <a:lnTo>
                          <a:pt x="263" y="211"/>
                        </a:lnTo>
                        <a:lnTo>
                          <a:pt x="268" y="208"/>
                        </a:lnTo>
                        <a:lnTo>
                          <a:pt x="278" y="206"/>
                        </a:lnTo>
                        <a:lnTo>
                          <a:pt x="278" y="201"/>
                        </a:lnTo>
                        <a:lnTo>
                          <a:pt x="286" y="203"/>
                        </a:lnTo>
                        <a:lnTo>
                          <a:pt x="297" y="208"/>
                        </a:lnTo>
                        <a:lnTo>
                          <a:pt x="314" y="213"/>
                        </a:lnTo>
                        <a:lnTo>
                          <a:pt x="319" y="209"/>
                        </a:lnTo>
                        <a:lnTo>
                          <a:pt x="324" y="204"/>
                        </a:lnTo>
                        <a:lnTo>
                          <a:pt x="331" y="204"/>
                        </a:lnTo>
                        <a:lnTo>
                          <a:pt x="337" y="206"/>
                        </a:lnTo>
                        <a:lnTo>
                          <a:pt x="332" y="211"/>
                        </a:lnTo>
                        <a:lnTo>
                          <a:pt x="332" y="216"/>
                        </a:lnTo>
                        <a:lnTo>
                          <a:pt x="316" y="226"/>
                        </a:lnTo>
                        <a:lnTo>
                          <a:pt x="306" y="236"/>
                        </a:lnTo>
                        <a:lnTo>
                          <a:pt x="302" y="239"/>
                        </a:lnTo>
                        <a:lnTo>
                          <a:pt x="294" y="239"/>
                        </a:lnTo>
                        <a:lnTo>
                          <a:pt x="294" y="244"/>
                        </a:lnTo>
                        <a:lnTo>
                          <a:pt x="307" y="244"/>
                        </a:lnTo>
                        <a:lnTo>
                          <a:pt x="296" y="252"/>
                        </a:lnTo>
                        <a:lnTo>
                          <a:pt x="289" y="262"/>
                        </a:lnTo>
                        <a:lnTo>
                          <a:pt x="283" y="261"/>
                        </a:lnTo>
                        <a:lnTo>
                          <a:pt x="283" y="256"/>
                        </a:lnTo>
                        <a:lnTo>
                          <a:pt x="283" y="244"/>
                        </a:lnTo>
                        <a:lnTo>
                          <a:pt x="276" y="259"/>
                        </a:lnTo>
                        <a:lnTo>
                          <a:pt x="258" y="287"/>
                        </a:lnTo>
                        <a:lnTo>
                          <a:pt x="244" y="304"/>
                        </a:lnTo>
                        <a:lnTo>
                          <a:pt x="239" y="304"/>
                        </a:lnTo>
                        <a:lnTo>
                          <a:pt x="239" y="299"/>
                        </a:lnTo>
                        <a:lnTo>
                          <a:pt x="239" y="294"/>
                        </a:lnTo>
                        <a:lnTo>
                          <a:pt x="233" y="297"/>
                        </a:lnTo>
                        <a:lnTo>
                          <a:pt x="223" y="297"/>
                        </a:lnTo>
                        <a:lnTo>
                          <a:pt x="218" y="306"/>
                        </a:lnTo>
                        <a:lnTo>
                          <a:pt x="213" y="311"/>
                        </a:lnTo>
                        <a:lnTo>
                          <a:pt x="206" y="309"/>
                        </a:lnTo>
                        <a:lnTo>
                          <a:pt x="201" y="314"/>
                        </a:lnTo>
                        <a:lnTo>
                          <a:pt x="196" y="321"/>
                        </a:lnTo>
                        <a:lnTo>
                          <a:pt x="194" y="316"/>
                        </a:lnTo>
                        <a:lnTo>
                          <a:pt x="196" y="311"/>
                        </a:lnTo>
                        <a:lnTo>
                          <a:pt x="191" y="307"/>
                        </a:lnTo>
                        <a:lnTo>
                          <a:pt x="188" y="312"/>
                        </a:lnTo>
                        <a:lnTo>
                          <a:pt x="183" y="316"/>
                        </a:lnTo>
                        <a:lnTo>
                          <a:pt x="178" y="316"/>
                        </a:lnTo>
                        <a:lnTo>
                          <a:pt x="183" y="322"/>
                        </a:lnTo>
                        <a:lnTo>
                          <a:pt x="176" y="319"/>
                        </a:lnTo>
                        <a:lnTo>
                          <a:pt x="173" y="326"/>
                        </a:lnTo>
                        <a:lnTo>
                          <a:pt x="168" y="322"/>
                        </a:lnTo>
                        <a:lnTo>
                          <a:pt x="163" y="317"/>
                        </a:lnTo>
                        <a:lnTo>
                          <a:pt x="158" y="319"/>
                        </a:lnTo>
                        <a:lnTo>
                          <a:pt x="158" y="324"/>
                        </a:lnTo>
                        <a:lnTo>
                          <a:pt x="156" y="330"/>
                        </a:lnTo>
                        <a:lnTo>
                          <a:pt x="146" y="327"/>
                        </a:lnTo>
                        <a:lnTo>
                          <a:pt x="141" y="324"/>
                        </a:lnTo>
                        <a:lnTo>
                          <a:pt x="130" y="329"/>
                        </a:lnTo>
                        <a:lnTo>
                          <a:pt x="116" y="332"/>
                        </a:lnTo>
                        <a:lnTo>
                          <a:pt x="111" y="339"/>
                        </a:lnTo>
                        <a:lnTo>
                          <a:pt x="108" y="332"/>
                        </a:lnTo>
                        <a:lnTo>
                          <a:pt x="113" y="322"/>
                        </a:lnTo>
                        <a:lnTo>
                          <a:pt x="118" y="314"/>
                        </a:lnTo>
                        <a:lnTo>
                          <a:pt x="123" y="304"/>
                        </a:lnTo>
                        <a:lnTo>
                          <a:pt x="116" y="306"/>
                        </a:lnTo>
                        <a:lnTo>
                          <a:pt x="113" y="307"/>
                        </a:lnTo>
                        <a:lnTo>
                          <a:pt x="103" y="309"/>
                        </a:lnTo>
                        <a:lnTo>
                          <a:pt x="103" y="302"/>
                        </a:lnTo>
                        <a:lnTo>
                          <a:pt x="106" y="299"/>
                        </a:lnTo>
                        <a:lnTo>
                          <a:pt x="105" y="294"/>
                        </a:lnTo>
                        <a:lnTo>
                          <a:pt x="100" y="294"/>
                        </a:lnTo>
                        <a:lnTo>
                          <a:pt x="90" y="306"/>
                        </a:lnTo>
                        <a:lnTo>
                          <a:pt x="91" y="311"/>
                        </a:lnTo>
                        <a:lnTo>
                          <a:pt x="85" y="316"/>
                        </a:lnTo>
                        <a:lnTo>
                          <a:pt x="86" y="322"/>
                        </a:lnTo>
                        <a:lnTo>
                          <a:pt x="90" y="334"/>
                        </a:lnTo>
                        <a:lnTo>
                          <a:pt x="98" y="345"/>
                        </a:lnTo>
                        <a:lnTo>
                          <a:pt x="135" y="392"/>
                        </a:lnTo>
                        <a:lnTo>
                          <a:pt x="151" y="405"/>
                        </a:lnTo>
                        <a:lnTo>
                          <a:pt x="188" y="447"/>
                        </a:lnTo>
                        <a:lnTo>
                          <a:pt x="206" y="473"/>
                        </a:lnTo>
                        <a:lnTo>
                          <a:pt x="216" y="488"/>
                        </a:lnTo>
                        <a:lnTo>
                          <a:pt x="248" y="523"/>
                        </a:lnTo>
                        <a:lnTo>
                          <a:pt x="278" y="546"/>
                        </a:lnTo>
                        <a:lnTo>
                          <a:pt x="296" y="555"/>
                        </a:lnTo>
                        <a:lnTo>
                          <a:pt x="309" y="560"/>
                        </a:lnTo>
                        <a:lnTo>
                          <a:pt x="317" y="566"/>
                        </a:lnTo>
                        <a:lnTo>
                          <a:pt x="329" y="565"/>
                        </a:lnTo>
                        <a:lnTo>
                          <a:pt x="324" y="558"/>
                        </a:lnTo>
                        <a:lnTo>
                          <a:pt x="329" y="556"/>
                        </a:lnTo>
                        <a:lnTo>
                          <a:pt x="334" y="560"/>
                        </a:lnTo>
                        <a:lnTo>
                          <a:pt x="346" y="561"/>
                        </a:lnTo>
                        <a:lnTo>
                          <a:pt x="354" y="561"/>
                        </a:lnTo>
                        <a:lnTo>
                          <a:pt x="369" y="555"/>
                        </a:lnTo>
                        <a:lnTo>
                          <a:pt x="396" y="546"/>
                        </a:lnTo>
                        <a:lnTo>
                          <a:pt x="410" y="545"/>
                        </a:lnTo>
                        <a:lnTo>
                          <a:pt x="417" y="540"/>
                        </a:lnTo>
                        <a:lnTo>
                          <a:pt x="419" y="533"/>
                        </a:lnTo>
                        <a:lnTo>
                          <a:pt x="415" y="530"/>
                        </a:lnTo>
                        <a:lnTo>
                          <a:pt x="420" y="527"/>
                        </a:lnTo>
                        <a:lnTo>
                          <a:pt x="435" y="530"/>
                        </a:lnTo>
                        <a:lnTo>
                          <a:pt x="444" y="528"/>
                        </a:lnTo>
                        <a:lnTo>
                          <a:pt x="459" y="520"/>
                        </a:lnTo>
                        <a:lnTo>
                          <a:pt x="465" y="520"/>
                        </a:lnTo>
                        <a:lnTo>
                          <a:pt x="487" y="510"/>
                        </a:lnTo>
                        <a:lnTo>
                          <a:pt x="504" y="503"/>
                        </a:lnTo>
                        <a:lnTo>
                          <a:pt x="497" y="498"/>
                        </a:lnTo>
                        <a:lnTo>
                          <a:pt x="500" y="490"/>
                        </a:lnTo>
                        <a:lnTo>
                          <a:pt x="509" y="483"/>
                        </a:lnTo>
                        <a:lnTo>
                          <a:pt x="518" y="470"/>
                        </a:lnTo>
                        <a:lnTo>
                          <a:pt x="523" y="462"/>
                        </a:lnTo>
                        <a:lnTo>
                          <a:pt x="525" y="455"/>
                        </a:lnTo>
                        <a:lnTo>
                          <a:pt x="528" y="448"/>
                        </a:lnTo>
                        <a:lnTo>
                          <a:pt x="532" y="442"/>
                        </a:lnTo>
                        <a:lnTo>
                          <a:pt x="525" y="442"/>
                        </a:lnTo>
                        <a:lnTo>
                          <a:pt x="527" y="438"/>
                        </a:lnTo>
                        <a:lnTo>
                          <a:pt x="522" y="437"/>
                        </a:lnTo>
                        <a:lnTo>
                          <a:pt x="520" y="432"/>
                        </a:lnTo>
                        <a:lnTo>
                          <a:pt x="518" y="425"/>
                        </a:lnTo>
                        <a:lnTo>
                          <a:pt x="514" y="419"/>
                        </a:lnTo>
                        <a:lnTo>
                          <a:pt x="500" y="420"/>
                        </a:lnTo>
                        <a:lnTo>
                          <a:pt x="487" y="415"/>
                        </a:lnTo>
                        <a:lnTo>
                          <a:pt x="490" y="409"/>
                        </a:lnTo>
                        <a:lnTo>
                          <a:pt x="500" y="410"/>
                        </a:lnTo>
                        <a:lnTo>
                          <a:pt x="505" y="409"/>
                        </a:lnTo>
                        <a:lnTo>
                          <a:pt x="514" y="410"/>
                        </a:lnTo>
                        <a:lnTo>
                          <a:pt x="514" y="404"/>
                        </a:lnTo>
                        <a:lnTo>
                          <a:pt x="507" y="399"/>
                        </a:lnTo>
                        <a:lnTo>
                          <a:pt x="510" y="390"/>
                        </a:lnTo>
                        <a:lnTo>
                          <a:pt x="515" y="392"/>
                        </a:lnTo>
                        <a:lnTo>
                          <a:pt x="515" y="384"/>
                        </a:lnTo>
                        <a:lnTo>
                          <a:pt x="520" y="385"/>
                        </a:lnTo>
                        <a:lnTo>
                          <a:pt x="523" y="375"/>
                        </a:lnTo>
                        <a:lnTo>
                          <a:pt x="530" y="370"/>
                        </a:lnTo>
                        <a:lnTo>
                          <a:pt x="528" y="365"/>
                        </a:lnTo>
                        <a:lnTo>
                          <a:pt x="532" y="359"/>
                        </a:lnTo>
                        <a:lnTo>
                          <a:pt x="537" y="357"/>
                        </a:lnTo>
                        <a:lnTo>
                          <a:pt x="538" y="349"/>
                        </a:lnTo>
                        <a:lnTo>
                          <a:pt x="547" y="342"/>
                        </a:lnTo>
                        <a:lnTo>
                          <a:pt x="553" y="345"/>
                        </a:lnTo>
                        <a:lnTo>
                          <a:pt x="548" y="350"/>
                        </a:lnTo>
                        <a:lnTo>
                          <a:pt x="545" y="355"/>
                        </a:lnTo>
                        <a:lnTo>
                          <a:pt x="548" y="360"/>
                        </a:lnTo>
                        <a:lnTo>
                          <a:pt x="557" y="364"/>
                        </a:lnTo>
                        <a:lnTo>
                          <a:pt x="560" y="355"/>
                        </a:lnTo>
                        <a:lnTo>
                          <a:pt x="573" y="355"/>
                        </a:lnTo>
                        <a:lnTo>
                          <a:pt x="585" y="354"/>
                        </a:lnTo>
                        <a:lnTo>
                          <a:pt x="593" y="360"/>
                        </a:lnTo>
                        <a:lnTo>
                          <a:pt x="605" y="355"/>
                        </a:lnTo>
                        <a:lnTo>
                          <a:pt x="613" y="355"/>
                        </a:lnTo>
                        <a:lnTo>
                          <a:pt x="618" y="360"/>
                        </a:lnTo>
                        <a:lnTo>
                          <a:pt x="610" y="367"/>
                        </a:lnTo>
                        <a:lnTo>
                          <a:pt x="607" y="372"/>
                        </a:lnTo>
                        <a:lnTo>
                          <a:pt x="598" y="372"/>
                        </a:lnTo>
                        <a:lnTo>
                          <a:pt x="588" y="369"/>
                        </a:lnTo>
                        <a:lnTo>
                          <a:pt x="578" y="365"/>
                        </a:lnTo>
                        <a:lnTo>
                          <a:pt x="570" y="370"/>
                        </a:lnTo>
                        <a:lnTo>
                          <a:pt x="570" y="379"/>
                        </a:lnTo>
                        <a:lnTo>
                          <a:pt x="565" y="385"/>
                        </a:lnTo>
                        <a:lnTo>
                          <a:pt x="568" y="390"/>
                        </a:lnTo>
                        <a:lnTo>
                          <a:pt x="568" y="397"/>
                        </a:lnTo>
                        <a:lnTo>
                          <a:pt x="580" y="399"/>
                        </a:lnTo>
                        <a:lnTo>
                          <a:pt x="587" y="399"/>
                        </a:lnTo>
                        <a:lnTo>
                          <a:pt x="593" y="399"/>
                        </a:lnTo>
                        <a:lnTo>
                          <a:pt x="592" y="404"/>
                        </a:lnTo>
                        <a:lnTo>
                          <a:pt x="583" y="409"/>
                        </a:lnTo>
                        <a:lnTo>
                          <a:pt x="575" y="414"/>
                        </a:lnTo>
                        <a:lnTo>
                          <a:pt x="575" y="419"/>
                        </a:lnTo>
                        <a:lnTo>
                          <a:pt x="570" y="422"/>
                        </a:lnTo>
                        <a:lnTo>
                          <a:pt x="572" y="432"/>
                        </a:lnTo>
                        <a:lnTo>
                          <a:pt x="565" y="435"/>
                        </a:lnTo>
                        <a:lnTo>
                          <a:pt x="560" y="438"/>
                        </a:lnTo>
                        <a:lnTo>
                          <a:pt x="565" y="443"/>
                        </a:lnTo>
                        <a:lnTo>
                          <a:pt x="573" y="440"/>
                        </a:lnTo>
                        <a:lnTo>
                          <a:pt x="582" y="438"/>
                        </a:lnTo>
                        <a:lnTo>
                          <a:pt x="592" y="442"/>
                        </a:lnTo>
                        <a:lnTo>
                          <a:pt x="605" y="442"/>
                        </a:lnTo>
                        <a:lnTo>
                          <a:pt x="602" y="450"/>
                        </a:lnTo>
                        <a:lnTo>
                          <a:pt x="593" y="458"/>
                        </a:lnTo>
                        <a:lnTo>
                          <a:pt x="582" y="463"/>
                        </a:lnTo>
                        <a:lnTo>
                          <a:pt x="575" y="473"/>
                        </a:lnTo>
                        <a:lnTo>
                          <a:pt x="585" y="472"/>
                        </a:lnTo>
                        <a:lnTo>
                          <a:pt x="592" y="475"/>
                        </a:lnTo>
                        <a:lnTo>
                          <a:pt x="588" y="478"/>
                        </a:lnTo>
                        <a:lnTo>
                          <a:pt x="582" y="477"/>
                        </a:lnTo>
                        <a:lnTo>
                          <a:pt x="575" y="480"/>
                        </a:lnTo>
                        <a:lnTo>
                          <a:pt x="575" y="485"/>
                        </a:lnTo>
                        <a:lnTo>
                          <a:pt x="582" y="487"/>
                        </a:lnTo>
                        <a:lnTo>
                          <a:pt x="583" y="490"/>
                        </a:lnTo>
                        <a:lnTo>
                          <a:pt x="575" y="492"/>
                        </a:lnTo>
                        <a:lnTo>
                          <a:pt x="570" y="495"/>
                        </a:lnTo>
                        <a:lnTo>
                          <a:pt x="573" y="500"/>
                        </a:lnTo>
                        <a:lnTo>
                          <a:pt x="567" y="505"/>
                        </a:lnTo>
                        <a:lnTo>
                          <a:pt x="570" y="513"/>
                        </a:lnTo>
                        <a:lnTo>
                          <a:pt x="573" y="515"/>
                        </a:lnTo>
                        <a:lnTo>
                          <a:pt x="577" y="507"/>
                        </a:lnTo>
                        <a:lnTo>
                          <a:pt x="580" y="503"/>
                        </a:lnTo>
                        <a:lnTo>
                          <a:pt x="582" y="507"/>
                        </a:lnTo>
                        <a:lnTo>
                          <a:pt x="580" y="510"/>
                        </a:lnTo>
                        <a:lnTo>
                          <a:pt x="575" y="517"/>
                        </a:lnTo>
                        <a:lnTo>
                          <a:pt x="580" y="517"/>
                        </a:lnTo>
                        <a:lnTo>
                          <a:pt x="587" y="513"/>
                        </a:lnTo>
                        <a:lnTo>
                          <a:pt x="588" y="515"/>
                        </a:lnTo>
                        <a:lnTo>
                          <a:pt x="580" y="522"/>
                        </a:lnTo>
                        <a:lnTo>
                          <a:pt x="582" y="527"/>
                        </a:lnTo>
                        <a:lnTo>
                          <a:pt x="592" y="522"/>
                        </a:lnTo>
                        <a:lnTo>
                          <a:pt x="595" y="527"/>
                        </a:lnTo>
                        <a:lnTo>
                          <a:pt x="597" y="533"/>
                        </a:lnTo>
                        <a:lnTo>
                          <a:pt x="588" y="535"/>
                        </a:lnTo>
                        <a:lnTo>
                          <a:pt x="582" y="537"/>
                        </a:lnTo>
                        <a:lnTo>
                          <a:pt x="587" y="542"/>
                        </a:lnTo>
                        <a:lnTo>
                          <a:pt x="595" y="542"/>
                        </a:lnTo>
                        <a:lnTo>
                          <a:pt x="602" y="545"/>
                        </a:lnTo>
                        <a:lnTo>
                          <a:pt x="593" y="551"/>
                        </a:lnTo>
                        <a:lnTo>
                          <a:pt x="592" y="558"/>
                        </a:lnTo>
                        <a:lnTo>
                          <a:pt x="593" y="563"/>
                        </a:lnTo>
                        <a:lnTo>
                          <a:pt x="603" y="563"/>
                        </a:lnTo>
                        <a:lnTo>
                          <a:pt x="607" y="566"/>
                        </a:lnTo>
                        <a:lnTo>
                          <a:pt x="612" y="571"/>
                        </a:lnTo>
                        <a:lnTo>
                          <a:pt x="602" y="578"/>
                        </a:lnTo>
                        <a:lnTo>
                          <a:pt x="598" y="583"/>
                        </a:lnTo>
                        <a:lnTo>
                          <a:pt x="602" y="593"/>
                        </a:lnTo>
                        <a:lnTo>
                          <a:pt x="597" y="605"/>
                        </a:lnTo>
                        <a:lnTo>
                          <a:pt x="590" y="621"/>
                        </a:lnTo>
                        <a:lnTo>
                          <a:pt x="598" y="623"/>
                        </a:lnTo>
                        <a:lnTo>
                          <a:pt x="605" y="626"/>
                        </a:lnTo>
                        <a:lnTo>
                          <a:pt x="598" y="636"/>
                        </a:lnTo>
                        <a:lnTo>
                          <a:pt x="592" y="640"/>
                        </a:lnTo>
                        <a:lnTo>
                          <a:pt x="587" y="638"/>
                        </a:lnTo>
                        <a:lnTo>
                          <a:pt x="580" y="650"/>
                        </a:lnTo>
                        <a:lnTo>
                          <a:pt x="588" y="653"/>
                        </a:lnTo>
                        <a:lnTo>
                          <a:pt x="597" y="653"/>
                        </a:lnTo>
                        <a:lnTo>
                          <a:pt x="600" y="646"/>
                        </a:lnTo>
                        <a:lnTo>
                          <a:pt x="603" y="640"/>
                        </a:lnTo>
                        <a:lnTo>
                          <a:pt x="608" y="638"/>
                        </a:lnTo>
                        <a:lnTo>
                          <a:pt x="615" y="640"/>
                        </a:lnTo>
                        <a:lnTo>
                          <a:pt x="622" y="641"/>
                        </a:lnTo>
                        <a:lnTo>
                          <a:pt x="628" y="641"/>
                        </a:lnTo>
                        <a:lnTo>
                          <a:pt x="630" y="638"/>
                        </a:lnTo>
                        <a:lnTo>
                          <a:pt x="630" y="648"/>
                        </a:lnTo>
                        <a:lnTo>
                          <a:pt x="631" y="653"/>
                        </a:lnTo>
                        <a:lnTo>
                          <a:pt x="640" y="654"/>
                        </a:lnTo>
                        <a:lnTo>
                          <a:pt x="636" y="663"/>
                        </a:lnTo>
                        <a:lnTo>
                          <a:pt x="641" y="668"/>
                        </a:lnTo>
                        <a:lnTo>
                          <a:pt x="648" y="659"/>
                        </a:lnTo>
                        <a:lnTo>
                          <a:pt x="658" y="656"/>
                        </a:lnTo>
                        <a:lnTo>
                          <a:pt x="666" y="659"/>
                        </a:lnTo>
                        <a:lnTo>
                          <a:pt x="671" y="654"/>
                        </a:lnTo>
                        <a:lnTo>
                          <a:pt x="670" y="636"/>
                        </a:lnTo>
                        <a:lnTo>
                          <a:pt x="670" y="626"/>
                        </a:lnTo>
                        <a:lnTo>
                          <a:pt x="675" y="621"/>
                        </a:lnTo>
                        <a:lnTo>
                          <a:pt x="681" y="611"/>
                        </a:lnTo>
                        <a:lnTo>
                          <a:pt x="676" y="603"/>
                        </a:lnTo>
                        <a:lnTo>
                          <a:pt x="666" y="598"/>
                        </a:lnTo>
                        <a:lnTo>
                          <a:pt x="670" y="588"/>
                        </a:lnTo>
                        <a:lnTo>
                          <a:pt x="675" y="580"/>
                        </a:lnTo>
                        <a:lnTo>
                          <a:pt x="683" y="580"/>
                        </a:lnTo>
                        <a:lnTo>
                          <a:pt x="681" y="588"/>
                        </a:lnTo>
                        <a:lnTo>
                          <a:pt x="698" y="595"/>
                        </a:lnTo>
                        <a:lnTo>
                          <a:pt x="701" y="603"/>
                        </a:lnTo>
                        <a:lnTo>
                          <a:pt x="711" y="603"/>
                        </a:lnTo>
                        <a:lnTo>
                          <a:pt x="720" y="601"/>
                        </a:lnTo>
                        <a:lnTo>
                          <a:pt x="725" y="595"/>
                        </a:lnTo>
                        <a:lnTo>
                          <a:pt x="725" y="588"/>
                        </a:lnTo>
                        <a:lnTo>
                          <a:pt x="735" y="585"/>
                        </a:lnTo>
                        <a:lnTo>
                          <a:pt x="741" y="580"/>
                        </a:lnTo>
                        <a:lnTo>
                          <a:pt x="740" y="565"/>
                        </a:lnTo>
                        <a:lnTo>
                          <a:pt x="738" y="546"/>
                        </a:lnTo>
                        <a:lnTo>
                          <a:pt x="730" y="546"/>
                        </a:lnTo>
                        <a:lnTo>
                          <a:pt x="728" y="538"/>
                        </a:lnTo>
                        <a:lnTo>
                          <a:pt x="725" y="532"/>
                        </a:lnTo>
                        <a:lnTo>
                          <a:pt x="706" y="527"/>
                        </a:lnTo>
                        <a:lnTo>
                          <a:pt x="700" y="523"/>
                        </a:lnTo>
                        <a:lnTo>
                          <a:pt x="700" y="518"/>
                        </a:lnTo>
                        <a:lnTo>
                          <a:pt x="713" y="517"/>
                        </a:lnTo>
                        <a:lnTo>
                          <a:pt x="721" y="522"/>
                        </a:lnTo>
                        <a:lnTo>
                          <a:pt x="730" y="513"/>
                        </a:lnTo>
                        <a:lnTo>
                          <a:pt x="735" y="505"/>
                        </a:lnTo>
                        <a:lnTo>
                          <a:pt x="746" y="505"/>
                        </a:lnTo>
                        <a:lnTo>
                          <a:pt x="744" y="495"/>
                        </a:lnTo>
                        <a:lnTo>
                          <a:pt x="749" y="488"/>
                        </a:lnTo>
                        <a:lnTo>
                          <a:pt x="749" y="488"/>
                        </a:lnTo>
                        <a:lnTo>
                          <a:pt x="749" y="488"/>
                        </a:lnTo>
                        <a:close/>
                      </a:path>
                    </a:pathLst>
                  </a:custGeom>
                  <a:solidFill>
                    <a:srgbClr val="77B8E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a:latin typeface="Proxima Nova A" panose="02000506030000020004" pitchFamily="2" charset="0"/>
                    </a:endParaRPr>
                  </a:p>
                </p:txBody>
              </p:sp>
              <p:sp>
                <p:nvSpPr>
                  <p:cNvPr id="164" name="Freeform 1118">
                    <a:extLst>
                      <a:ext uri="{FF2B5EF4-FFF2-40B4-BE49-F238E27FC236}">
                        <a16:creationId xmlns:a16="http://schemas.microsoft.com/office/drawing/2014/main" id="{13965C86-8F60-4808-94AC-42D9EB4D3418}"/>
                      </a:ext>
                    </a:extLst>
                  </p:cNvPr>
                  <p:cNvSpPr>
                    <a:spLocks/>
                  </p:cNvSpPr>
                  <p:nvPr/>
                </p:nvSpPr>
                <p:spPr bwMode="auto">
                  <a:xfrm>
                    <a:off x="3200844" y="2762127"/>
                    <a:ext cx="1611867" cy="1144039"/>
                  </a:xfrm>
                  <a:custGeom>
                    <a:avLst/>
                    <a:gdLst>
                      <a:gd name="T0" fmla="*/ 1010 w 1168"/>
                      <a:gd name="T1" fmla="*/ 487 h 829"/>
                      <a:gd name="T2" fmla="*/ 1015 w 1168"/>
                      <a:gd name="T3" fmla="*/ 430 h 829"/>
                      <a:gd name="T4" fmla="*/ 1078 w 1168"/>
                      <a:gd name="T5" fmla="*/ 442 h 829"/>
                      <a:gd name="T6" fmla="*/ 1150 w 1168"/>
                      <a:gd name="T7" fmla="*/ 425 h 829"/>
                      <a:gd name="T8" fmla="*/ 1151 w 1168"/>
                      <a:gd name="T9" fmla="*/ 352 h 829"/>
                      <a:gd name="T10" fmla="*/ 1113 w 1168"/>
                      <a:gd name="T11" fmla="*/ 314 h 829"/>
                      <a:gd name="T12" fmla="*/ 1070 w 1168"/>
                      <a:gd name="T13" fmla="*/ 297 h 829"/>
                      <a:gd name="T14" fmla="*/ 1007 w 1168"/>
                      <a:gd name="T15" fmla="*/ 256 h 829"/>
                      <a:gd name="T16" fmla="*/ 965 w 1168"/>
                      <a:gd name="T17" fmla="*/ 251 h 829"/>
                      <a:gd name="T18" fmla="*/ 922 w 1168"/>
                      <a:gd name="T19" fmla="*/ 284 h 829"/>
                      <a:gd name="T20" fmla="*/ 889 w 1168"/>
                      <a:gd name="T21" fmla="*/ 259 h 829"/>
                      <a:gd name="T22" fmla="*/ 831 w 1168"/>
                      <a:gd name="T23" fmla="*/ 266 h 829"/>
                      <a:gd name="T24" fmla="*/ 819 w 1168"/>
                      <a:gd name="T25" fmla="*/ 222 h 829"/>
                      <a:gd name="T26" fmla="*/ 739 w 1168"/>
                      <a:gd name="T27" fmla="*/ 251 h 829"/>
                      <a:gd name="T28" fmla="*/ 726 w 1168"/>
                      <a:gd name="T29" fmla="*/ 231 h 829"/>
                      <a:gd name="T30" fmla="*/ 673 w 1168"/>
                      <a:gd name="T31" fmla="*/ 249 h 829"/>
                      <a:gd name="T32" fmla="*/ 643 w 1168"/>
                      <a:gd name="T33" fmla="*/ 232 h 829"/>
                      <a:gd name="T34" fmla="*/ 641 w 1168"/>
                      <a:gd name="T35" fmla="*/ 202 h 829"/>
                      <a:gd name="T36" fmla="*/ 606 w 1168"/>
                      <a:gd name="T37" fmla="*/ 227 h 829"/>
                      <a:gd name="T38" fmla="*/ 636 w 1168"/>
                      <a:gd name="T39" fmla="*/ 300 h 829"/>
                      <a:gd name="T40" fmla="*/ 663 w 1168"/>
                      <a:gd name="T41" fmla="*/ 364 h 829"/>
                      <a:gd name="T42" fmla="*/ 580 w 1168"/>
                      <a:gd name="T43" fmla="*/ 360 h 829"/>
                      <a:gd name="T44" fmla="*/ 593 w 1168"/>
                      <a:gd name="T45" fmla="*/ 249 h 829"/>
                      <a:gd name="T46" fmla="*/ 645 w 1168"/>
                      <a:gd name="T47" fmla="*/ 178 h 829"/>
                      <a:gd name="T48" fmla="*/ 673 w 1168"/>
                      <a:gd name="T49" fmla="*/ 108 h 829"/>
                      <a:gd name="T50" fmla="*/ 611 w 1168"/>
                      <a:gd name="T51" fmla="*/ 18 h 829"/>
                      <a:gd name="T52" fmla="*/ 547 w 1168"/>
                      <a:gd name="T53" fmla="*/ 31 h 829"/>
                      <a:gd name="T54" fmla="*/ 344 w 1168"/>
                      <a:gd name="T55" fmla="*/ 182 h 829"/>
                      <a:gd name="T56" fmla="*/ 452 w 1168"/>
                      <a:gd name="T57" fmla="*/ 209 h 829"/>
                      <a:gd name="T58" fmla="*/ 392 w 1168"/>
                      <a:gd name="T59" fmla="*/ 294 h 829"/>
                      <a:gd name="T60" fmla="*/ 394 w 1168"/>
                      <a:gd name="T61" fmla="*/ 350 h 829"/>
                      <a:gd name="T62" fmla="*/ 375 w 1168"/>
                      <a:gd name="T63" fmla="*/ 394 h 829"/>
                      <a:gd name="T64" fmla="*/ 312 w 1168"/>
                      <a:gd name="T65" fmla="*/ 377 h 829"/>
                      <a:gd name="T66" fmla="*/ 249 w 1168"/>
                      <a:gd name="T67" fmla="*/ 427 h 829"/>
                      <a:gd name="T68" fmla="*/ 201 w 1168"/>
                      <a:gd name="T69" fmla="*/ 410 h 829"/>
                      <a:gd name="T70" fmla="*/ 239 w 1168"/>
                      <a:gd name="T71" fmla="*/ 345 h 829"/>
                      <a:gd name="T72" fmla="*/ 222 w 1168"/>
                      <a:gd name="T73" fmla="*/ 312 h 829"/>
                      <a:gd name="T74" fmla="*/ 198 w 1168"/>
                      <a:gd name="T75" fmla="*/ 279 h 829"/>
                      <a:gd name="T76" fmla="*/ 139 w 1168"/>
                      <a:gd name="T77" fmla="*/ 286 h 829"/>
                      <a:gd name="T78" fmla="*/ 116 w 1168"/>
                      <a:gd name="T79" fmla="*/ 295 h 829"/>
                      <a:gd name="T80" fmla="*/ 124 w 1168"/>
                      <a:gd name="T81" fmla="*/ 385 h 829"/>
                      <a:gd name="T82" fmla="*/ 118 w 1168"/>
                      <a:gd name="T83" fmla="*/ 470 h 829"/>
                      <a:gd name="T84" fmla="*/ 98 w 1168"/>
                      <a:gd name="T85" fmla="*/ 523 h 829"/>
                      <a:gd name="T86" fmla="*/ 50 w 1168"/>
                      <a:gd name="T87" fmla="*/ 600 h 829"/>
                      <a:gd name="T88" fmla="*/ 21 w 1168"/>
                      <a:gd name="T89" fmla="*/ 641 h 829"/>
                      <a:gd name="T90" fmla="*/ 8 w 1168"/>
                      <a:gd name="T91" fmla="*/ 696 h 829"/>
                      <a:gd name="T92" fmla="*/ 65 w 1168"/>
                      <a:gd name="T93" fmla="*/ 719 h 829"/>
                      <a:gd name="T94" fmla="*/ 191 w 1168"/>
                      <a:gd name="T95" fmla="*/ 777 h 829"/>
                      <a:gd name="T96" fmla="*/ 324 w 1168"/>
                      <a:gd name="T97" fmla="*/ 811 h 829"/>
                      <a:gd name="T98" fmla="*/ 370 w 1168"/>
                      <a:gd name="T99" fmla="*/ 752 h 829"/>
                      <a:gd name="T100" fmla="*/ 470 w 1168"/>
                      <a:gd name="T101" fmla="*/ 751 h 829"/>
                      <a:gd name="T102" fmla="*/ 485 w 1168"/>
                      <a:gd name="T103" fmla="*/ 791 h 829"/>
                      <a:gd name="T104" fmla="*/ 590 w 1168"/>
                      <a:gd name="T105" fmla="*/ 771 h 829"/>
                      <a:gd name="T106" fmla="*/ 691 w 1168"/>
                      <a:gd name="T107" fmla="*/ 742 h 829"/>
                      <a:gd name="T108" fmla="*/ 773 w 1168"/>
                      <a:gd name="T109" fmla="*/ 771 h 829"/>
                      <a:gd name="T110" fmla="*/ 871 w 1168"/>
                      <a:gd name="T111" fmla="*/ 794 h 829"/>
                      <a:gd name="T112" fmla="*/ 919 w 1168"/>
                      <a:gd name="T113" fmla="*/ 686 h 829"/>
                      <a:gd name="T114" fmla="*/ 984 w 1168"/>
                      <a:gd name="T115" fmla="*/ 638 h 829"/>
                      <a:gd name="T116" fmla="*/ 1060 w 1168"/>
                      <a:gd name="T117" fmla="*/ 548 h 829"/>
                      <a:gd name="T118" fmla="*/ 1073 w 1168"/>
                      <a:gd name="T119" fmla="*/ 503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829">
                        <a:moveTo>
                          <a:pt x="1073" y="503"/>
                        </a:moveTo>
                        <a:lnTo>
                          <a:pt x="1065" y="505"/>
                        </a:lnTo>
                        <a:lnTo>
                          <a:pt x="1057" y="495"/>
                        </a:lnTo>
                        <a:lnTo>
                          <a:pt x="1053" y="487"/>
                        </a:lnTo>
                        <a:lnTo>
                          <a:pt x="1052" y="483"/>
                        </a:lnTo>
                        <a:lnTo>
                          <a:pt x="1047" y="488"/>
                        </a:lnTo>
                        <a:lnTo>
                          <a:pt x="1037" y="487"/>
                        </a:lnTo>
                        <a:lnTo>
                          <a:pt x="1030" y="480"/>
                        </a:lnTo>
                        <a:lnTo>
                          <a:pt x="1023" y="483"/>
                        </a:lnTo>
                        <a:lnTo>
                          <a:pt x="1020" y="488"/>
                        </a:lnTo>
                        <a:lnTo>
                          <a:pt x="1010" y="487"/>
                        </a:lnTo>
                        <a:lnTo>
                          <a:pt x="1009" y="482"/>
                        </a:lnTo>
                        <a:lnTo>
                          <a:pt x="1009" y="475"/>
                        </a:lnTo>
                        <a:lnTo>
                          <a:pt x="1013" y="467"/>
                        </a:lnTo>
                        <a:lnTo>
                          <a:pt x="1018" y="462"/>
                        </a:lnTo>
                        <a:lnTo>
                          <a:pt x="1022" y="455"/>
                        </a:lnTo>
                        <a:lnTo>
                          <a:pt x="1018" y="452"/>
                        </a:lnTo>
                        <a:lnTo>
                          <a:pt x="1015" y="447"/>
                        </a:lnTo>
                        <a:lnTo>
                          <a:pt x="1015" y="442"/>
                        </a:lnTo>
                        <a:lnTo>
                          <a:pt x="1007" y="433"/>
                        </a:lnTo>
                        <a:lnTo>
                          <a:pt x="1009" y="430"/>
                        </a:lnTo>
                        <a:lnTo>
                          <a:pt x="1015" y="430"/>
                        </a:lnTo>
                        <a:lnTo>
                          <a:pt x="1020" y="430"/>
                        </a:lnTo>
                        <a:lnTo>
                          <a:pt x="1025" y="433"/>
                        </a:lnTo>
                        <a:lnTo>
                          <a:pt x="1030" y="442"/>
                        </a:lnTo>
                        <a:lnTo>
                          <a:pt x="1040" y="443"/>
                        </a:lnTo>
                        <a:lnTo>
                          <a:pt x="1045" y="443"/>
                        </a:lnTo>
                        <a:lnTo>
                          <a:pt x="1047" y="437"/>
                        </a:lnTo>
                        <a:lnTo>
                          <a:pt x="1050" y="432"/>
                        </a:lnTo>
                        <a:lnTo>
                          <a:pt x="1057" y="435"/>
                        </a:lnTo>
                        <a:lnTo>
                          <a:pt x="1065" y="435"/>
                        </a:lnTo>
                        <a:lnTo>
                          <a:pt x="1072" y="440"/>
                        </a:lnTo>
                        <a:lnTo>
                          <a:pt x="1078" y="442"/>
                        </a:lnTo>
                        <a:lnTo>
                          <a:pt x="1085" y="442"/>
                        </a:lnTo>
                        <a:lnTo>
                          <a:pt x="1088" y="437"/>
                        </a:lnTo>
                        <a:lnTo>
                          <a:pt x="1097" y="440"/>
                        </a:lnTo>
                        <a:lnTo>
                          <a:pt x="1102" y="442"/>
                        </a:lnTo>
                        <a:lnTo>
                          <a:pt x="1108" y="440"/>
                        </a:lnTo>
                        <a:lnTo>
                          <a:pt x="1113" y="442"/>
                        </a:lnTo>
                        <a:lnTo>
                          <a:pt x="1123" y="442"/>
                        </a:lnTo>
                        <a:lnTo>
                          <a:pt x="1135" y="443"/>
                        </a:lnTo>
                        <a:lnTo>
                          <a:pt x="1140" y="437"/>
                        </a:lnTo>
                        <a:lnTo>
                          <a:pt x="1145" y="432"/>
                        </a:lnTo>
                        <a:lnTo>
                          <a:pt x="1150" y="425"/>
                        </a:lnTo>
                        <a:lnTo>
                          <a:pt x="1163" y="420"/>
                        </a:lnTo>
                        <a:lnTo>
                          <a:pt x="1168" y="418"/>
                        </a:lnTo>
                        <a:lnTo>
                          <a:pt x="1156" y="403"/>
                        </a:lnTo>
                        <a:lnTo>
                          <a:pt x="1145" y="398"/>
                        </a:lnTo>
                        <a:lnTo>
                          <a:pt x="1145" y="390"/>
                        </a:lnTo>
                        <a:lnTo>
                          <a:pt x="1156" y="392"/>
                        </a:lnTo>
                        <a:lnTo>
                          <a:pt x="1155" y="382"/>
                        </a:lnTo>
                        <a:lnTo>
                          <a:pt x="1163" y="370"/>
                        </a:lnTo>
                        <a:lnTo>
                          <a:pt x="1160" y="360"/>
                        </a:lnTo>
                        <a:lnTo>
                          <a:pt x="1153" y="360"/>
                        </a:lnTo>
                        <a:lnTo>
                          <a:pt x="1151" y="352"/>
                        </a:lnTo>
                        <a:lnTo>
                          <a:pt x="1150" y="347"/>
                        </a:lnTo>
                        <a:lnTo>
                          <a:pt x="1153" y="335"/>
                        </a:lnTo>
                        <a:lnTo>
                          <a:pt x="1160" y="339"/>
                        </a:lnTo>
                        <a:lnTo>
                          <a:pt x="1168" y="332"/>
                        </a:lnTo>
                        <a:lnTo>
                          <a:pt x="1160" y="324"/>
                        </a:lnTo>
                        <a:lnTo>
                          <a:pt x="1151" y="322"/>
                        </a:lnTo>
                        <a:lnTo>
                          <a:pt x="1148" y="314"/>
                        </a:lnTo>
                        <a:lnTo>
                          <a:pt x="1138" y="319"/>
                        </a:lnTo>
                        <a:lnTo>
                          <a:pt x="1130" y="319"/>
                        </a:lnTo>
                        <a:lnTo>
                          <a:pt x="1122" y="319"/>
                        </a:lnTo>
                        <a:lnTo>
                          <a:pt x="1113" y="314"/>
                        </a:lnTo>
                        <a:lnTo>
                          <a:pt x="1110" y="320"/>
                        </a:lnTo>
                        <a:lnTo>
                          <a:pt x="1113" y="327"/>
                        </a:lnTo>
                        <a:lnTo>
                          <a:pt x="1107" y="332"/>
                        </a:lnTo>
                        <a:lnTo>
                          <a:pt x="1102" y="324"/>
                        </a:lnTo>
                        <a:lnTo>
                          <a:pt x="1100" y="317"/>
                        </a:lnTo>
                        <a:lnTo>
                          <a:pt x="1088" y="322"/>
                        </a:lnTo>
                        <a:lnTo>
                          <a:pt x="1088" y="315"/>
                        </a:lnTo>
                        <a:lnTo>
                          <a:pt x="1097" y="307"/>
                        </a:lnTo>
                        <a:lnTo>
                          <a:pt x="1087" y="309"/>
                        </a:lnTo>
                        <a:lnTo>
                          <a:pt x="1083" y="304"/>
                        </a:lnTo>
                        <a:lnTo>
                          <a:pt x="1070" y="297"/>
                        </a:lnTo>
                        <a:lnTo>
                          <a:pt x="1058" y="294"/>
                        </a:lnTo>
                        <a:lnTo>
                          <a:pt x="1050" y="294"/>
                        </a:lnTo>
                        <a:lnTo>
                          <a:pt x="1048" y="286"/>
                        </a:lnTo>
                        <a:lnTo>
                          <a:pt x="1045" y="281"/>
                        </a:lnTo>
                        <a:lnTo>
                          <a:pt x="1047" y="274"/>
                        </a:lnTo>
                        <a:lnTo>
                          <a:pt x="1035" y="267"/>
                        </a:lnTo>
                        <a:lnTo>
                          <a:pt x="1030" y="266"/>
                        </a:lnTo>
                        <a:lnTo>
                          <a:pt x="1017" y="267"/>
                        </a:lnTo>
                        <a:lnTo>
                          <a:pt x="1012" y="261"/>
                        </a:lnTo>
                        <a:lnTo>
                          <a:pt x="1004" y="264"/>
                        </a:lnTo>
                        <a:lnTo>
                          <a:pt x="1007" y="256"/>
                        </a:lnTo>
                        <a:lnTo>
                          <a:pt x="1010" y="247"/>
                        </a:lnTo>
                        <a:lnTo>
                          <a:pt x="1004" y="246"/>
                        </a:lnTo>
                        <a:lnTo>
                          <a:pt x="997" y="244"/>
                        </a:lnTo>
                        <a:lnTo>
                          <a:pt x="990" y="247"/>
                        </a:lnTo>
                        <a:lnTo>
                          <a:pt x="989" y="254"/>
                        </a:lnTo>
                        <a:lnTo>
                          <a:pt x="995" y="256"/>
                        </a:lnTo>
                        <a:lnTo>
                          <a:pt x="989" y="264"/>
                        </a:lnTo>
                        <a:lnTo>
                          <a:pt x="979" y="262"/>
                        </a:lnTo>
                        <a:lnTo>
                          <a:pt x="984" y="256"/>
                        </a:lnTo>
                        <a:lnTo>
                          <a:pt x="975" y="249"/>
                        </a:lnTo>
                        <a:lnTo>
                          <a:pt x="965" y="251"/>
                        </a:lnTo>
                        <a:lnTo>
                          <a:pt x="960" y="256"/>
                        </a:lnTo>
                        <a:lnTo>
                          <a:pt x="962" y="264"/>
                        </a:lnTo>
                        <a:lnTo>
                          <a:pt x="957" y="274"/>
                        </a:lnTo>
                        <a:lnTo>
                          <a:pt x="957" y="286"/>
                        </a:lnTo>
                        <a:lnTo>
                          <a:pt x="954" y="284"/>
                        </a:lnTo>
                        <a:lnTo>
                          <a:pt x="945" y="284"/>
                        </a:lnTo>
                        <a:lnTo>
                          <a:pt x="947" y="289"/>
                        </a:lnTo>
                        <a:lnTo>
                          <a:pt x="940" y="289"/>
                        </a:lnTo>
                        <a:lnTo>
                          <a:pt x="934" y="281"/>
                        </a:lnTo>
                        <a:lnTo>
                          <a:pt x="930" y="286"/>
                        </a:lnTo>
                        <a:lnTo>
                          <a:pt x="922" y="284"/>
                        </a:lnTo>
                        <a:lnTo>
                          <a:pt x="909" y="286"/>
                        </a:lnTo>
                        <a:lnTo>
                          <a:pt x="899" y="289"/>
                        </a:lnTo>
                        <a:lnTo>
                          <a:pt x="905" y="277"/>
                        </a:lnTo>
                        <a:lnTo>
                          <a:pt x="912" y="271"/>
                        </a:lnTo>
                        <a:lnTo>
                          <a:pt x="914" y="261"/>
                        </a:lnTo>
                        <a:lnTo>
                          <a:pt x="915" y="256"/>
                        </a:lnTo>
                        <a:lnTo>
                          <a:pt x="917" y="249"/>
                        </a:lnTo>
                        <a:lnTo>
                          <a:pt x="912" y="246"/>
                        </a:lnTo>
                        <a:lnTo>
                          <a:pt x="905" y="256"/>
                        </a:lnTo>
                        <a:lnTo>
                          <a:pt x="899" y="256"/>
                        </a:lnTo>
                        <a:lnTo>
                          <a:pt x="889" y="259"/>
                        </a:lnTo>
                        <a:lnTo>
                          <a:pt x="879" y="259"/>
                        </a:lnTo>
                        <a:lnTo>
                          <a:pt x="871" y="267"/>
                        </a:lnTo>
                        <a:lnTo>
                          <a:pt x="862" y="276"/>
                        </a:lnTo>
                        <a:lnTo>
                          <a:pt x="856" y="279"/>
                        </a:lnTo>
                        <a:lnTo>
                          <a:pt x="862" y="267"/>
                        </a:lnTo>
                        <a:lnTo>
                          <a:pt x="856" y="264"/>
                        </a:lnTo>
                        <a:lnTo>
                          <a:pt x="851" y="269"/>
                        </a:lnTo>
                        <a:lnTo>
                          <a:pt x="852" y="274"/>
                        </a:lnTo>
                        <a:lnTo>
                          <a:pt x="846" y="274"/>
                        </a:lnTo>
                        <a:lnTo>
                          <a:pt x="837" y="274"/>
                        </a:lnTo>
                        <a:lnTo>
                          <a:pt x="831" y="266"/>
                        </a:lnTo>
                        <a:lnTo>
                          <a:pt x="847" y="266"/>
                        </a:lnTo>
                        <a:lnTo>
                          <a:pt x="842" y="256"/>
                        </a:lnTo>
                        <a:lnTo>
                          <a:pt x="851" y="249"/>
                        </a:lnTo>
                        <a:lnTo>
                          <a:pt x="854" y="246"/>
                        </a:lnTo>
                        <a:lnTo>
                          <a:pt x="854" y="241"/>
                        </a:lnTo>
                        <a:lnTo>
                          <a:pt x="846" y="241"/>
                        </a:lnTo>
                        <a:lnTo>
                          <a:pt x="839" y="227"/>
                        </a:lnTo>
                        <a:lnTo>
                          <a:pt x="837" y="222"/>
                        </a:lnTo>
                        <a:lnTo>
                          <a:pt x="842" y="212"/>
                        </a:lnTo>
                        <a:lnTo>
                          <a:pt x="829" y="216"/>
                        </a:lnTo>
                        <a:lnTo>
                          <a:pt x="819" y="222"/>
                        </a:lnTo>
                        <a:lnTo>
                          <a:pt x="814" y="226"/>
                        </a:lnTo>
                        <a:lnTo>
                          <a:pt x="802" y="226"/>
                        </a:lnTo>
                        <a:lnTo>
                          <a:pt x="799" y="234"/>
                        </a:lnTo>
                        <a:lnTo>
                          <a:pt x="791" y="234"/>
                        </a:lnTo>
                        <a:lnTo>
                          <a:pt x="786" y="244"/>
                        </a:lnTo>
                        <a:lnTo>
                          <a:pt x="776" y="241"/>
                        </a:lnTo>
                        <a:lnTo>
                          <a:pt x="781" y="254"/>
                        </a:lnTo>
                        <a:lnTo>
                          <a:pt x="778" y="261"/>
                        </a:lnTo>
                        <a:lnTo>
                          <a:pt x="771" y="254"/>
                        </a:lnTo>
                        <a:lnTo>
                          <a:pt x="758" y="254"/>
                        </a:lnTo>
                        <a:lnTo>
                          <a:pt x="739" y="251"/>
                        </a:lnTo>
                        <a:lnTo>
                          <a:pt x="738" y="257"/>
                        </a:lnTo>
                        <a:lnTo>
                          <a:pt x="733" y="262"/>
                        </a:lnTo>
                        <a:lnTo>
                          <a:pt x="726" y="256"/>
                        </a:lnTo>
                        <a:lnTo>
                          <a:pt x="721" y="261"/>
                        </a:lnTo>
                        <a:lnTo>
                          <a:pt x="716" y="266"/>
                        </a:lnTo>
                        <a:lnTo>
                          <a:pt x="714" y="262"/>
                        </a:lnTo>
                        <a:lnTo>
                          <a:pt x="716" y="256"/>
                        </a:lnTo>
                        <a:lnTo>
                          <a:pt x="716" y="249"/>
                        </a:lnTo>
                        <a:lnTo>
                          <a:pt x="724" y="246"/>
                        </a:lnTo>
                        <a:lnTo>
                          <a:pt x="731" y="237"/>
                        </a:lnTo>
                        <a:lnTo>
                          <a:pt x="726" y="231"/>
                        </a:lnTo>
                        <a:lnTo>
                          <a:pt x="724" y="237"/>
                        </a:lnTo>
                        <a:lnTo>
                          <a:pt x="718" y="234"/>
                        </a:lnTo>
                        <a:lnTo>
                          <a:pt x="711" y="227"/>
                        </a:lnTo>
                        <a:lnTo>
                          <a:pt x="708" y="229"/>
                        </a:lnTo>
                        <a:lnTo>
                          <a:pt x="709" y="241"/>
                        </a:lnTo>
                        <a:lnTo>
                          <a:pt x="704" y="244"/>
                        </a:lnTo>
                        <a:lnTo>
                          <a:pt x="708" y="247"/>
                        </a:lnTo>
                        <a:lnTo>
                          <a:pt x="703" y="256"/>
                        </a:lnTo>
                        <a:lnTo>
                          <a:pt x="686" y="257"/>
                        </a:lnTo>
                        <a:lnTo>
                          <a:pt x="681" y="247"/>
                        </a:lnTo>
                        <a:lnTo>
                          <a:pt x="673" y="249"/>
                        </a:lnTo>
                        <a:lnTo>
                          <a:pt x="671" y="246"/>
                        </a:lnTo>
                        <a:lnTo>
                          <a:pt x="676" y="241"/>
                        </a:lnTo>
                        <a:lnTo>
                          <a:pt x="671" y="237"/>
                        </a:lnTo>
                        <a:lnTo>
                          <a:pt x="666" y="241"/>
                        </a:lnTo>
                        <a:lnTo>
                          <a:pt x="663" y="236"/>
                        </a:lnTo>
                        <a:lnTo>
                          <a:pt x="653" y="246"/>
                        </a:lnTo>
                        <a:lnTo>
                          <a:pt x="648" y="241"/>
                        </a:lnTo>
                        <a:lnTo>
                          <a:pt x="660" y="231"/>
                        </a:lnTo>
                        <a:lnTo>
                          <a:pt x="653" y="222"/>
                        </a:lnTo>
                        <a:lnTo>
                          <a:pt x="646" y="234"/>
                        </a:lnTo>
                        <a:lnTo>
                          <a:pt x="643" y="232"/>
                        </a:lnTo>
                        <a:lnTo>
                          <a:pt x="640" y="229"/>
                        </a:lnTo>
                        <a:lnTo>
                          <a:pt x="646" y="222"/>
                        </a:lnTo>
                        <a:lnTo>
                          <a:pt x="656" y="216"/>
                        </a:lnTo>
                        <a:lnTo>
                          <a:pt x="663" y="219"/>
                        </a:lnTo>
                        <a:lnTo>
                          <a:pt x="663" y="211"/>
                        </a:lnTo>
                        <a:lnTo>
                          <a:pt x="655" y="206"/>
                        </a:lnTo>
                        <a:lnTo>
                          <a:pt x="660" y="197"/>
                        </a:lnTo>
                        <a:lnTo>
                          <a:pt x="650" y="191"/>
                        </a:lnTo>
                        <a:lnTo>
                          <a:pt x="648" y="202"/>
                        </a:lnTo>
                        <a:lnTo>
                          <a:pt x="646" y="207"/>
                        </a:lnTo>
                        <a:lnTo>
                          <a:pt x="641" y="202"/>
                        </a:lnTo>
                        <a:lnTo>
                          <a:pt x="636" y="202"/>
                        </a:lnTo>
                        <a:lnTo>
                          <a:pt x="636" y="207"/>
                        </a:lnTo>
                        <a:lnTo>
                          <a:pt x="640" y="211"/>
                        </a:lnTo>
                        <a:lnTo>
                          <a:pt x="631" y="217"/>
                        </a:lnTo>
                        <a:lnTo>
                          <a:pt x="628" y="222"/>
                        </a:lnTo>
                        <a:lnTo>
                          <a:pt x="621" y="217"/>
                        </a:lnTo>
                        <a:lnTo>
                          <a:pt x="628" y="212"/>
                        </a:lnTo>
                        <a:lnTo>
                          <a:pt x="626" y="206"/>
                        </a:lnTo>
                        <a:lnTo>
                          <a:pt x="611" y="214"/>
                        </a:lnTo>
                        <a:lnTo>
                          <a:pt x="611" y="222"/>
                        </a:lnTo>
                        <a:lnTo>
                          <a:pt x="606" y="227"/>
                        </a:lnTo>
                        <a:lnTo>
                          <a:pt x="598" y="224"/>
                        </a:lnTo>
                        <a:lnTo>
                          <a:pt x="595" y="231"/>
                        </a:lnTo>
                        <a:lnTo>
                          <a:pt x="601" y="232"/>
                        </a:lnTo>
                        <a:lnTo>
                          <a:pt x="611" y="232"/>
                        </a:lnTo>
                        <a:lnTo>
                          <a:pt x="615" y="246"/>
                        </a:lnTo>
                        <a:lnTo>
                          <a:pt x="613" y="251"/>
                        </a:lnTo>
                        <a:lnTo>
                          <a:pt x="620" y="261"/>
                        </a:lnTo>
                        <a:lnTo>
                          <a:pt x="621" y="267"/>
                        </a:lnTo>
                        <a:lnTo>
                          <a:pt x="621" y="281"/>
                        </a:lnTo>
                        <a:lnTo>
                          <a:pt x="635" y="292"/>
                        </a:lnTo>
                        <a:lnTo>
                          <a:pt x="636" y="300"/>
                        </a:lnTo>
                        <a:lnTo>
                          <a:pt x="635" y="310"/>
                        </a:lnTo>
                        <a:lnTo>
                          <a:pt x="643" y="315"/>
                        </a:lnTo>
                        <a:lnTo>
                          <a:pt x="631" y="324"/>
                        </a:lnTo>
                        <a:lnTo>
                          <a:pt x="640" y="330"/>
                        </a:lnTo>
                        <a:lnTo>
                          <a:pt x="650" y="324"/>
                        </a:lnTo>
                        <a:lnTo>
                          <a:pt x="658" y="332"/>
                        </a:lnTo>
                        <a:lnTo>
                          <a:pt x="661" y="342"/>
                        </a:lnTo>
                        <a:lnTo>
                          <a:pt x="653" y="347"/>
                        </a:lnTo>
                        <a:lnTo>
                          <a:pt x="658" y="352"/>
                        </a:lnTo>
                        <a:lnTo>
                          <a:pt x="666" y="352"/>
                        </a:lnTo>
                        <a:lnTo>
                          <a:pt x="663" y="364"/>
                        </a:lnTo>
                        <a:lnTo>
                          <a:pt x="663" y="367"/>
                        </a:lnTo>
                        <a:lnTo>
                          <a:pt x="658" y="377"/>
                        </a:lnTo>
                        <a:lnTo>
                          <a:pt x="640" y="387"/>
                        </a:lnTo>
                        <a:lnTo>
                          <a:pt x="635" y="382"/>
                        </a:lnTo>
                        <a:lnTo>
                          <a:pt x="628" y="385"/>
                        </a:lnTo>
                        <a:lnTo>
                          <a:pt x="620" y="374"/>
                        </a:lnTo>
                        <a:lnTo>
                          <a:pt x="605" y="357"/>
                        </a:lnTo>
                        <a:lnTo>
                          <a:pt x="593" y="370"/>
                        </a:lnTo>
                        <a:lnTo>
                          <a:pt x="586" y="375"/>
                        </a:lnTo>
                        <a:lnTo>
                          <a:pt x="578" y="369"/>
                        </a:lnTo>
                        <a:lnTo>
                          <a:pt x="580" y="360"/>
                        </a:lnTo>
                        <a:lnTo>
                          <a:pt x="578" y="347"/>
                        </a:lnTo>
                        <a:lnTo>
                          <a:pt x="573" y="350"/>
                        </a:lnTo>
                        <a:lnTo>
                          <a:pt x="565" y="337"/>
                        </a:lnTo>
                        <a:lnTo>
                          <a:pt x="573" y="320"/>
                        </a:lnTo>
                        <a:lnTo>
                          <a:pt x="570" y="314"/>
                        </a:lnTo>
                        <a:lnTo>
                          <a:pt x="565" y="299"/>
                        </a:lnTo>
                        <a:lnTo>
                          <a:pt x="556" y="290"/>
                        </a:lnTo>
                        <a:lnTo>
                          <a:pt x="578" y="271"/>
                        </a:lnTo>
                        <a:lnTo>
                          <a:pt x="578" y="262"/>
                        </a:lnTo>
                        <a:lnTo>
                          <a:pt x="585" y="252"/>
                        </a:lnTo>
                        <a:lnTo>
                          <a:pt x="593" y="249"/>
                        </a:lnTo>
                        <a:lnTo>
                          <a:pt x="585" y="244"/>
                        </a:lnTo>
                        <a:lnTo>
                          <a:pt x="586" y="234"/>
                        </a:lnTo>
                        <a:lnTo>
                          <a:pt x="576" y="227"/>
                        </a:lnTo>
                        <a:lnTo>
                          <a:pt x="580" y="222"/>
                        </a:lnTo>
                        <a:lnTo>
                          <a:pt x="575" y="217"/>
                        </a:lnTo>
                        <a:lnTo>
                          <a:pt x="580" y="211"/>
                        </a:lnTo>
                        <a:lnTo>
                          <a:pt x="590" y="199"/>
                        </a:lnTo>
                        <a:lnTo>
                          <a:pt x="586" y="196"/>
                        </a:lnTo>
                        <a:lnTo>
                          <a:pt x="600" y="189"/>
                        </a:lnTo>
                        <a:lnTo>
                          <a:pt x="610" y="194"/>
                        </a:lnTo>
                        <a:lnTo>
                          <a:pt x="645" y="178"/>
                        </a:lnTo>
                        <a:lnTo>
                          <a:pt x="640" y="159"/>
                        </a:lnTo>
                        <a:lnTo>
                          <a:pt x="650" y="163"/>
                        </a:lnTo>
                        <a:lnTo>
                          <a:pt x="655" y="159"/>
                        </a:lnTo>
                        <a:lnTo>
                          <a:pt x="650" y="156"/>
                        </a:lnTo>
                        <a:lnTo>
                          <a:pt x="658" y="141"/>
                        </a:lnTo>
                        <a:lnTo>
                          <a:pt x="665" y="131"/>
                        </a:lnTo>
                        <a:lnTo>
                          <a:pt x="666" y="126"/>
                        </a:lnTo>
                        <a:lnTo>
                          <a:pt x="673" y="121"/>
                        </a:lnTo>
                        <a:lnTo>
                          <a:pt x="668" y="119"/>
                        </a:lnTo>
                        <a:lnTo>
                          <a:pt x="660" y="113"/>
                        </a:lnTo>
                        <a:lnTo>
                          <a:pt x="673" y="108"/>
                        </a:lnTo>
                        <a:lnTo>
                          <a:pt x="668" y="103"/>
                        </a:lnTo>
                        <a:lnTo>
                          <a:pt x="684" y="89"/>
                        </a:lnTo>
                        <a:lnTo>
                          <a:pt x="669" y="41"/>
                        </a:lnTo>
                        <a:lnTo>
                          <a:pt x="665" y="31"/>
                        </a:lnTo>
                        <a:lnTo>
                          <a:pt x="661" y="28"/>
                        </a:lnTo>
                        <a:lnTo>
                          <a:pt x="653" y="28"/>
                        </a:lnTo>
                        <a:lnTo>
                          <a:pt x="645" y="18"/>
                        </a:lnTo>
                        <a:lnTo>
                          <a:pt x="638" y="13"/>
                        </a:lnTo>
                        <a:lnTo>
                          <a:pt x="628" y="13"/>
                        </a:lnTo>
                        <a:lnTo>
                          <a:pt x="616" y="15"/>
                        </a:lnTo>
                        <a:lnTo>
                          <a:pt x="611" y="18"/>
                        </a:lnTo>
                        <a:lnTo>
                          <a:pt x="601" y="16"/>
                        </a:lnTo>
                        <a:lnTo>
                          <a:pt x="591" y="10"/>
                        </a:lnTo>
                        <a:lnTo>
                          <a:pt x="591" y="5"/>
                        </a:lnTo>
                        <a:lnTo>
                          <a:pt x="586" y="0"/>
                        </a:lnTo>
                        <a:lnTo>
                          <a:pt x="581" y="6"/>
                        </a:lnTo>
                        <a:lnTo>
                          <a:pt x="575" y="13"/>
                        </a:lnTo>
                        <a:lnTo>
                          <a:pt x="563" y="13"/>
                        </a:lnTo>
                        <a:lnTo>
                          <a:pt x="560" y="18"/>
                        </a:lnTo>
                        <a:lnTo>
                          <a:pt x="553" y="20"/>
                        </a:lnTo>
                        <a:lnTo>
                          <a:pt x="555" y="26"/>
                        </a:lnTo>
                        <a:lnTo>
                          <a:pt x="547" y="31"/>
                        </a:lnTo>
                        <a:lnTo>
                          <a:pt x="537" y="31"/>
                        </a:lnTo>
                        <a:lnTo>
                          <a:pt x="503" y="51"/>
                        </a:lnTo>
                        <a:lnTo>
                          <a:pt x="465" y="74"/>
                        </a:lnTo>
                        <a:lnTo>
                          <a:pt x="447" y="79"/>
                        </a:lnTo>
                        <a:lnTo>
                          <a:pt x="395" y="113"/>
                        </a:lnTo>
                        <a:lnTo>
                          <a:pt x="375" y="138"/>
                        </a:lnTo>
                        <a:lnTo>
                          <a:pt x="357" y="139"/>
                        </a:lnTo>
                        <a:lnTo>
                          <a:pt x="345" y="148"/>
                        </a:lnTo>
                        <a:lnTo>
                          <a:pt x="337" y="163"/>
                        </a:lnTo>
                        <a:lnTo>
                          <a:pt x="340" y="173"/>
                        </a:lnTo>
                        <a:lnTo>
                          <a:pt x="344" y="182"/>
                        </a:lnTo>
                        <a:lnTo>
                          <a:pt x="344" y="199"/>
                        </a:lnTo>
                        <a:lnTo>
                          <a:pt x="354" y="217"/>
                        </a:lnTo>
                        <a:lnTo>
                          <a:pt x="360" y="219"/>
                        </a:lnTo>
                        <a:lnTo>
                          <a:pt x="380" y="227"/>
                        </a:lnTo>
                        <a:lnTo>
                          <a:pt x="390" y="226"/>
                        </a:lnTo>
                        <a:lnTo>
                          <a:pt x="410" y="226"/>
                        </a:lnTo>
                        <a:lnTo>
                          <a:pt x="419" y="219"/>
                        </a:lnTo>
                        <a:lnTo>
                          <a:pt x="430" y="227"/>
                        </a:lnTo>
                        <a:lnTo>
                          <a:pt x="434" y="212"/>
                        </a:lnTo>
                        <a:lnTo>
                          <a:pt x="437" y="209"/>
                        </a:lnTo>
                        <a:lnTo>
                          <a:pt x="452" y="209"/>
                        </a:lnTo>
                        <a:lnTo>
                          <a:pt x="450" y="227"/>
                        </a:lnTo>
                        <a:lnTo>
                          <a:pt x="450" y="237"/>
                        </a:lnTo>
                        <a:lnTo>
                          <a:pt x="458" y="241"/>
                        </a:lnTo>
                        <a:lnTo>
                          <a:pt x="452" y="251"/>
                        </a:lnTo>
                        <a:lnTo>
                          <a:pt x="450" y="257"/>
                        </a:lnTo>
                        <a:lnTo>
                          <a:pt x="432" y="256"/>
                        </a:lnTo>
                        <a:lnTo>
                          <a:pt x="415" y="261"/>
                        </a:lnTo>
                        <a:lnTo>
                          <a:pt x="397" y="261"/>
                        </a:lnTo>
                        <a:lnTo>
                          <a:pt x="390" y="262"/>
                        </a:lnTo>
                        <a:lnTo>
                          <a:pt x="380" y="274"/>
                        </a:lnTo>
                        <a:lnTo>
                          <a:pt x="392" y="294"/>
                        </a:lnTo>
                        <a:lnTo>
                          <a:pt x="374" y="294"/>
                        </a:lnTo>
                        <a:lnTo>
                          <a:pt x="375" y="300"/>
                        </a:lnTo>
                        <a:lnTo>
                          <a:pt x="390" y="309"/>
                        </a:lnTo>
                        <a:lnTo>
                          <a:pt x="397" y="302"/>
                        </a:lnTo>
                        <a:lnTo>
                          <a:pt x="405" y="305"/>
                        </a:lnTo>
                        <a:lnTo>
                          <a:pt x="405" y="317"/>
                        </a:lnTo>
                        <a:lnTo>
                          <a:pt x="404" y="322"/>
                        </a:lnTo>
                        <a:lnTo>
                          <a:pt x="410" y="325"/>
                        </a:lnTo>
                        <a:lnTo>
                          <a:pt x="412" y="334"/>
                        </a:lnTo>
                        <a:lnTo>
                          <a:pt x="407" y="345"/>
                        </a:lnTo>
                        <a:lnTo>
                          <a:pt x="394" y="350"/>
                        </a:lnTo>
                        <a:lnTo>
                          <a:pt x="390" y="340"/>
                        </a:lnTo>
                        <a:lnTo>
                          <a:pt x="380" y="335"/>
                        </a:lnTo>
                        <a:lnTo>
                          <a:pt x="377" y="339"/>
                        </a:lnTo>
                        <a:lnTo>
                          <a:pt x="379" y="349"/>
                        </a:lnTo>
                        <a:lnTo>
                          <a:pt x="380" y="362"/>
                        </a:lnTo>
                        <a:lnTo>
                          <a:pt x="379" y="370"/>
                        </a:lnTo>
                        <a:lnTo>
                          <a:pt x="384" y="379"/>
                        </a:lnTo>
                        <a:lnTo>
                          <a:pt x="390" y="380"/>
                        </a:lnTo>
                        <a:lnTo>
                          <a:pt x="390" y="389"/>
                        </a:lnTo>
                        <a:lnTo>
                          <a:pt x="384" y="397"/>
                        </a:lnTo>
                        <a:lnTo>
                          <a:pt x="375" y="394"/>
                        </a:lnTo>
                        <a:lnTo>
                          <a:pt x="365" y="390"/>
                        </a:lnTo>
                        <a:lnTo>
                          <a:pt x="359" y="392"/>
                        </a:lnTo>
                        <a:lnTo>
                          <a:pt x="352" y="384"/>
                        </a:lnTo>
                        <a:lnTo>
                          <a:pt x="359" y="380"/>
                        </a:lnTo>
                        <a:lnTo>
                          <a:pt x="355" y="370"/>
                        </a:lnTo>
                        <a:lnTo>
                          <a:pt x="347" y="375"/>
                        </a:lnTo>
                        <a:lnTo>
                          <a:pt x="344" y="379"/>
                        </a:lnTo>
                        <a:lnTo>
                          <a:pt x="340" y="392"/>
                        </a:lnTo>
                        <a:lnTo>
                          <a:pt x="329" y="382"/>
                        </a:lnTo>
                        <a:lnTo>
                          <a:pt x="321" y="384"/>
                        </a:lnTo>
                        <a:lnTo>
                          <a:pt x="312" y="377"/>
                        </a:lnTo>
                        <a:lnTo>
                          <a:pt x="297" y="382"/>
                        </a:lnTo>
                        <a:lnTo>
                          <a:pt x="296" y="379"/>
                        </a:lnTo>
                        <a:lnTo>
                          <a:pt x="297" y="367"/>
                        </a:lnTo>
                        <a:lnTo>
                          <a:pt x="289" y="364"/>
                        </a:lnTo>
                        <a:lnTo>
                          <a:pt x="287" y="369"/>
                        </a:lnTo>
                        <a:lnTo>
                          <a:pt x="287" y="395"/>
                        </a:lnTo>
                        <a:lnTo>
                          <a:pt x="269" y="403"/>
                        </a:lnTo>
                        <a:lnTo>
                          <a:pt x="262" y="412"/>
                        </a:lnTo>
                        <a:lnTo>
                          <a:pt x="269" y="418"/>
                        </a:lnTo>
                        <a:lnTo>
                          <a:pt x="262" y="425"/>
                        </a:lnTo>
                        <a:lnTo>
                          <a:pt x="249" y="427"/>
                        </a:lnTo>
                        <a:lnTo>
                          <a:pt x="241" y="430"/>
                        </a:lnTo>
                        <a:lnTo>
                          <a:pt x="237" y="427"/>
                        </a:lnTo>
                        <a:lnTo>
                          <a:pt x="231" y="430"/>
                        </a:lnTo>
                        <a:lnTo>
                          <a:pt x="232" y="440"/>
                        </a:lnTo>
                        <a:lnTo>
                          <a:pt x="226" y="440"/>
                        </a:lnTo>
                        <a:lnTo>
                          <a:pt x="219" y="442"/>
                        </a:lnTo>
                        <a:lnTo>
                          <a:pt x="212" y="438"/>
                        </a:lnTo>
                        <a:lnTo>
                          <a:pt x="208" y="425"/>
                        </a:lnTo>
                        <a:lnTo>
                          <a:pt x="201" y="425"/>
                        </a:lnTo>
                        <a:lnTo>
                          <a:pt x="198" y="420"/>
                        </a:lnTo>
                        <a:lnTo>
                          <a:pt x="201" y="410"/>
                        </a:lnTo>
                        <a:lnTo>
                          <a:pt x="211" y="403"/>
                        </a:lnTo>
                        <a:lnTo>
                          <a:pt x="217" y="410"/>
                        </a:lnTo>
                        <a:lnTo>
                          <a:pt x="229" y="412"/>
                        </a:lnTo>
                        <a:lnTo>
                          <a:pt x="239" y="403"/>
                        </a:lnTo>
                        <a:lnTo>
                          <a:pt x="251" y="398"/>
                        </a:lnTo>
                        <a:lnTo>
                          <a:pt x="234" y="392"/>
                        </a:lnTo>
                        <a:lnTo>
                          <a:pt x="236" y="380"/>
                        </a:lnTo>
                        <a:lnTo>
                          <a:pt x="247" y="375"/>
                        </a:lnTo>
                        <a:lnTo>
                          <a:pt x="237" y="364"/>
                        </a:lnTo>
                        <a:lnTo>
                          <a:pt x="234" y="355"/>
                        </a:lnTo>
                        <a:lnTo>
                          <a:pt x="239" y="345"/>
                        </a:lnTo>
                        <a:lnTo>
                          <a:pt x="247" y="342"/>
                        </a:lnTo>
                        <a:lnTo>
                          <a:pt x="252" y="349"/>
                        </a:lnTo>
                        <a:lnTo>
                          <a:pt x="259" y="347"/>
                        </a:lnTo>
                        <a:lnTo>
                          <a:pt x="254" y="335"/>
                        </a:lnTo>
                        <a:lnTo>
                          <a:pt x="261" y="332"/>
                        </a:lnTo>
                        <a:lnTo>
                          <a:pt x="247" y="319"/>
                        </a:lnTo>
                        <a:lnTo>
                          <a:pt x="249" y="312"/>
                        </a:lnTo>
                        <a:lnTo>
                          <a:pt x="249" y="302"/>
                        </a:lnTo>
                        <a:lnTo>
                          <a:pt x="237" y="299"/>
                        </a:lnTo>
                        <a:lnTo>
                          <a:pt x="229" y="304"/>
                        </a:lnTo>
                        <a:lnTo>
                          <a:pt x="222" y="312"/>
                        </a:lnTo>
                        <a:lnTo>
                          <a:pt x="208" y="307"/>
                        </a:lnTo>
                        <a:lnTo>
                          <a:pt x="203" y="314"/>
                        </a:lnTo>
                        <a:lnTo>
                          <a:pt x="181" y="304"/>
                        </a:lnTo>
                        <a:lnTo>
                          <a:pt x="173" y="305"/>
                        </a:lnTo>
                        <a:lnTo>
                          <a:pt x="168" y="304"/>
                        </a:lnTo>
                        <a:lnTo>
                          <a:pt x="168" y="295"/>
                        </a:lnTo>
                        <a:lnTo>
                          <a:pt x="176" y="290"/>
                        </a:lnTo>
                        <a:lnTo>
                          <a:pt x="176" y="286"/>
                        </a:lnTo>
                        <a:lnTo>
                          <a:pt x="186" y="294"/>
                        </a:lnTo>
                        <a:lnTo>
                          <a:pt x="201" y="289"/>
                        </a:lnTo>
                        <a:lnTo>
                          <a:pt x="198" y="279"/>
                        </a:lnTo>
                        <a:lnTo>
                          <a:pt x="189" y="284"/>
                        </a:lnTo>
                        <a:lnTo>
                          <a:pt x="183" y="286"/>
                        </a:lnTo>
                        <a:lnTo>
                          <a:pt x="178" y="282"/>
                        </a:lnTo>
                        <a:lnTo>
                          <a:pt x="179" y="272"/>
                        </a:lnTo>
                        <a:lnTo>
                          <a:pt x="188" y="279"/>
                        </a:lnTo>
                        <a:lnTo>
                          <a:pt x="188" y="261"/>
                        </a:lnTo>
                        <a:lnTo>
                          <a:pt x="179" y="257"/>
                        </a:lnTo>
                        <a:lnTo>
                          <a:pt x="163" y="256"/>
                        </a:lnTo>
                        <a:lnTo>
                          <a:pt x="159" y="279"/>
                        </a:lnTo>
                        <a:lnTo>
                          <a:pt x="153" y="286"/>
                        </a:lnTo>
                        <a:lnTo>
                          <a:pt x="139" y="286"/>
                        </a:lnTo>
                        <a:lnTo>
                          <a:pt x="131" y="274"/>
                        </a:lnTo>
                        <a:lnTo>
                          <a:pt x="126" y="271"/>
                        </a:lnTo>
                        <a:lnTo>
                          <a:pt x="123" y="266"/>
                        </a:lnTo>
                        <a:lnTo>
                          <a:pt x="119" y="276"/>
                        </a:lnTo>
                        <a:lnTo>
                          <a:pt x="121" y="284"/>
                        </a:lnTo>
                        <a:lnTo>
                          <a:pt x="124" y="295"/>
                        </a:lnTo>
                        <a:lnTo>
                          <a:pt x="141" y="295"/>
                        </a:lnTo>
                        <a:lnTo>
                          <a:pt x="144" y="299"/>
                        </a:lnTo>
                        <a:lnTo>
                          <a:pt x="133" y="315"/>
                        </a:lnTo>
                        <a:lnTo>
                          <a:pt x="126" y="315"/>
                        </a:lnTo>
                        <a:lnTo>
                          <a:pt x="116" y="295"/>
                        </a:lnTo>
                        <a:lnTo>
                          <a:pt x="116" y="307"/>
                        </a:lnTo>
                        <a:lnTo>
                          <a:pt x="116" y="319"/>
                        </a:lnTo>
                        <a:lnTo>
                          <a:pt x="106" y="325"/>
                        </a:lnTo>
                        <a:lnTo>
                          <a:pt x="108" y="335"/>
                        </a:lnTo>
                        <a:lnTo>
                          <a:pt x="123" y="342"/>
                        </a:lnTo>
                        <a:lnTo>
                          <a:pt x="113" y="355"/>
                        </a:lnTo>
                        <a:lnTo>
                          <a:pt x="108" y="364"/>
                        </a:lnTo>
                        <a:lnTo>
                          <a:pt x="104" y="370"/>
                        </a:lnTo>
                        <a:lnTo>
                          <a:pt x="128" y="369"/>
                        </a:lnTo>
                        <a:lnTo>
                          <a:pt x="128" y="379"/>
                        </a:lnTo>
                        <a:lnTo>
                          <a:pt x="124" y="385"/>
                        </a:lnTo>
                        <a:lnTo>
                          <a:pt x="133" y="397"/>
                        </a:lnTo>
                        <a:lnTo>
                          <a:pt x="136" y="397"/>
                        </a:lnTo>
                        <a:lnTo>
                          <a:pt x="138" y="403"/>
                        </a:lnTo>
                        <a:lnTo>
                          <a:pt x="128" y="410"/>
                        </a:lnTo>
                        <a:lnTo>
                          <a:pt x="126" y="423"/>
                        </a:lnTo>
                        <a:lnTo>
                          <a:pt x="126" y="433"/>
                        </a:lnTo>
                        <a:lnTo>
                          <a:pt x="128" y="442"/>
                        </a:lnTo>
                        <a:lnTo>
                          <a:pt x="124" y="452"/>
                        </a:lnTo>
                        <a:lnTo>
                          <a:pt x="131" y="458"/>
                        </a:lnTo>
                        <a:lnTo>
                          <a:pt x="123" y="458"/>
                        </a:lnTo>
                        <a:lnTo>
                          <a:pt x="118" y="470"/>
                        </a:lnTo>
                        <a:lnTo>
                          <a:pt x="103" y="470"/>
                        </a:lnTo>
                        <a:lnTo>
                          <a:pt x="101" y="478"/>
                        </a:lnTo>
                        <a:lnTo>
                          <a:pt x="91" y="475"/>
                        </a:lnTo>
                        <a:lnTo>
                          <a:pt x="80" y="485"/>
                        </a:lnTo>
                        <a:lnTo>
                          <a:pt x="80" y="495"/>
                        </a:lnTo>
                        <a:lnTo>
                          <a:pt x="73" y="498"/>
                        </a:lnTo>
                        <a:lnTo>
                          <a:pt x="75" y="506"/>
                        </a:lnTo>
                        <a:lnTo>
                          <a:pt x="86" y="510"/>
                        </a:lnTo>
                        <a:lnTo>
                          <a:pt x="95" y="508"/>
                        </a:lnTo>
                        <a:lnTo>
                          <a:pt x="99" y="518"/>
                        </a:lnTo>
                        <a:lnTo>
                          <a:pt x="98" y="523"/>
                        </a:lnTo>
                        <a:lnTo>
                          <a:pt x="93" y="518"/>
                        </a:lnTo>
                        <a:lnTo>
                          <a:pt x="83" y="523"/>
                        </a:lnTo>
                        <a:lnTo>
                          <a:pt x="71" y="533"/>
                        </a:lnTo>
                        <a:lnTo>
                          <a:pt x="55" y="535"/>
                        </a:lnTo>
                        <a:lnTo>
                          <a:pt x="50" y="531"/>
                        </a:lnTo>
                        <a:lnTo>
                          <a:pt x="43" y="540"/>
                        </a:lnTo>
                        <a:lnTo>
                          <a:pt x="53" y="558"/>
                        </a:lnTo>
                        <a:lnTo>
                          <a:pt x="66" y="560"/>
                        </a:lnTo>
                        <a:lnTo>
                          <a:pt x="65" y="571"/>
                        </a:lnTo>
                        <a:lnTo>
                          <a:pt x="55" y="580"/>
                        </a:lnTo>
                        <a:lnTo>
                          <a:pt x="50" y="600"/>
                        </a:lnTo>
                        <a:lnTo>
                          <a:pt x="33" y="600"/>
                        </a:lnTo>
                        <a:lnTo>
                          <a:pt x="21" y="610"/>
                        </a:lnTo>
                        <a:lnTo>
                          <a:pt x="5" y="606"/>
                        </a:lnTo>
                        <a:lnTo>
                          <a:pt x="1" y="616"/>
                        </a:lnTo>
                        <a:lnTo>
                          <a:pt x="6" y="618"/>
                        </a:lnTo>
                        <a:lnTo>
                          <a:pt x="10" y="623"/>
                        </a:lnTo>
                        <a:lnTo>
                          <a:pt x="23" y="618"/>
                        </a:lnTo>
                        <a:lnTo>
                          <a:pt x="26" y="624"/>
                        </a:lnTo>
                        <a:lnTo>
                          <a:pt x="35" y="624"/>
                        </a:lnTo>
                        <a:lnTo>
                          <a:pt x="30" y="636"/>
                        </a:lnTo>
                        <a:lnTo>
                          <a:pt x="21" y="641"/>
                        </a:lnTo>
                        <a:lnTo>
                          <a:pt x="15" y="634"/>
                        </a:lnTo>
                        <a:lnTo>
                          <a:pt x="8" y="633"/>
                        </a:lnTo>
                        <a:lnTo>
                          <a:pt x="5" y="643"/>
                        </a:lnTo>
                        <a:lnTo>
                          <a:pt x="5" y="648"/>
                        </a:lnTo>
                        <a:lnTo>
                          <a:pt x="15" y="661"/>
                        </a:lnTo>
                        <a:lnTo>
                          <a:pt x="13" y="673"/>
                        </a:lnTo>
                        <a:lnTo>
                          <a:pt x="13" y="686"/>
                        </a:lnTo>
                        <a:lnTo>
                          <a:pt x="6" y="689"/>
                        </a:lnTo>
                        <a:lnTo>
                          <a:pt x="0" y="691"/>
                        </a:lnTo>
                        <a:lnTo>
                          <a:pt x="0" y="701"/>
                        </a:lnTo>
                        <a:lnTo>
                          <a:pt x="8" y="696"/>
                        </a:lnTo>
                        <a:lnTo>
                          <a:pt x="16" y="699"/>
                        </a:lnTo>
                        <a:lnTo>
                          <a:pt x="23" y="704"/>
                        </a:lnTo>
                        <a:lnTo>
                          <a:pt x="31" y="698"/>
                        </a:lnTo>
                        <a:lnTo>
                          <a:pt x="33" y="694"/>
                        </a:lnTo>
                        <a:lnTo>
                          <a:pt x="41" y="688"/>
                        </a:lnTo>
                        <a:lnTo>
                          <a:pt x="48" y="684"/>
                        </a:lnTo>
                        <a:lnTo>
                          <a:pt x="58" y="684"/>
                        </a:lnTo>
                        <a:lnTo>
                          <a:pt x="56" y="693"/>
                        </a:lnTo>
                        <a:lnTo>
                          <a:pt x="61" y="698"/>
                        </a:lnTo>
                        <a:lnTo>
                          <a:pt x="68" y="699"/>
                        </a:lnTo>
                        <a:lnTo>
                          <a:pt x="65" y="719"/>
                        </a:lnTo>
                        <a:lnTo>
                          <a:pt x="60" y="729"/>
                        </a:lnTo>
                        <a:lnTo>
                          <a:pt x="68" y="737"/>
                        </a:lnTo>
                        <a:lnTo>
                          <a:pt x="91" y="746"/>
                        </a:lnTo>
                        <a:lnTo>
                          <a:pt x="104" y="747"/>
                        </a:lnTo>
                        <a:lnTo>
                          <a:pt x="109" y="744"/>
                        </a:lnTo>
                        <a:lnTo>
                          <a:pt x="124" y="751"/>
                        </a:lnTo>
                        <a:lnTo>
                          <a:pt x="136" y="761"/>
                        </a:lnTo>
                        <a:lnTo>
                          <a:pt x="143" y="774"/>
                        </a:lnTo>
                        <a:lnTo>
                          <a:pt x="171" y="784"/>
                        </a:lnTo>
                        <a:lnTo>
                          <a:pt x="186" y="782"/>
                        </a:lnTo>
                        <a:lnTo>
                          <a:pt x="191" y="777"/>
                        </a:lnTo>
                        <a:lnTo>
                          <a:pt x="201" y="777"/>
                        </a:lnTo>
                        <a:lnTo>
                          <a:pt x="214" y="782"/>
                        </a:lnTo>
                        <a:lnTo>
                          <a:pt x="251" y="782"/>
                        </a:lnTo>
                        <a:lnTo>
                          <a:pt x="262" y="787"/>
                        </a:lnTo>
                        <a:lnTo>
                          <a:pt x="274" y="786"/>
                        </a:lnTo>
                        <a:lnTo>
                          <a:pt x="277" y="801"/>
                        </a:lnTo>
                        <a:lnTo>
                          <a:pt x="272" y="816"/>
                        </a:lnTo>
                        <a:lnTo>
                          <a:pt x="279" y="822"/>
                        </a:lnTo>
                        <a:lnTo>
                          <a:pt x="297" y="829"/>
                        </a:lnTo>
                        <a:lnTo>
                          <a:pt x="316" y="826"/>
                        </a:lnTo>
                        <a:lnTo>
                          <a:pt x="324" y="811"/>
                        </a:lnTo>
                        <a:lnTo>
                          <a:pt x="344" y="814"/>
                        </a:lnTo>
                        <a:lnTo>
                          <a:pt x="349" y="801"/>
                        </a:lnTo>
                        <a:lnTo>
                          <a:pt x="344" y="796"/>
                        </a:lnTo>
                        <a:lnTo>
                          <a:pt x="347" y="789"/>
                        </a:lnTo>
                        <a:lnTo>
                          <a:pt x="352" y="782"/>
                        </a:lnTo>
                        <a:lnTo>
                          <a:pt x="360" y="782"/>
                        </a:lnTo>
                        <a:lnTo>
                          <a:pt x="367" y="771"/>
                        </a:lnTo>
                        <a:lnTo>
                          <a:pt x="367" y="769"/>
                        </a:lnTo>
                        <a:lnTo>
                          <a:pt x="359" y="766"/>
                        </a:lnTo>
                        <a:lnTo>
                          <a:pt x="360" y="759"/>
                        </a:lnTo>
                        <a:lnTo>
                          <a:pt x="370" y="752"/>
                        </a:lnTo>
                        <a:lnTo>
                          <a:pt x="382" y="751"/>
                        </a:lnTo>
                        <a:lnTo>
                          <a:pt x="387" y="754"/>
                        </a:lnTo>
                        <a:lnTo>
                          <a:pt x="399" y="747"/>
                        </a:lnTo>
                        <a:lnTo>
                          <a:pt x="409" y="736"/>
                        </a:lnTo>
                        <a:lnTo>
                          <a:pt x="417" y="737"/>
                        </a:lnTo>
                        <a:lnTo>
                          <a:pt x="420" y="744"/>
                        </a:lnTo>
                        <a:lnTo>
                          <a:pt x="434" y="736"/>
                        </a:lnTo>
                        <a:lnTo>
                          <a:pt x="445" y="736"/>
                        </a:lnTo>
                        <a:lnTo>
                          <a:pt x="457" y="731"/>
                        </a:lnTo>
                        <a:lnTo>
                          <a:pt x="462" y="741"/>
                        </a:lnTo>
                        <a:lnTo>
                          <a:pt x="470" y="751"/>
                        </a:lnTo>
                        <a:lnTo>
                          <a:pt x="470" y="761"/>
                        </a:lnTo>
                        <a:lnTo>
                          <a:pt x="473" y="764"/>
                        </a:lnTo>
                        <a:lnTo>
                          <a:pt x="470" y="769"/>
                        </a:lnTo>
                        <a:lnTo>
                          <a:pt x="462" y="764"/>
                        </a:lnTo>
                        <a:lnTo>
                          <a:pt x="452" y="769"/>
                        </a:lnTo>
                        <a:lnTo>
                          <a:pt x="450" y="779"/>
                        </a:lnTo>
                        <a:lnTo>
                          <a:pt x="458" y="786"/>
                        </a:lnTo>
                        <a:lnTo>
                          <a:pt x="468" y="787"/>
                        </a:lnTo>
                        <a:lnTo>
                          <a:pt x="472" y="789"/>
                        </a:lnTo>
                        <a:lnTo>
                          <a:pt x="480" y="787"/>
                        </a:lnTo>
                        <a:lnTo>
                          <a:pt x="485" y="791"/>
                        </a:lnTo>
                        <a:lnTo>
                          <a:pt x="487" y="794"/>
                        </a:lnTo>
                        <a:lnTo>
                          <a:pt x="497" y="789"/>
                        </a:lnTo>
                        <a:lnTo>
                          <a:pt x="508" y="786"/>
                        </a:lnTo>
                        <a:lnTo>
                          <a:pt x="515" y="789"/>
                        </a:lnTo>
                        <a:lnTo>
                          <a:pt x="523" y="787"/>
                        </a:lnTo>
                        <a:lnTo>
                          <a:pt x="535" y="781"/>
                        </a:lnTo>
                        <a:lnTo>
                          <a:pt x="550" y="774"/>
                        </a:lnTo>
                        <a:lnTo>
                          <a:pt x="563" y="761"/>
                        </a:lnTo>
                        <a:lnTo>
                          <a:pt x="585" y="761"/>
                        </a:lnTo>
                        <a:lnTo>
                          <a:pt x="585" y="769"/>
                        </a:lnTo>
                        <a:lnTo>
                          <a:pt x="590" y="771"/>
                        </a:lnTo>
                        <a:lnTo>
                          <a:pt x="598" y="771"/>
                        </a:lnTo>
                        <a:lnTo>
                          <a:pt x="610" y="777"/>
                        </a:lnTo>
                        <a:lnTo>
                          <a:pt x="635" y="779"/>
                        </a:lnTo>
                        <a:lnTo>
                          <a:pt x="655" y="776"/>
                        </a:lnTo>
                        <a:lnTo>
                          <a:pt x="650" y="769"/>
                        </a:lnTo>
                        <a:lnTo>
                          <a:pt x="653" y="762"/>
                        </a:lnTo>
                        <a:lnTo>
                          <a:pt x="658" y="759"/>
                        </a:lnTo>
                        <a:lnTo>
                          <a:pt x="676" y="759"/>
                        </a:lnTo>
                        <a:lnTo>
                          <a:pt x="683" y="754"/>
                        </a:lnTo>
                        <a:lnTo>
                          <a:pt x="691" y="751"/>
                        </a:lnTo>
                        <a:lnTo>
                          <a:pt x="691" y="742"/>
                        </a:lnTo>
                        <a:lnTo>
                          <a:pt x="704" y="744"/>
                        </a:lnTo>
                        <a:lnTo>
                          <a:pt x="713" y="751"/>
                        </a:lnTo>
                        <a:lnTo>
                          <a:pt x="728" y="751"/>
                        </a:lnTo>
                        <a:lnTo>
                          <a:pt x="734" y="761"/>
                        </a:lnTo>
                        <a:lnTo>
                          <a:pt x="733" y="769"/>
                        </a:lnTo>
                        <a:lnTo>
                          <a:pt x="741" y="772"/>
                        </a:lnTo>
                        <a:lnTo>
                          <a:pt x="751" y="771"/>
                        </a:lnTo>
                        <a:lnTo>
                          <a:pt x="751" y="766"/>
                        </a:lnTo>
                        <a:lnTo>
                          <a:pt x="759" y="762"/>
                        </a:lnTo>
                        <a:lnTo>
                          <a:pt x="768" y="762"/>
                        </a:lnTo>
                        <a:lnTo>
                          <a:pt x="773" y="771"/>
                        </a:lnTo>
                        <a:lnTo>
                          <a:pt x="781" y="774"/>
                        </a:lnTo>
                        <a:lnTo>
                          <a:pt x="789" y="767"/>
                        </a:lnTo>
                        <a:lnTo>
                          <a:pt x="801" y="769"/>
                        </a:lnTo>
                        <a:lnTo>
                          <a:pt x="814" y="761"/>
                        </a:lnTo>
                        <a:lnTo>
                          <a:pt x="826" y="756"/>
                        </a:lnTo>
                        <a:lnTo>
                          <a:pt x="837" y="764"/>
                        </a:lnTo>
                        <a:lnTo>
                          <a:pt x="847" y="777"/>
                        </a:lnTo>
                        <a:lnTo>
                          <a:pt x="854" y="786"/>
                        </a:lnTo>
                        <a:lnTo>
                          <a:pt x="856" y="792"/>
                        </a:lnTo>
                        <a:lnTo>
                          <a:pt x="862" y="789"/>
                        </a:lnTo>
                        <a:lnTo>
                          <a:pt x="871" y="794"/>
                        </a:lnTo>
                        <a:lnTo>
                          <a:pt x="879" y="799"/>
                        </a:lnTo>
                        <a:lnTo>
                          <a:pt x="889" y="799"/>
                        </a:lnTo>
                        <a:lnTo>
                          <a:pt x="895" y="782"/>
                        </a:lnTo>
                        <a:lnTo>
                          <a:pt x="894" y="756"/>
                        </a:lnTo>
                        <a:lnTo>
                          <a:pt x="895" y="741"/>
                        </a:lnTo>
                        <a:lnTo>
                          <a:pt x="907" y="736"/>
                        </a:lnTo>
                        <a:lnTo>
                          <a:pt x="912" y="724"/>
                        </a:lnTo>
                        <a:lnTo>
                          <a:pt x="909" y="709"/>
                        </a:lnTo>
                        <a:lnTo>
                          <a:pt x="915" y="699"/>
                        </a:lnTo>
                        <a:lnTo>
                          <a:pt x="915" y="693"/>
                        </a:lnTo>
                        <a:lnTo>
                          <a:pt x="919" y="686"/>
                        </a:lnTo>
                        <a:lnTo>
                          <a:pt x="925" y="693"/>
                        </a:lnTo>
                        <a:lnTo>
                          <a:pt x="929" y="686"/>
                        </a:lnTo>
                        <a:lnTo>
                          <a:pt x="932" y="673"/>
                        </a:lnTo>
                        <a:lnTo>
                          <a:pt x="939" y="664"/>
                        </a:lnTo>
                        <a:lnTo>
                          <a:pt x="944" y="658"/>
                        </a:lnTo>
                        <a:lnTo>
                          <a:pt x="944" y="644"/>
                        </a:lnTo>
                        <a:lnTo>
                          <a:pt x="950" y="634"/>
                        </a:lnTo>
                        <a:lnTo>
                          <a:pt x="960" y="634"/>
                        </a:lnTo>
                        <a:lnTo>
                          <a:pt x="972" y="631"/>
                        </a:lnTo>
                        <a:lnTo>
                          <a:pt x="975" y="628"/>
                        </a:lnTo>
                        <a:lnTo>
                          <a:pt x="984" y="638"/>
                        </a:lnTo>
                        <a:lnTo>
                          <a:pt x="995" y="631"/>
                        </a:lnTo>
                        <a:lnTo>
                          <a:pt x="1012" y="623"/>
                        </a:lnTo>
                        <a:lnTo>
                          <a:pt x="1018" y="621"/>
                        </a:lnTo>
                        <a:lnTo>
                          <a:pt x="1025" y="600"/>
                        </a:lnTo>
                        <a:lnTo>
                          <a:pt x="1035" y="590"/>
                        </a:lnTo>
                        <a:lnTo>
                          <a:pt x="1032" y="576"/>
                        </a:lnTo>
                        <a:lnTo>
                          <a:pt x="1040" y="575"/>
                        </a:lnTo>
                        <a:lnTo>
                          <a:pt x="1053" y="571"/>
                        </a:lnTo>
                        <a:lnTo>
                          <a:pt x="1055" y="560"/>
                        </a:lnTo>
                        <a:lnTo>
                          <a:pt x="1053" y="555"/>
                        </a:lnTo>
                        <a:lnTo>
                          <a:pt x="1060" y="548"/>
                        </a:lnTo>
                        <a:lnTo>
                          <a:pt x="1063" y="546"/>
                        </a:lnTo>
                        <a:lnTo>
                          <a:pt x="1067" y="550"/>
                        </a:lnTo>
                        <a:lnTo>
                          <a:pt x="1072" y="541"/>
                        </a:lnTo>
                        <a:lnTo>
                          <a:pt x="1077" y="543"/>
                        </a:lnTo>
                        <a:lnTo>
                          <a:pt x="1083" y="538"/>
                        </a:lnTo>
                        <a:lnTo>
                          <a:pt x="1080" y="530"/>
                        </a:lnTo>
                        <a:lnTo>
                          <a:pt x="1082" y="521"/>
                        </a:lnTo>
                        <a:lnTo>
                          <a:pt x="1090" y="515"/>
                        </a:lnTo>
                        <a:lnTo>
                          <a:pt x="1083" y="510"/>
                        </a:lnTo>
                        <a:lnTo>
                          <a:pt x="1073" y="503"/>
                        </a:lnTo>
                        <a:lnTo>
                          <a:pt x="1073" y="503"/>
                        </a:lnTo>
                        <a:lnTo>
                          <a:pt x="1073" y="503"/>
                        </a:lnTo>
                        <a:close/>
                      </a:path>
                    </a:pathLst>
                  </a:custGeom>
                  <a:solidFill>
                    <a:srgbClr val="77B8E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a:latin typeface="Proxima Nova A" panose="02000506030000020004" pitchFamily="2" charset="0"/>
                    </a:endParaRPr>
                  </a:p>
                </p:txBody>
              </p:sp>
              <p:sp>
                <p:nvSpPr>
                  <p:cNvPr id="165" name="Freeform 1122">
                    <a:extLst>
                      <a:ext uri="{FF2B5EF4-FFF2-40B4-BE49-F238E27FC236}">
                        <a16:creationId xmlns:a16="http://schemas.microsoft.com/office/drawing/2014/main" id="{3CE93FFA-9F97-4BFF-8CF3-DCF0B673BB1A}"/>
                      </a:ext>
                    </a:extLst>
                  </p:cNvPr>
                  <p:cNvSpPr>
                    <a:spLocks/>
                  </p:cNvSpPr>
                  <p:nvPr/>
                </p:nvSpPr>
                <p:spPr bwMode="auto">
                  <a:xfrm>
                    <a:off x="2924840" y="3701922"/>
                    <a:ext cx="1541485" cy="1283421"/>
                  </a:xfrm>
                  <a:custGeom>
                    <a:avLst/>
                    <a:gdLst>
                      <a:gd name="T0" fmla="*/ 742 w 1117"/>
                      <a:gd name="T1" fmla="*/ 405 h 930"/>
                      <a:gd name="T2" fmla="*/ 703 w 1117"/>
                      <a:gd name="T3" fmla="*/ 414 h 930"/>
                      <a:gd name="T4" fmla="*/ 702 w 1117"/>
                      <a:gd name="T5" fmla="*/ 469 h 930"/>
                      <a:gd name="T6" fmla="*/ 665 w 1117"/>
                      <a:gd name="T7" fmla="*/ 525 h 930"/>
                      <a:gd name="T8" fmla="*/ 632 w 1117"/>
                      <a:gd name="T9" fmla="*/ 533 h 930"/>
                      <a:gd name="T10" fmla="*/ 599 w 1117"/>
                      <a:gd name="T11" fmla="*/ 575 h 930"/>
                      <a:gd name="T12" fmla="*/ 562 w 1117"/>
                      <a:gd name="T13" fmla="*/ 608 h 930"/>
                      <a:gd name="T14" fmla="*/ 524 w 1117"/>
                      <a:gd name="T15" fmla="*/ 636 h 930"/>
                      <a:gd name="T16" fmla="*/ 496 w 1117"/>
                      <a:gd name="T17" fmla="*/ 658 h 930"/>
                      <a:gd name="T18" fmla="*/ 472 w 1117"/>
                      <a:gd name="T19" fmla="*/ 681 h 930"/>
                      <a:gd name="T20" fmla="*/ 408 w 1117"/>
                      <a:gd name="T21" fmla="*/ 673 h 930"/>
                      <a:gd name="T22" fmla="*/ 398 w 1117"/>
                      <a:gd name="T23" fmla="*/ 721 h 930"/>
                      <a:gd name="T24" fmla="*/ 346 w 1117"/>
                      <a:gd name="T25" fmla="*/ 738 h 930"/>
                      <a:gd name="T26" fmla="*/ 314 w 1117"/>
                      <a:gd name="T27" fmla="*/ 736 h 930"/>
                      <a:gd name="T28" fmla="*/ 256 w 1117"/>
                      <a:gd name="T29" fmla="*/ 766 h 930"/>
                      <a:gd name="T30" fmla="*/ 220 w 1117"/>
                      <a:gd name="T31" fmla="*/ 786 h 930"/>
                      <a:gd name="T32" fmla="*/ 201 w 1117"/>
                      <a:gd name="T33" fmla="*/ 821 h 930"/>
                      <a:gd name="T34" fmla="*/ 213 w 1117"/>
                      <a:gd name="T35" fmla="*/ 866 h 930"/>
                      <a:gd name="T36" fmla="*/ 157 w 1117"/>
                      <a:gd name="T37" fmla="*/ 930 h 930"/>
                      <a:gd name="T38" fmla="*/ 112 w 1117"/>
                      <a:gd name="T39" fmla="*/ 914 h 930"/>
                      <a:gd name="T40" fmla="*/ 83 w 1117"/>
                      <a:gd name="T41" fmla="*/ 857 h 930"/>
                      <a:gd name="T42" fmla="*/ 67 w 1117"/>
                      <a:gd name="T43" fmla="*/ 778 h 930"/>
                      <a:gd name="T44" fmla="*/ 62 w 1117"/>
                      <a:gd name="T45" fmla="*/ 714 h 930"/>
                      <a:gd name="T46" fmla="*/ 55 w 1117"/>
                      <a:gd name="T47" fmla="*/ 668 h 930"/>
                      <a:gd name="T48" fmla="*/ 47 w 1117"/>
                      <a:gd name="T49" fmla="*/ 630 h 930"/>
                      <a:gd name="T50" fmla="*/ 32 w 1117"/>
                      <a:gd name="T51" fmla="*/ 548 h 930"/>
                      <a:gd name="T52" fmla="*/ 24 w 1117"/>
                      <a:gd name="T53" fmla="*/ 495 h 930"/>
                      <a:gd name="T54" fmla="*/ 25 w 1117"/>
                      <a:gd name="T55" fmla="*/ 445 h 930"/>
                      <a:gd name="T56" fmla="*/ 10 w 1117"/>
                      <a:gd name="T57" fmla="*/ 405 h 930"/>
                      <a:gd name="T58" fmla="*/ 12 w 1117"/>
                      <a:gd name="T59" fmla="*/ 341 h 930"/>
                      <a:gd name="T60" fmla="*/ 2 w 1117"/>
                      <a:gd name="T61" fmla="*/ 297 h 930"/>
                      <a:gd name="T62" fmla="*/ 24 w 1117"/>
                      <a:gd name="T63" fmla="*/ 256 h 930"/>
                      <a:gd name="T64" fmla="*/ 67 w 1117"/>
                      <a:gd name="T65" fmla="*/ 274 h 930"/>
                      <a:gd name="T66" fmla="*/ 117 w 1117"/>
                      <a:gd name="T67" fmla="*/ 211 h 930"/>
                      <a:gd name="T68" fmla="*/ 148 w 1117"/>
                      <a:gd name="T69" fmla="*/ 204 h 930"/>
                      <a:gd name="T70" fmla="*/ 163 w 1117"/>
                      <a:gd name="T71" fmla="*/ 138 h 930"/>
                      <a:gd name="T72" fmla="*/ 180 w 1117"/>
                      <a:gd name="T73" fmla="*/ 96 h 930"/>
                      <a:gd name="T74" fmla="*/ 223 w 1117"/>
                      <a:gd name="T75" fmla="*/ 73 h 930"/>
                      <a:gd name="T76" fmla="*/ 177 w 1117"/>
                      <a:gd name="T77" fmla="*/ 53 h 930"/>
                      <a:gd name="T78" fmla="*/ 233 w 1117"/>
                      <a:gd name="T79" fmla="*/ 12 h 930"/>
                      <a:gd name="T80" fmla="*/ 306 w 1117"/>
                      <a:gd name="T81" fmla="*/ 66 h 930"/>
                      <a:gd name="T82" fmla="*/ 414 w 1117"/>
                      <a:gd name="T83" fmla="*/ 100 h 930"/>
                      <a:gd name="T84" fmla="*/ 524 w 1117"/>
                      <a:gd name="T85" fmla="*/ 131 h 930"/>
                      <a:gd name="T86" fmla="*/ 570 w 1117"/>
                      <a:gd name="T87" fmla="*/ 70 h 930"/>
                      <a:gd name="T88" fmla="*/ 653 w 1117"/>
                      <a:gd name="T89" fmla="*/ 48 h 930"/>
                      <a:gd name="T90" fmla="*/ 667 w 1117"/>
                      <a:gd name="T91" fmla="*/ 106 h 930"/>
                      <a:gd name="T92" fmla="*/ 750 w 1117"/>
                      <a:gd name="T93" fmla="*/ 91 h 930"/>
                      <a:gd name="T94" fmla="*/ 846 w 1117"/>
                      <a:gd name="T95" fmla="*/ 98 h 930"/>
                      <a:gd name="T96" fmla="*/ 913 w 1117"/>
                      <a:gd name="T97" fmla="*/ 70 h 930"/>
                      <a:gd name="T98" fmla="*/ 973 w 1117"/>
                      <a:gd name="T99" fmla="*/ 90 h 930"/>
                      <a:gd name="T100" fmla="*/ 1062 w 1117"/>
                      <a:gd name="T101" fmla="*/ 108 h 930"/>
                      <a:gd name="T102" fmla="*/ 1062 w 1117"/>
                      <a:gd name="T103" fmla="*/ 176 h 930"/>
                      <a:gd name="T104" fmla="*/ 1074 w 1117"/>
                      <a:gd name="T105" fmla="*/ 249 h 930"/>
                      <a:gd name="T106" fmla="*/ 1066 w 1117"/>
                      <a:gd name="T107" fmla="*/ 289 h 930"/>
                      <a:gd name="T108" fmla="*/ 1066 w 1117"/>
                      <a:gd name="T109" fmla="*/ 331 h 930"/>
                      <a:gd name="T110" fmla="*/ 1087 w 1117"/>
                      <a:gd name="T111" fmla="*/ 367 h 930"/>
                      <a:gd name="T112" fmla="*/ 1071 w 1117"/>
                      <a:gd name="T113" fmla="*/ 404 h 930"/>
                      <a:gd name="T114" fmla="*/ 999 w 1117"/>
                      <a:gd name="T115" fmla="*/ 492 h 930"/>
                      <a:gd name="T116" fmla="*/ 991 w 1117"/>
                      <a:gd name="T117" fmla="*/ 412 h 930"/>
                      <a:gd name="T118" fmla="*/ 909 w 1117"/>
                      <a:gd name="T119" fmla="*/ 374 h 930"/>
                      <a:gd name="T120" fmla="*/ 843 w 1117"/>
                      <a:gd name="T121" fmla="*/ 364 h 930"/>
                      <a:gd name="T122" fmla="*/ 765 w 1117"/>
                      <a:gd name="T123" fmla="*/ 332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17" h="930">
                        <a:moveTo>
                          <a:pt x="765" y="367"/>
                        </a:moveTo>
                        <a:lnTo>
                          <a:pt x="760" y="377"/>
                        </a:lnTo>
                        <a:lnTo>
                          <a:pt x="765" y="384"/>
                        </a:lnTo>
                        <a:lnTo>
                          <a:pt x="763" y="387"/>
                        </a:lnTo>
                        <a:lnTo>
                          <a:pt x="758" y="394"/>
                        </a:lnTo>
                        <a:lnTo>
                          <a:pt x="750" y="395"/>
                        </a:lnTo>
                        <a:lnTo>
                          <a:pt x="743" y="392"/>
                        </a:lnTo>
                        <a:lnTo>
                          <a:pt x="740" y="397"/>
                        </a:lnTo>
                        <a:lnTo>
                          <a:pt x="742" y="405"/>
                        </a:lnTo>
                        <a:lnTo>
                          <a:pt x="747" y="414"/>
                        </a:lnTo>
                        <a:lnTo>
                          <a:pt x="747" y="419"/>
                        </a:lnTo>
                        <a:lnTo>
                          <a:pt x="733" y="420"/>
                        </a:lnTo>
                        <a:lnTo>
                          <a:pt x="728" y="415"/>
                        </a:lnTo>
                        <a:lnTo>
                          <a:pt x="722" y="410"/>
                        </a:lnTo>
                        <a:lnTo>
                          <a:pt x="722" y="407"/>
                        </a:lnTo>
                        <a:lnTo>
                          <a:pt x="710" y="405"/>
                        </a:lnTo>
                        <a:lnTo>
                          <a:pt x="703" y="409"/>
                        </a:lnTo>
                        <a:lnTo>
                          <a:pt x="703" y="414"/>
                        </a:lnTo>
                        <a:lnTo>
                          <a:pt x="710" y="419"/>
                        </a:lnTo>
                        <a:lnTo>
                          <a:pt x="700" y="422"/>
                        </a:lnTo>
                        <a:lnTo>
                          <a:pt x="703" y="429"/>
                        </a:lnTo>
                        <a:lnTo>
                          <a:pt x="703" y="434"/>
                        </a:lnTo>
                        <a:lnTo>
                          <a:pt x="695" y="440"/>
                        </a:lnTo>
                        <a:lnTo>
                          <a:pt x="688" y="444"/>
                        </a:lnTo>
                        <a:lnTo>
                          <a:pt x="690" y="452"/>
                        </a:lnTo>
                        <a:lnTo>
                          <a:pt x="700" y="460"/>
                        </a:lnTo>
                        <a:lnTo>
                          <a:pt x="702" y="469"/>
                        </a:lnTo>
                        <a:lnTo>
                          <a:pt x="703" y="477"/>
                        </a:lnTo>
                        <a:lnTo>
                          <a:pt x="695" y="485"/>
                        </a:lnTo>
                        <a:lnTo>
                          <a:pt x="690" y="498"/>
                        </a:lnTo>
                        <a:lnTo>
                          <a:pt x="690" y="510"/>
                        </a:lnTo>
                        <a:lnTo>
                          <a:pt x="683" y="517"/>
                        </a:lnTo>
                        <a:lnTo>
                          <a:pt x="677" y="515"/>
                        </a:lnTo>
                        <a:lnTo>
                          <a:pt x="670" y="513"/>
                        </a:lnTo>
                        <a:lnTo>
                          <a:pt x="660" y="517"/>
                        </a:lnTo>
                        <a:lnTo>
                          <a:pt x="665" y="525"/>
                        </a:lnTo>
                        <a:lnTo>
                          <a:pt x="658" y="532"/>
                        </a:lnTo>
                        <a:lnTo>
                          <a:pt x="655" y="543"/>
                        </a:lnTo>
                        <a:lnTo>
                          <a:pt x="660" y="550"/>
                        </a:lnTo>
                        <a:lnTo>
                          <a:pt x="650" y="555"/>
                        </a:lnTo>
                        <a:lnTo>
                          <a:pt x="642" y="550"/>
                        </a:lnTo>
                        <a:lnTo>
                          <a:pt x="632" y="552"/>
                        </a:lnTo>
                        <a:lnTo>
                          <a:pt x="638" y="542"/>
                        </a:lnTo>
                        <a:lnTo>
                          <a:pt x="637" y="535"/>
                        </a:lnTo>
                        <a:lnTo>
                          <a:pt x="632" y="533"/>
                        </a:lnTo>
                        <a:lnTo>
                          <a:pt x="624" y="532"/>
                        </a:lnTo>
                        <a:lnTo>
                          <a:pt x="612" y="540"/>
                        </a:lnTo>
                        <a:lnTo>
                          <a:pt x="607" y="545"/>
                        </a:lnTo>
                        <a:lnTo>
                          <a:pt x="604" y="548"/>
                        </a:lnTo>
                        <a:lnTo>
                          <a:pt x="609" y="552"/>
                        </a:lnTo>
                        <a:lnTo>
                          <a:pt x="614" y="555"/>
                        </a:lnTo>
                        <a:lnTo>
                          <a:pt x="605" y="562"/>
                        </a:lnTo>
                        <a:lnTo>
                          <a:pt x="599" y="563"/>
                        </a:lnTo>
                        <a:lnTo>
                          <a:pt x="599" y="575"/>
                        </a:lnTo>
                        <a:lnTo>
                          <a:pt x="587" y="572"/>
                        </a:lnTo>
                        <a:lnTo>
                          <a:pt x="575" y="568"/>
                        </a:lnTo>
                        <a:lnTo>
                          <a:pt x="572" y="572"/>
                        </a:lnTo>
                        <a:lnTo>
                          <a:pt x="569" y="577"/>
                        </a:lnTo>
                        <a:lnTo>
                          <a:pt x="577" y="580"/>
                        </a:lnTo>
                        <a:lnTo>
                          <a:pt x="577" y="590"/>
                        </a:lnTo>
                        <a:lnTo>
                          <a:pt x="567" y="593"/>
                        </a:lnTo>
                        <a:lnTo>
                          <a:pt x="570" y="608"/>
                        </a:lnTo>
                        <a:lnTo>
                          <a:pt x="562" y="608"/>
                        </a:lnTo>
                        <a:lnTo>
                          <a:pt x="554" y="615"/>
                        </a:lnTo>
                        <a:lnTo>
                          <a:pt x="550" y="611"/>
                        </a:lnTo>
                        <a:lnTo>
                          <a:pt x="547" y="608"/>
                        </a:lnTo>
                        <a:lnTo>
                          <a:pt x="547" y="615"/>
                        </a:lnTo>
                        <a:lnTo>
                          <a:pt x="554" y="620"/>
                        </a:lnTo>
                        <a:lnTo>
                          <a:pt x="549" y="630"/>
                        </a:lnTo>
                        <a:lnTo>
                          <a:pt x="540" y="641"/>
                        </a:lnTo>
                        <a:lnTo>
                          <a:pt x="529" y="630"/>
                        </a:lnTo>
                        <a:lnTo>
                          <a:pt x="524" y="636"/>
                        </a:lnTo>
                        <a:lnTo>
                          <a:pt x="521" y="630"/>
                        </a:lnTo>
                        <a:lnTo>
                          <a:pt x="516" y="631"/>
                        </a:lnTo>
                        <a:lnTo>
                          <a:pt x="509" y="636"/>
                        </a:lnTo>
                        <a:lnTo>
                          <a:pt x="509" y="645"/>
                        </a:lnTo>
                        <a:lnTo>
                          <a:pt x="502" y="650"/>
                        </a:lnTo>
                        <a:lnTo>
                          <a:pt x="494" y="650"/>
                        </a:lnTo>
                        <a:lnTo>
                          <a:pt x="487" y="650"/>
                        </a:lnTo>
                        <a:lnTo>
                          <a:pt x="487" y="658"/>
                        </a:lnTo>
                        <a:lnTo>
                          <a:pt x="496" y="658"/>
                        </a:lnTo>
                        <a:lnTo>
                          <a:pt x="486" y="668"/>
                        </a:lnTo>
                        <a:lnTo>
                          <a:pt x="487" y="675"/>
                        </a:lnTo>
                        <a:lnTo>
                          <a:pt x="494" y="676"/>
                        </a:lnTo>
                        <a:lnTo>
                          <a:pt x="496" y="686"/>
                        </a:lnTo>
                        <a:lnTo>
                          <a:pt x="492" y="689"/>
                        </a:lnTo>
                        <a:lnTo>
                          <a:pt x="487" y="686"/>
                        </a:lnTo>
                        <a:lnTo>
                          <a:pt x="481" y="686"/>
                        </a:lnTo>
                        <a:lnTo>
                          <a:pt x="476" y="681"/>
                        </a:lnTo>
                        <a:lnTo>
                          <a:pt x="472" y="681"/>
                        </a:lnTo>
                        <a:lnTo>
                          <a:pt x="466" y="689"/>
                        </a:lnTo>
                        <a:lnTo>
                          <a:pt x="459" y="683"/>
                        </a:lnTo>
                        <a:lnTo>
                          <a:pt x="454" y="688"/>
                        </a:lnTo>
                        <a:lnTo>
                          <a:pt x="449" y="683"/>
                        </a:lnTo>
                        <a:lnTo>
                          <a:pt x="444" y="683"/>
                        </a:lnTo>
                        <a:lnTo>
                          <a:pt x="436" y="689"/>
                        </a:lnTo>
                        <a:lnTo>
                          <a:pt x="424" y="681"/>
                        </a:lnTo>
                        <a:lnTo>
                          <a:pt x="416" y="678"/>
                        </a:lnTo>
                        <a:lnTo>
                          <a:pt x="408" y="673"/>
                        </a:lnTo>
                        <a:lnTo>
                          <a:pt x="399" y="666"/>
                        </a:lnTo>
                        <a:lnTo>
                          <a:pt x="393" y="670"/>
                        </a:lnTo>
                        <a:lnTo>
                          <a:pt x="388" y="683"/>
                        </a:lnTo>
                        <a:lnTo>
                          <a:pt x="389" y="689"/>
                        </a:lnTo>
                        <a:lnTo>
                          <a:pt x="396" y="699"/>
                        </a:lnTo>
                        <a:lnTo>
                          <a:pt x="391" y="706"/>
                        </a:lnTo>
                        <a:lnTo>
                          <a:pt x="388" y="708"/>
                        </a:lnTo>
                        <a:lnTo>
                          <a:pt x="391" y="716"/>
                        </a:lnTo>
                        <a:lnTo>
                          <a:pt x="398" y="721"/>
                        </a:lnTo>
                        <a:lnTo>
                          <a:pt x="393" y="729"/>
                        </a:lnTo>
                        <a:lnTo>
                          <a:pt x="394" y="734"/>
                        </a:lnTo>
                        <a:lnTo>
                          <a:pt x="388" y="739"/>
                        </a:lnTo>
                        <a:lnTo>
                          <a:pt x="383" y="733"/>
                        </a:lnTo>
                        <a:lnTo>
                          <a:pt x="379" y="736"/>
                        </a:lnTo>
                        <a:lnTo>
                          <a:pt x="369" y="741"/>
                        </a:lnTo>
                        <a:lnTo>
                          <a:pt x="364" y="734"/>
                        </a:lnTo>
                        <a:lnTo>
                          <a:pt x="356" y="738"/>
                        </a:lnTo>
                        <a:lnTo>
                          <a:pt x="346" y="738"/>
                        </a:lnTo>
                        <a:lnTo>
                          <a:pt x="341" y="738"/>
                        </a:lnTo>
                        <a:lnTo>
                          <a:pt x="336" y="743"/>
                        </a:lnTo>
                        <a:lnTo>
                          <a:pt x="344" y="748"/>
                        </a:lnTo>
                        <a:lnTo>
                          <a:pt x="339" y="751"/>
                        </a:lnTo>
                        <a:lnTo>
                          <a:pt x="331" y="751"/>
                        </a:lnTo>
                        <a:lnTo>
                          <a:pt x="331" y="756"/>
                        </a:lnTo>
                        <a:lnTo>
                          <a:pt x="326" y="749"/>
                        </a:lnTo>
                        <a:lnTo>
                          <a:pt x="316" y="744"/>
                        </a:lnTo>
                        <a:lnTo>
                          <a:pt x="314" y="736"/>
                        </a:lnTo>
                        <a:lnTo>
                          <a:pt x="306" y="733"/>
                        </a:lnTo>
                        <a:lnTo>
                          <a:pt x="299" y="736"/>
                        </a:lnTo>
                        <a:lnTo>
                          <a:pt x="295" y="738"/>
                        </a:lnTo>
                        <a:lnTo>
                          <a:pt x="295" y="744"/>
                        </a:lnTo>
                        <a:lnTo>
                          <a:pt x="286" y="751"/>
                        </a:lnTo>
                        <a:lnTo>
                          <a:pt x="288" y="763"/>
                        </a:lnTo>
                        <a:lnTo>
                          <a:pt x="283" y="766"/>
                        </a:lnTo>
                        <a:lnTo>
                          <a:pt x="275" y="763"/>
                        </a:lnTo>
                        <a:lnTo>
                          <a:pt x="256" y="766"/>
                        </a:lnTo>
                        <a:lnTo>
                          <a:pt x="253" y="773"/>
                        </a:lnTo>
                        <a:lnTo>
                          <a:pt x="256" y="783"/>
                        </a:lnTo>
                        <a:lnTo>
                          <a:pt x="250" y="788"/>
                        </a:lnTo>
                        <a:lnTo>
                          <a:pt x="241" y="791"/>
                        </a:lnTo>
                        <a:lnTo>
                          <a:pt x="236" y="788"/>
                        </a:lnTo>
                        <a:lnTo>
                          <a:pt x="236" y="781"/>
                        </a:lnTo>
                        <a:lnTo>
                          <a:pt x="228" y="778"/>
                        </a:lnTo>
                        <a:lnTo>
                          <a:pt x="223" y="776"/>
                        </a:lnTo>
                        <a:lnTo>
                          <a:pt x="220" y="786"/>
                        </a:lnTo>
                        <a:lnTo>
                          <a:pt x="211" y="791"/>
                        </a:lnTo>
                        <a:lnTo>
                          <a:pt x="206" y="791"/>
                        </a:lnTo>
                        <a:lnTo>
                          <a:pt x="203" y="796"/>
                        </a:lnTo>
                        <a:lnTo>
                          <a:pt x="195" y="789"/>
                        </a:lnTo>
                        <a:lnTo>
                          <a:pt x="195" y="799"/>
                        </a:lnTo>
                        <a:lnTo>
                          <a:pt x="203" y="801"/>
                        </a:lnTo>
                        <a:lnTo>
                          <a:pt x="203" y="811"/>
                        </a:lnTo>
                        <a:lnTo>
                          <a:pt x="206" y="814"/>
                        </a:lnTo>
                        <a:lnTo>
                          <a:pt x="201" y="821"/>
                        </a:lnTo>
                        <a:lnTo>
                          <a:pt x="203" y="834"/>
                        </a:lnTo>
                        <a:lnTo>
                          <a:pt x="208" y="829"/>
                        </a:lnTo>
                        <a:lnTo>
                          <a:pt x="221" y="837"/>
                        </a:lnTo>
                        <a:lnTo>
                          <a:pt x="226" y="844"/>
                        </a:lnTo>
                        <a:lnTo>
                          <a:pt x="225" y="859"/>
                        </a:lnTo>
                        <a:lnTo>
                          <a:pt x="220" y="861"/>
                        </a:lnTo>
                        <a:lnTo>
                          <a:pt x="211" y="857"/>
                        </a:lnTo>
                        <a:lnTo>
                          <a:pt x="206" y="867"/>
                        </a:lnTo>
                        <a:lnTo>
                          <a:pt x="213" y="866"/>
                        </a:lnTo>
                        <a:lnTo>
                          <a:pt x="220" y="867"/>
                        </a:lnTo>
                        <a:lnTo>
                          <a:pt x="210" y="884"/>
                        </a:lnTo>
                        <a:lnTo>
                          <a:pt x="206" y="901"/>
                        </a:lnTo>
                        <a:lnTo>
                          <a:pt x="198" y="912"/>
                        </a:lnTo>
                        <a:lnTo>
                          <a:pt x="186" y="909"/>
                        </a:lnTo>
                        <a:lnTo>
                          <a:pt x="180" y="904"/>
                        </a:lnTo>
                        <a:lnTo>
                          <a:pt x="172" y="910"/>
                        </a:lnTo>
                        <a:lnTo>
                          <a:pt x="168" y="925"/>
                        </a:lnTo>
                        <a:lnTo>
                          <a:pt x="157" y="930"/>
                        </a:lnTo>
                        <a:lnTo>
                          <a:pt x="148" y="927"/>
                        </a:lnTo>
                        <a:lnTo>
                          <a:pt x="148" y="917"/>
                        </a:lnTo>
                        <a:lnTo>
                          <a:pt x="148" y="914"/>
                        </a:lnTo>
                        <a:lnTo>
                          <a:pt x="142" y="907"/>
                        </a:lnTo>
                        <a:lnTo>
                          <a:pt x="137" y="905"/>
                        </a:lnTo>
                        <a:lnTo>
                          <a:pt x="135" y="901"/>
                        </a:lnTo>
                        <a:lnTo>
                          <a:pt x="130" y="899"/>
                        </a:lnTo>
                        <a:lnTo>
                          <a:pt x="122" y="904"/>
                        </a:lnTo>
                        <a:lnTo>
                          <a:pt x="112" y="914"/>
                        </a:lnTo>
                        <a:lnTo>
                          <a:pt x="108" y="904"/>
                        </a:lnTo>
                        <a:lnTo>
                          <a:pt x="110" y="897"/>
                        </a:lnTo>
                        <a:lnTo>
                          <a:pt x="105" y="891"/>
                        </a:lnTo>
                        <a:lnTo>
                          <a:pt x="103" y="884"/>
                        </a:lnTo>
                        <a:lnTo>
                          <a:pt x="98" y="879"/>
                        </a:lnTo>
                        <a:lnTo>
                          <a:pt x="93" y="876"/>
                        </a:lnTo>
                        <a:lnTo>
                          <a:pt x="88" y="872"/>
                        </a:lnTo>
                        <a:lnTo>
                          <a:pt x="87" y="864"/>
                        </a:lnTo>
                        <a:lnTo>
                          <a:pt x="83" y="857"/>
                        </a:lnTo>
                        <a:lnTo>
                          <a:pt x="87" y="847"/>
                        </a:lnTo>
                        <a:lnTo>
                          <a:pt x="82" y="841"/>
                        </a:lnTo>
                        <a:lnTo>
                          <a:pt x="80" y="829"/>
                        </a:lnTo>
                        <a:lnTo>
                          <a:pt x="72" y="814"/>
                        </a:lnTo>
                        <a:lnTo>
                          <a:pt x="72" y="802"/>
                        </a:lnTo>
                        <a:lnTo>
                          <a:pt x="65" y="793"/>
                        </a:lnTo>
                        <a:lnTo>
                          <a:pt x="67" y="786"/>
                        </a:lnTo>
                        <a:lnTo>
                          <a:pt x="73" y="786"/>
                        </a:lnTo>
                        <a:lnTo>
                          <a:pt x="67" y="778"/>
                        </a:lnTo>
                        <a:lnTo>
                          <a:pt x="72" y="776"/>
                        </a:lnTo>
                        <a:lnTo>
                          <a:pt x="70" y="771"/>
                        </a:lnTo>
                        <a:lnTo>
                          <a:pt x="72" y="768"/>
                        </a:lnTo>
                        <a:lnTo>
                          <a:pt x="67" y="758"/>
                        </a:lnTo>
                        <a:lnTo>
                          <a:pt x="67" y="749"/>
                        </a:lnTo>
                        <a:lnTo>
                          <a:pt x="65" y="736"/>
                        </a:lnTo>
                        <a:lnTo>
                          <a:pt x="65" y="731"/>
                        </a:lnTo>
                        <a:lnTo>
                          <a:pt x="65" y="721"/>
                        </a:lnTo>
                        <a:lnTo>
                          <a:pt x="62" y="714"/>
                        </a:lnTo>
                        <a:lnTo>
                          <a:pt x="67" y="709"/>
                        </a:lnTo>
                        <a:lnTo>
                          <a:pt x="64" y="699"/>
                        </a:lnTo>
                        <a:lnTo>
                          <a:pt x="64" y="694"/>
                        </a:lnTo>
                        <a:lnTo>
                          <a:pt x="59" y="689"/>
                        </a:lnTo>
                        <a:lnTo>
                          <a:pt x="60" y="685"/>
                        </a:lnTo>
                        <a:lnTo>
                          <a:pt x="54" y="676"/>
                        </a:lnTo>
                        <a:lnTo>
                          <a:pt x="65" y="681"/>
                        </a:lnTo>
                        <a:lnTo>
                          <a:pt x="59" y="673"/>
                        </a:lnTo>
                        <a:lnTo>
                          <a:pt x="55" y="668"/>
                        </a:lnTo>
                        <a:lnTo>
                          <a:pt x="50" y="660"/>
                        </a:lnTo>
                        <a:lnTo>
                          <a:pt x="54" y="655"/>
                        </a:lnTo>
                        <a:lnTo>
                          <a:pt x="57" y="646"/>
                        </a:lnTo>
                        <a:lnTo>
                          <a:pt x="50" y="638"/>
                        </a:lnTo>
                        <a:lnTo>
                          <a:pt x="62" y="636"/>
                        </a:lnTo>
                        <a:lnTo>
                          <a:pt x="67" y="635"/>
                        </a:lnTo>
                        <a:lnTo>
                          <a:pt x="62" y="631"/>
                        </a:lnTo>
                        <a:lnTo>
                          <a:pt x="52" y="633"/>
                        </a:lnTo>
                        <a:lnTo>
                          <a:pt x="47" y="630"/>
                        </a:lnTo>
                        <a:lnTo>
                          <a:pt x="49" y="620"/>
                        </a:lnTo>
                        <a:lnTo>
                          <a:pt x="49" y="610"/>
                        </a:lnTo>
                        <a:lnTo>
                          <a:pt x="45" y="601"/>
                        </a:lnTo>
                        <a:lnTo>
                          <a:pt x="45" y="593"/>
                        </a:lnTo>
                        <a:lnTo>
                          <a:pt x="42" y="588"/>
                        </a:lnTo>
                        <a:lnTo>
                          <a:pt x="39" y="581"/>
                        </a:lnTo>
                        <a:lnTo>
                          <a:pt x="40" y="577"/>
                        </a:lnTo>
                        <a:lnTo>
                          <a:pt x="35" y="568"/>
                        </a:lnTo>
                        <a:lnTo>
                          <a:pt x="32" y="548"/>
                        </a:lnTo>
                        <a:lnTo>
                          <a:pt x="29" y="540"/>
                        </a:lnTo>
                        <a:lnTo>
                          <a:pt x="29" y="530"/>
                        </a:lnTo>
                        <a:lnTo>
                          <a:pt x="35" y="540"/>
                        </a:lnTo>
                        <a:lnTo>
                          <a:pt x="35" y="537"/>
                        </a:lnTo>
                        <a:lnTo>
                          <a:pt x="30" y="527"/>
                        </a:lnTo>
                        <a:lnTo>
                          <a:pt x="25" y="522"/>
                        </a:lnTo>
                        <a:lnTo>
                          <a:pt x="25" y="517"/>
                        </a:lnTo>
                        <a:lnTo>
                          <a:pt x="24" y="510"/>
                        </a:lnTo>
                        <a:lnTo>
                          <a:pt x="24" y="495"/>
                        </a:lnTo>
                        <a:lnTo>
                          <a:pt x="30" y="493"/>
                        </a:lnTo>
                        <a:lnTo>
                          <a:pt x="22" y="483"/>
                        </a:lnTo>
                        <a:lnTo>
                          <a:pt x="20" y="470"/>
                        </a:lnTo>
                        <a:lnTo>
                          <a:pt x="22" y="457"/>
                        </a:lnTo>
                        <a:lnTo>
                          <a:pt x="32" y="457"/>
                        </a:lnTo>
                        <a:lnTo>
                          <a:pt x="37" y="467"/>
                        </a:lnTo>
                        <a:lnTo>
                          <a:pt x="39" y="449"/>
                        </a:lnTo>
                        <a:lnTo>
                          <a:pt x="32" y="454"/>
                        </a:lnTo>
                        <a:lnTo>
                          <a:pt x="25" y="445"/>
                        </a:lnTo>
                        <a:lnTo>
                          <a:pt x="30" y="440"/>
                        </a:lnTo>
                        <a:lnTo>
                          <a:pt x="39" y="439"/>
                        </a:lnTo>
                        <a:lnTo>
                          <a:pt x="44" y="429"/>
                        </a:lnTo>
                        <a:lnTo>
                          <a:pt x="40" y="417"/>
                        </a:lnTo>
                        <a:lnTo>
                          <a:pt x="39" y="410"/>
                        </a:lnTo>
                        <a:lnTo>
                          <a:pt x="29" y="415"/>
                        </a:lnTo>
                        <a:lnTo>
                          <a:pt x="19" y="417"/>
                        </a:lnTo>
                        <a:lnTo>
                          <a:pt x="12" y="410"/>
                        </a:lnTo>
                        <a:lnTo>
                          <a:pt x="10" y="405"/>
                        </a:lnTo>
                        <a:lnTo>
                          <a:pt x="10" y="395"/>
                        </a:lnTo>
                        <a:lnTo>
                          <a:pt x="10" y="384"/>
                        </a:lnTo>
                        <a:lnTo>
                          <a:pt x="15" y="375"/>
                        </a:lnTo>
                        <a:lnTo>
                          <a:pt x="12" y="365"/>
                        </a:lnTo>
                        <a:lnTo>
                          <a:pt x="10" y="359"/>
                        </a:lnTo>
                        <a:lnTo>
                          <a:pt x="17" y="352"/>
                        </a:lnTo>
                        <a:lnTo>
                          <a:pt x="24" y="347"/>
                        </a:lnTo>
                        <a:lnTo>
                          <a:pt x="17" y="346"/>
                        </a:lnTo>
                        <a:lnTo>
                          <a:pt x="12" y="341"/>
                        </a:lnTo>
                        <a:lnTo>
                          <a:pt x="12" y="347"/>
                        </a:lnTo>
                        <a:lnTo>
                          <a:pt x="7" y="352"/>
                        </a:lnTo>
                        <a:lnTo>
                          <a:pt x="2" y="344"/>
                        </a:lnTo>
                        <a:lnTo>
                          <a:pt x="5" y="336"/>
                        </a:lnTo>
                        <a:lnTo>
                          <a:pt x="7" y="326"/>
                        </a:lnTo>
                        <a:lnTo>
                          <a:pt x="4" y="321"/>
                        </a:lnTo>
                        <a:lnTo>
                          <a:pt x="4" y="312"/>
                        </a:lnTo>
                        <a:lnTo>
                          <a:pt x="0" y="306"/>
                        </a:lnTo>
                        <a:lnTo>
                          <a:pt x="2" y="297"/>
                        </a:lnTo>
                        <a:lnTo>
                          <a:pt x="2" y="287"/>
                        </a:lnTo>
                        <a:lnTo>
                          <a:pt x="9" y="287"/>
                        </a:lnTo>
                        <a:lnTo>
                          <a:pt x="12" y="282"/>
                        </a:lnTo>
                        <a:lnTo>
                          <a:pt x="7" y="276"/>
                        </a:lnTo>
                        <a:lnTo>
                          <a:pt x="7" y="269"/>
                        </a:lnTo>
                        <a:lnTo>
                          <a:pt x="12" y="264"/>
                        </a:lnTo>
                        <a:lnTo>
                          <a:pt x="14" y="256"/>
                        </a:lnTo>
                        <a:lnTo>
                          <a:pt x="14" y="251"/>
                        </a:lnTo>
                        <a:lnTo>
                          <a:pt x="24" y="256"/>
                        </a:lnTo>
                        <a:lnTo>
                          <a:pt x="35" y="254"/>
                        </a:lnTo>
                        <a:lnTo>
                          <a:pt x="42" y="253"/>
                        </a:lnTo>
                        <a:lnTo>
                          <a:pt x="47" y="257"/>
                        </a:lnTo>
                        <a:lnTo>
                          <a:pt x="40" y="264"/>
                        </a:lnTo>
                        <a:lnTo>
                          <a:pt x="44" y="269"/>
                        </a:lnTo>
                        <a:lnTo>
                          <a:pt x="49" y="267"/>
                        </a:lnTo>
                        <a:lnTo>
                          <a:pt x="54" y="277"/>
                        </a:lnTo>
                        <a:lnTo>
                          <a:pt x="55" y="271"/>
                        </a:lnTo>
                        <a:lnTo>
                          <a:pt x="67" y="274"/>
                        </a:lnTo>
                        <a:lnTo>
                          <a:pt x="75" y="276"/>
                        </a:lnTo>
                        <a:lnTo>
                          <a:pt x="77" y="269"/>
                        </a:lnTo>
                        <a:lnTo>
                          <a:pt x="85" y="261"/>
                        </a:lnTo>
                        <a:lnTo>
                          <a:pt x="93" y="257"/>
                        </a:lnTo>
                        <a:lnTo>
                          <a:pt x="100" y="261"/>
                        </a:lnTo>
                        <a:lnTo>
                          <a:pt x="110" y="254"/>
                        </a:lnTo>
                        <a:lnTo>
                          <a:pt x="107" y="244"/>
                        </a:lnTo>
                        <a:lnTo>
                          <a:pt x="107" y="231"/>
                        </a:lnTo>
                        <a:lnTo>
                          <a:pt x="117" y="211"/>
                        </a:lnTo>
                        <a:lnTo>
                          <a:pt x="112" y="204"/>
                        </a:lnTo>
                        <a:lnTo>
                          <a:pt x="102" y="199"/>
                        </a:lnTo>
                        <a:lnTo>
                          <a:pt x="107" y="189"/>
                        </a:lnTo>
                        <a:lnTo>
                          <a:pt x="112" y="181"/>
                        </a:lnTo>
                        <a:lnTo>
                          <a:pt x="118" y="181"/>
                        </a:lnTo>
                        <a:lnTo>
                          <a:pt x="118" y="189"/>
                        </a:lnTo>
                        <a:lnTo>
                          <a:pt x="135" y="196"/>
                        </a:lnTo>
                        <a:lnTo>
                          <a:pt x="138" y="204"/>
                        </a:lnTo>
                        <a:lnTo>
                          <a:pt x="148" y="204"/>
                        </a:lnTo>
                        <a:lnTo>
                          <a:pt x="155" y="203"/>
                        </a:lnTo>
                        <a:lnTo>
                          <a:pt x="160" y="196"/>
                        </a:lnTo>
                        <a:lnTo>
                          <a:pt x="160" y="189"/>
                        </a:lnTo>
                        <a:lnTo>
                          <a:pt x="170" y="186"/>
                        </a:lnTo>
                        <a:lnTo>
                          <a:pt x="177" y="179"/>
                        </a:lnTo>
                        <a:lnTo>
                          <a:pt x="175" y="163"/>
                        </a:lnTo>
                        <a:lnTo>
                          <a:pt x="173" y="148"/>
                        </a:lnTo>
                        <a:lnTo>
                          <a:pt x="165" y="146"/>
                        </a:lnTo>
                        <a:lnTo>
                          <a:pt x="163" y="138"/>
                        </a:lnTo>
                        <a:lnTo>
                          <a:pt x="160" y="131"/>
                        </a:lnTo>
                        <a:lnTo>
                          <a:pt x="137" y="126"/>
                        </a:lnTo>
                        <a:lnTo>
                          <a:pt x="133" y="118"/>
                        </a:lnTo>
                        <a:lnTo>
                          <a:pt x="148" y="118"/>
                        </a:lnTo>
                        <a:lnTo>
                          <a:pt x="158" y="123"/>
                        </a:lnTo>
                        <a:lnTo>
                          <a:pt x="167" y="111"/>
                        </a:lnTo>
                        <a:lnTo>
                          <a:pt x="170" y="105"/>
                        </a:lnTo>
                        <a:lnTo>
                          <a:pt x="181" y="105"/>
                        </a:lnTo>
                        <a:lnTo>
                          <a:pt x="180" y="96"/>
                        </a:lnTo>
                        <a:lnTo>
                          <a:pt x="185" y="90"/>
                        </a:lnTo>
                        <a:lnTo>
                          <a:pt x="196" y="85"/>
                        </a:lnTo>
                        <a:lnTo>
                          <a:pt x="210" y="83"/>
                        </a:lnTo>
                        <a:lnTo>
                          <a:pt x="223" y="78"/>
                        </a:lnTo>
                        <a:lnTo>
                          <a:pt x="230" y="80"/>
                        </a:lnTo>
                        <a:lnTo>
                          <a:pt x="240" y="78"/>
                        </a:lnTo>
                        <a:lnTo>
                          <a:pt x="238" y="68"/>
                        </a:lnTo>
                        <a:lnTo>
                          <a:pt x="230" y="70"/>
                        </a:lnTo>
                        <a:lnTo>
                          <a:pt x="223" y="73"/>
                        </a:lnTo>
                        <a:lnTo>
                          <a:pt x="215" y="68"/>
                        </a:lnTo>
                        <a:lnTo>
                          <a:pt x="203" y="65"/>
                        </a:lnTo>
                        <a:lnTo>
                          <a:pt x="191" y="70"/>
                        </a:lnTo>
                        <a:lnTo>
                          <a:pt x="183" y="73"/>
                        </a:lnTo>
                        <a:lnTo>
                          <a:pt x="170" y="73"/>
                        </a:lnTo>
                        <a:lnTo>
                          <a:pt x="165" y="66"/>
                        </a:lnTo>
                        <a:lnTo>
                          <a:pt x="165" y="61"/>
                        </a:lnTo>
                        <a:lnTo>
                          <a:pt x="162" y="56"/>
                        </a:lnTo>
                        <a:lnTo>
                          <a:pt x="177" y="53"/>
                        </a:lnTo>
                        <a:lnTo>
                          <a:pt x="175" y="45"/>
                        </a:lnTo>
                        <a:lnTo>
                          <a:pt x="170" y="35"/>
                        </a:lnTo>
                        <a:lnTo>
                          <a:pt x="167" y="30"/>
                        </a:lnTo>
                        <a:lnTo>
                          <a:pt x="175" y="25"/>
                        </a:lnTo>
                        <a:lnTo>
                          <a:pt x="185" y="25"/>
                        </a:lnTo>
                        <a:lnTo>
                          <a:pt x="200" y="17"/>
                        </a:lnTo>
                        <a:lnTo>
                          <a:pt x="208" y="13"/>
                        </a:lnTo>
                        <a:lnTo>
                          <a:pt x="223" y="22"/>
                        </a:lnTo>
                        <a:lnTo>
                          <a:pt x="233" y="12"/>
                        </a:lnTo>
                        <a:lnTo>
                          <a:pt x="248" y="0"/>
                        </a:lnTo>
                        <a:lnTo>
                          <a:pt x="258" y="0"/>
                        </a:lnTo>
                        <a:lnTo>
                          <a:pt x="256" y="12"/>
                        </a:lnTo>
                        <a:lnTo>
                          <a:pt x="268" y="17"/>
                        </a:lnTo>
                        <a:lnTo>
                          <a:pt x="265" y="33"/>
                        </a:lnTo>
                        <a:lnTo>
                          <a:pt x="258" y="48"/>
                        </a:lnTo>
                        <a:lnTo>
                          <a:pt x="266" y="56"/>
                        </a:lnTo>
                        <a:lnTo>
                          <a:pt x="286" y="63"/>
                        </a:lnTo>
                        <a:lnTo>
                          <a:pt x="306" y="66"/>
                        </a:lnTo>
                        <a:lnTo>
                          <a:pt x="311" y="61"/>
                        </a:lnTo>
                        <a:lnTo>
                          <a:pt x="324" y="68"/>
                        </a:lnTo>
                        <a:lnTo>
                          <a:pt x="336" y="80"/>
                        </a:lnTo>
                        <a:lnTo>
                          <a:pt x="343" y="93"/>
                        </a:lnTo>
                        <a:lnTo>
                          <a:pt x="369" y="101"/>
                        </a:lnTo>
                        <a:lnTo>
                          <a:pt x="386" y="100"/>
                        </a:lnTo>
                        <a:lnTo>
                          <a:pt x="391" y="95"/>
                        </a:lnTo>
                        <a:lnTo>
                          <a:pt x="401" y="95"/>
                        </a:lnTo>
                        <a:lnTo>
                          <a:pt x="414" y="100"/>
                        </a:lnTo>
                        <a:lnTo>
                          <a:pt x="451" y="100"/>
                        </a:lnTo>
                        <a:lnTo>
                          <a:pt x="464" y="105"/>
                        </a:lnTo>
                        <a:lnTo>
                          <a:pt x="474" y="105"/>
                        </a:lnTo>
                        <a:lnTo>
                          <a:pt x="477" y="121"/>
                        </a:lnTo>
                        <a:lnTo>
                          <a:pt x="471" y="133"/>
                        </a:lnTo>
                        <a:lnTo>
                          <a:pt x="479" y="141"/>
                        </a:lnTo>
                        <a:lnTo>
                          <a:pt x="496" y="148"/>
                        </a:lnTo>
                        <a:lnTo>
                          <a:pt x="516" y="143"/>
                        </a:lnTo>
                        <a:lnTo>
                          <a:pt x="524" y="131"/>
                        </a:lnTo>
                        <a:lnTo>
                          <a:pt x="544" y="135"/>
                        </a:lnTo>
                        <a:lnTo>
                          <a:pt x="550" y="118"/>
                        </a:lnTo>
                        <a:lnTo>
                          <a:pt x="544" y="116"/>
                        </a:lnTo>
                        <a:lnTo>
                          <a:pt x="554" y="100"/>
                        </a:lnTo>
                        <a:lnTo>
                          <a:pt x="560" y="100"/>
                        </a:lnTo>
                        <a:lnTo>
                          <a:pt x="569" y="91"/>
                        </a:lnTo>
                        <a:lnTo>
                          <a:pt x="559" y="85"/>
                        </a:lnTo>
                        <a:lnTo>
                          <a:pt x="560" y="78"/>
                        </a:lnTo>
                        <a:lnTo>
                          <a:pt x="570" y="70"/>
                        </a:lnTo>
                        <a:lnTo>
                          <a:pt x="584" y="68"/>
                        </a:lnTo>
                        <a:lnTo>
                          <a:pt x="585" y="73"/>
                        </a:lnTo>
                        <a:lnTo>
                          <a:pt x="602" y="65"/>
                        </a:lnTo>
                        <a:lnTo>
                          <a:pt x="607" y="55"/>
                        </a:lnTo>
                        <a:lnTo>
                          <a:pt x="617" y="56"/>
                        </a:lnTo>
                        <a:lnTo>
                          <a:pt x="620" y="63"/>
                        </a:lnTo>
                        <a:lnTo>
                          <a:pt x="634" y="53"/>
                        </a:lnTo>
                        <a:lnTo>
                          <a:pt x="647" y="55"/>
                        </a:lnTo>
                        <a:lnTo>
                          <a:pt x="653" y="48"/>
                        </a:lnTo>
                        <a:lnTo>
                          <a:pt x="672" y="70"/>
                        </a:lnTo>
                        <a:lnTo>
                          <a:pt x="668" y="78"/>
                        </a:lnTo>
                        <a:lnTo>
                          <a:pt x="673" y="85"/>
                        </a:lnTo>
                        <a:lnTo>
                          <a:pt x="670" y="88"/>
                        </a:lnTo>
                        <a:lnTo>
                          <a:pt x="663" y="83"/>
                        </a:lnTo>
                        <a:lnTo>
                          <a:pt x="653" y="88"/>
                        </a:lnTo>
                        <a:lnTo>
                          <a:pt x="650" y="100"/>
                        </a:lnTo>
                        <a:lnTo>
                          <a:pt x="658" y="106"/>
                        </a:lnTo>
                        <a:lnTo>
                          <a:pt x="667" y="106"/>
                        </a:lnTo>
                        <a:lnTo>
                          <a:pt x="672" y="110"/>
                        </a:lnTo>
                        <a:lnTo>
                          <a:pt x="683" y="106"/>
                        </a:lnTo>
                        <a:lnTo>
                          <a:pt x="687" y="113"/>
                        </a:lnTo>
                        <a:lnTo>
                          <a:pt x="695" y="108"/>
                        </a:lnTo>
                        <a:lnTo>
                          <a:pt x="708" y="105"/>
                        </a:lnTo>
                        <a:lnTo>
                          <a:pt x="713" y="110"/>
                        </a:lnTo>
                        <a:lnTo>
                          <a:pt x="728" y="106"/>
                        </a:lnTo>
                        <a:lnTo>
                          <a:pt x="737" y="98"/>
                        </a:lnTo>
                        <a:lnTo>
                          <a:pt x="750" y="91"/>
                        </a:lnTo>
                        <a:lnTo>
                          <a:pt x="765" y="80"/>
                        </a:lnTo>
                        <a:lnTo>
                          <a:pt x="785" y="80"/>
                        </a:lnTo>
                        <a:lnTo>
                          <a:pt x="783" y="86"/>
                        </a:lnTo>
                        <a:lnTo>
                          <a:pt x="788" y="91"/>
                        </a:lnTo>
                        <a:lnTo>
                          <a:pt x="798" y="90"/>
                        </a:lnTo>
                        <a:lnTo>
                          <a:pt x="808" y="95"/>
                        </a:lnTo>
                        <a:lnTo>
                          <a:pt x="820" y="96"/>
                        </a:lnTo>
                        <a:lnTo>
                          <a:pt x="831" y="98"/>
                        </a:lnTo>
                        <a:lnTo>
                          <a:pt x="846" y="98"/>
                        </a:lnTo>
                        <a:lnTo>
                          <a:pt x="856" y="95"/>
                        </a:lnTo>
                        <a:lnTo>
                          <a:pt x="850" y="88"/>
                        </a:lnTo>
                        <a:lnTo>
                          <a:pt x="851" y="81"/>
                        </a:lnTo>
                        <a:lnTo>
                          <a:pt x="858" y="78"/>
                        </a:lnTo>
                        <a:lnTo>
                          <a:pt x="876" y="78"/>
                        </a:lnTo>
                        <a:lnTo>
                          <a:pt x="891" y="68"/>
                        </a:lnTo>
                        <a:lnTo>
                          <a:pt x="891" y="61"/>
                        </a:lnTo>
                        <a:lnTo>
                          <a:pt x="904" y="63"/>
                        </a:lnTo>
                        <a:lnTo>
                          <a:pt x="913" y="70"/>
                        </a:lnTo>
                        <a:lnTo>
                          <a:pt x="929" y="70"/>
                        </a:lnTo>
                        <a:lnTo>
                          <a:pt x="933" y="80"/>
                        </a:lnTo>
                        <a:lnTo>
                          <a:pt x="931" y="88"/>
                        </a:lnTo>
                        <a:lnTo>
                          <a:pt x="939" y="91"/>
                        </a:lnTo>
                        <a:lnTo>
                          <a:pt x="951" y="91"/>
                        </a:lnTo>
                        <a:lnTo>
                          <a:pt x="953" y="85"/>
                        </a:lnTo>
                        <a:lnTo>
                          <a:pt x="959" y="81"/>
                        </a:lnTo>
                        <a:lnTo>
                          <a:pt x="968" y="81"/>
                        </a:lnTo>
                        <a:lnTo>
                          <a:pt x="973" y="90"/>
                        </a:lnTo>
                        <a:lnTo>
                          <a:pt x="981" y="93"/>
                        </a:lnTo>
                        <a:lnTo>
                          <a:pt x="991" y="86"/>
                        </a:lnTo>
                        <a:lnTo>
                          <a:pt x="1001" y="88"/>
                        </a:lnTo>
                        <a:lnTo>
                          <a:pt x="1026" y="73"/>
                        </a:lnTo>
                        <a:lnTo>
                          <a:pt x="1034" y="81"/>
                        </a:lnTo>
                        <a:lnTo>
                          <a:pt x="1047" y="96"/>
                        </a:lnTo>
                        <a:lnTo>
                          <a:pt x="1054" y="106"/>
                        </a:lnTo>
                        <a:lnTo>
                          <a:pt x="1056" y="111"/>
                        </a:lnTo>
                        <a:lnTo>
                          <a:pt x="1062" y="108"/>
                        </a:lnTo>
                        <a:lnTo>
                          <a:pt x="1077" y="120"/>
                        </a:lnTo>
                        <a:lnTo>
                          <a:pt x="1089" y="116"/>
                        </a:lnTo>
                        <a:lnTo>
                          <a:pt x="1087" y="125"/>
                        </a:lnTo>
                        <a:lnTo>
                          <a:pt x="1074" y="135"/>
                        </a:lnTo>
                        <a:lnTo>
                          <a:pt x="1057" y="145"/>
                        </a:lnTo>
                        <a:lnTo>
                          <a:pt x="1057" y="154"/>
                        </a:lnTo>
                        <a:lnTo>
                          <a:pt x="1061" y="161"/>
                        </a:lnTo>
                        <a:lnTo>
                          <a:pt x="1054" y="168"/>
                        </a:lnTo>
                        <a:lnTo>
                          <a:pt x="1062" y="176"/>
                        </a:lnTo>
                        <a:lnTo>
                          <a:pt x="1067" y="174"/>
                        </a:lnTo>
                        <a:lnTo>
                          <a:pt x="1071" y="191"/>
                        </a:lnTo>
                        <a:lnTo>
                          <a:pt x="1072" y="204"/>
                        </a:lnTo>
                        <a:lnTo>
                          <a:pt x="1076" y="213"/>
                        </a:lnTo>
                        <a:lnTo>
                          <a:pt x="1057" y="219"/>
                        </a:lnTo>
                        <a:lnTo>
                          <a:pt x="1062" y="226"/>
                        </a:lnTo>
                        <a:lnTo>
                          <a:pt x="1077" y="224"/>
                        </a:lnTo>
                        <a:lnTo>
                          <a:pt x="1077" y="239"/>
                        </a:lnTo>
                        <a:lnTo>
                          <a:pt x="1074" y="249"/>
                        </a:lnTo>
                        <a:lnTo>
                          <a:pt x="1077" y="261"/>
                        </a:lnTo>
                        <a:lnTo>
                          <a:pt x="1076" y="266"/>
                        </a:lnTo>
                        <a:lnTo>
                          <a:pt x="1066" y="269"/>
                        </a:lnTo>
                        <a:lnTo>
                          <a:pt x="1051" y="271"/>
                        </a:lnTo>
                        <a:lnTo>
                          <a:pt x="1047" y="276"/>
                        </a:lnTo>
                        <a:lnTo>
                          <a:pt x="1052" y="284"/>
                        </a:lnTo>
                        <a:lnTo>
                          <a:pt x="1047" y="291"/>
                        </a:lnTo>
                        <a:lnTo>
                          <a:pt x="1052" y="292"/>
                        </a:lnTo>
                        <a:lnTo>
                          <a:pt x="1066" y="289"/>
                        </a:lnTo>
                        <a:lnTo>
                          <a:pt x="1074" y="297"/>
                        </a:lnTo>
                        <a:lnTo>
                          <a:pt x="1071" y="306"/>
                        </a:lnTo>
                        <a:lnTo>
                          <a:pt x="1069" y="317"/>
                        </a:lnTo>
                        <a:lnTo>
                          <a:pt x="1066" y="324"/>
                        </a:lnTo>
                        <a:lnTo>
                          <a:pt x="1061" y="317"/>
                        </a:lnTo>
                        <a:lnTo>
                          <a:pt x="1051" y="317"/>
                        </a:lnTo>
                        <a:lnTo>
                          <a:pt x="1051" y="327"/>
                        </a:lnTo>
                        <a:lnTo>
                          <a:pt x="1061" y="327"/>
                        </a:lnTo>
                        <a:lnTo>
                          <a:pt x="1066" y="331"/>
                        </a:lnTo>
                        <a:lnTo>
                          <a:pt x="1056" y="336"/>
                        </a:lnTo>
                        <a:lnTo>
                          <a:pt x="1049" y="337"/>
                        </a:lnTo>
                        <a:lnTo>
                          <a:pt x="1051" y="342"/>
                        </a:lnTo>
                        <a:lnTo>
                          <a:pt x="1061" y="342"/>
                        </a:lnTo>
                        <a:lnTo>
                          <a:pt x="1062" y="339"/>
                        </a:lnTo>
                        <a:lnTo>
                          <a:pt x="1069" y="336"/>
                        </a:lnTo>
                        <a:lnTo>
                          <a:pt x="1072" y="346"/>
                        </a:lnTo>
                        <a:lnTo>
                          <a:pt x="1089" y="356"/>
                        </a:lnTo>
                        <a:lnTo>
                          <a:pt x="1087" y="367"/>
                        </a:lnTo>
                        <a:lnTo>
                          <a:pt x="1094" y="367"/>
                        </a:lnTo>
                        <a:lnTo>
                          <a:pt x="1114" y="379"/>
                        </a:lnTo>
                        <a:lnTo>
                          <a:pt x="1117" y="385"/>
                        </a:lnTo>
                        <a:lnTo>
                          <a:pt x="1109" y="394"/>
                        </a:lnTo>
                        <a:lnTo>
                          <a:pt x="1105" y="399"/>
                        </a:lnTo>
                        <a:lnTo>
                          <a:pt x="1114" y="404"/>
                        </a:lnTo>
                        <a:lnTo>
                          <a:pt x="1094" y="415"/>
                        </a:lnTo>
                        <a:lnTo>
                          <a:pt x="1081" y="405"/>
                        </a:lnTo>
                        <a:lnTo>
                          <a:pt x="1071" y="404"/>
                        </a:lnTo>
                        <a:lnTo>
                          <a:pt x="1059" y="410"/>
                        </a:lnTo>
                        <a:lnTo>
                          <a:pt x="1044" y="430"/>
                        </a:lnTo>
                        <a:lnTo>
                          <a:pt x="1032" y="464"/>
                        </a:lnTo>
                        <a:lnTo>
                          <a:pt x="1037" y="475"/>
                        </a:lnTo>
                        <a:lnTo>
                          <a:pt x="1039" y="485"/>
                        </a:lnTo>
                        <a:lnTo>
                          <a:pt x="1029" y="487"/>
                        </a:lnTo>
                        <a:lnTo>
                          <a:pt x="1029" y="495"/>
                        </a:lnTo>
                        <a:lnTo>
                          <a:pt x="1016" y="500"/>
                        </a:lnTo>
                        <a:lnTo>
                          <a:pt x="999" y="492"/>
                        </a:lnTo>
                        <a:lnTo>
                          <a:pt x="992" y="490"/>
                        </a:lnTo>
                        <a:lnTo>
                          <a:pt x="986" y="487"/>
                        </a:lnTo>
                        <a:lnTo>
                          <a:pt x="989" y="480"/>
                        </a:lnTo>
                        <a:lnTo>
                          <a:pt x="989" y="454"/>
                        </a:lnTo>
                        <a:lnTo>
                          <a:pt x="979" y="449"/>
                        </a:lnTo>
                        <a:lnTo>
                          <a:pt x="978" y="439"/>
                        </a:lnTo>
                        <a:lnTo>
                          <a:pt x="989" y="432"/>
                        </a:lnTo>
                        <a:lnTo>
                          <a:pt x="987" y="424"/>
                        </a:lnTo>
                        <a:lnTo>
                          <a:pt x="991" y="412"/>
                        </a:lnTo>
                        <a:lnTo>
                          <a:pt x="991" y="389"/>
                        </a:lnTo>
                        <a:lnTo>
                          <a:pt x="974" y="379"/>
                        </a:lnTo>
                        <a:lnTo>
                          <a:pt x="973" y="374"/>
                        </a:lnTo>
                        <a:lnTo>
                          <a:pt x="956" y="369"/>
                        </a:lnTo>
                        <a:lnTo>
                          <a:pt x="946" y="374"/>
                        </a:lnTo>
                        <a:lnTo>
                          <a:pt x="939" y="382"/>
                        </a:lnTo>
                        <a:lnTo>
                          <a:pt x="934" y="379"/>
                        </a:lnTo>
                        <a:lnTo>
                          <a:pt x="921" y="382"/>
                        </a:lnTo>
                        <a:lnTo>
                          <a:pt x="909" y="374"/>
                        </a:lnTo>
                        <a:lnTo>
                          <a:pt x="901" y="375"/>
                        </a:lnTo>
                        <a:lnTo>
                          <a:pt x="893" y="369"/>
                        </a:lnTo>
                        <a:lnTo>
                          <a:pt x="889" y="380"/>
                        </a:lnTo>
                        <a:lnTo>
                          <a:pt x="889" y="389"/>
                        </a:lnTo>
                        <a:lnTo>
                          <a:pt x="883" y="389"/>
                        </a:lnTo>
                        <a:lnTo>
                          <a:pt x="873" y="382"/>
                        </a:lnTo>
                        <a:lnTo>
                          <a:pt x="863" y="379"/>
                        </a:lnTo>
                        <a:lnTo>
                          <a:pt x="850" y="374"/>
                        </a:lnTo>
                        <a:lnTo>
                          <a:pt x="843" y="364"/>
                        </a:lnTo>
                        <a:lnTo>
                          <a:pt x="835" y="359"/>
                        </a:lnTo>
                        <a:lnTo>
                          <a:pt x="828" y="344"/>
                        </a:lnTo>
                        <a:lnTo>
                          <a:pt x="815" y="342"/>
                        </a:lnTo>
                        <a:lnTo>
                          <a:pt x="801" y="337"/>
                        </a:lnTo>
                        <a:lnTo>
                          <a:pt x="783" y="339"/>
                        </a:lnTo>
                        <a:lnTo>
                          <a:pt x="775" y="327"/>
                        </a:lnTo>
                        <a:lnTo>
                          <a:pt x="766" y="321"/>
                        </a:lnTo>
                        <a:lnTo>
                          <a:pt x="761" y="324"/>
                        </a:lnTo>
                        <a:lnTo>
                          <a:pt x="765" y="332"/>
                        </a:lnTo>
                        <a:lnTo>
                          <a:pt x="768" y="341"/>
                        </a:lnTo>
                        <a:lnTo>
                          <a:pt x="773" y="347"/>
                        </a:lnTo>
                        <a:lnTo>
                          <a:pt x="763" y="352"/>
                        </a:lnTo>
                        <a:lnTo>
                          <a:pt x="760" y="359"/>
                        </a:lnTo>
                        <a:lnTo>
                          <a:pt x="765" y="367"/>
                        </a:lnTo>
                        <a:lnTo>
                          <a:pt x="765" y="367"/>
                        </a:lnTo>
                        <a:lnTo>
                          <a:pt x="765" y="367"/>
                        </a:lnTo>
                        <a:close/>
                      </a:path>
                    </a:pathLst>
                  </a:custGeom>
                  <a:solidFill>
                    <a:srgbClr val="77B8E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dirty="0">
                      <a:latin typeface="Proxima Nova A" panose="02000506030000020004" pitchFamily="2" charset="0"/>
                    </a:endParaRPr>
                  </a:p>
                </p:txBody>
              </p:sp>
              <p:sp>
                <p:nvSpPr>
                  <p:cNvPr id="166" name="Freeform 1126">
                    <a:extLst>
                      <a:ext uri="{FF2B5EF4-FFF2-40B4-BE49-F238E27FC236}">
                        <a16:creationId xmlns:a16="http://schemas.microsoft.com/office/drawing/2014/main" id="{3444F82C-0396-4041-8663-4DCBE08939A7}"/>
                      </a:ext>
                    </a:extLst>
                  </p:cNvPr>
                  <p:cNvSpPr>
                    <a:spLocks/>
                  </p:cNvSpPr>
                  <p:nvPr/>
                </p:nvSpPr>
                <p:spPr bwMode="auto">
                  <a:xfrm>
                    <a:off x="3156684" y="4436094"/>
                    <a:ext cx="859754" cy="1366222"/>
                  </a:xfrm>
                  <a:custGeom>
                    <a:avLst/>
                    <a:gdLst>
                      <a:gd name="T0" fmla="*/ 409 w 623"/>
                      <a:gd name="T1" fmla="*/ 423 h 990"/>
                      <a:gd name="T2" fmla="*/ 432 w 623"/>
                      <a:gd name="T3" fmla="*/ 357 h 990"/>
                      <a:gd name="T4" fmla="*/ 487 w 623"/>
                      <a:gd name="T5" fmla="*/ 304 h 990"/>
                      <a:gd name="T6" fmla="*/ 467 w 623"/>
                      <a:gd name="T7" fmla="*/ 287 h 990"/>
                      <a:gd name="T8" fmla="*/ 475 w 623"/>
                      <a:gd name="T9" fmla="*/ 239 h 990"/>
                      <a:gd name="T10" fmla="*/ 461 w 623"/>
                      <a:gd name="T11" fmla="*/ 176 h 990"/>
                      <a:gd name="T12" fmla="*/ 479 w 623"/>
                      <a:gd name="T13" fmla="*/ 131 h 990"/>
                      <a:gd name="T14" fmla="*/ 505 w 623"/>
                      <a:gd name="T15" fmla="*/ 71 h 990"/>
                      <a:gd name="T16" fmla="*/ 482 w 623"/>
                      <a:gd name="T17" fmla="*/ 25 h 990"/>
                      <a:gd name="T18" fmla="*/ 446 w 623"/>
                      <a:gd name="T19" fmla="*/ 23 h 990"/>
                      <a:gd name="T20" fmla="*/ 409 w 623"/>
                      <a:gd name="T21" fmla="*/ 48 h 990"/>
                      <a:gd name="T22" fmla="*/ 384 w 623"/>
                      <a:gd name="T23" fmla="*/ 88 h 990"/>
                      <a:gd name="T24" fmla="*/ 333 w 623"/>
                      <a:gd name="T25" fmla="*/ 119 h 990"/>
                      <a:gd name="T26" fmla="*/ 318 w 623"/>
                      <a:gd name="T27" fmla="*/ 154 h 990"/>
                      <a:gd name="T28" fmla="*/ 276 w 623"/>
                      <a:gd name="T29" fmla="*/ 151 h 990"/>
                      <a:gd name="T30" fmla="*/ 228 w 623"/>
                      <a:gd name="T31" fmla="*/ 171 h 990"/>
                      <a:gd name="T32" fmla="*/ 211 w 623"/>
                      <a:gd name="T33" fmla="*/ 204 h 990"/>
                      <a:gd name="T34" fmla="*/ 171 w 623"/>
                      <a:gd name="T35" fmla="*/ 221 h 990"/>
                      <a:gd name="T36" fmla="*/ 125 w 623"/>
                      <a:gd name="T37" fmla="*/ 204 h 990"/>
                      <a:gd name="T38" fmla="*/ 88 w 623"/>
                      <a:gd name="T39" fmla="*/ 254 h 990"/>
                      <a:gd name="T40" fmla="*/ 45 w 623"/>
                      <a:gd name="T41" fmla="*/ 259 h 990"/>
                      <a:gd name="T42" fmla="*/ 32 w 623"/>
                      <a:gd name="T43" fmla="*/ 289 h 990"/>
                      <a:gd name="T44" fmla="*/ 38 w 623"/>
                      <a:gd name="T45" fmla="*/ 335 h 990"/>
                      <a:gd name="T46" fmla="*/ 2 w 623"/>
                      <a:gd name="T47" fmla="*/ 380 h 990"/>
                      <a:gd name="T48" fmla="*/ 20 w 623"/>
                      <a:gd name="T49" fmla="*/ 430 h 990"/>
                      <a:gd name="T50" fmla="*/ 20 w 623"/>
                      <a:gd name="T51" fmla="*/ 470 h 990"/>
                      <a:gd name="T52" fmla="*/ 9 w 623"/>
                      <a:gd name="T53" fmla="*/ 508 h 990"/>
                      <a:gd name="T54" fmla="*/ 27 w 623"/>
                      <a:gd name="T55" fmla="*/ 558 h 990"/>
                      <a:gd name="T56" fmla="*/ 38 w 623"/>
                      <a:gd name="T57" fmla="*/ 585 h 990"/>
                      <a:gd name="T58" fmla="*/ 53 w 623"/>
                      <a:gd name="T59" fmla="*/ 629 h 990"/>
                      <a:gd name="T60" fmla="*/ 77 w 623"/>
                      <a:gd name="T61" fmla="*/ 684 h 990"/>
                      <a:gd name="T62" fmla="*/ 82 w 623"/>
                      <a:gd name="T63" fmla="*/ 726 h 990"/>
                      <a:gd name="T64" fmla="*/ 112 w 623"/>
                      <a:gd name="T65" fmla="*/ 820 h 990"/>
                      <a:gd name="T66" fmla="*/ 145 w 623"/>
                      <a:gd name="T67" fmla="*/ 845 h 990"/>
                      <a:gd name="T68" fmla="*/ 171 w 623"/>
                      <a:gd name="T69" fmla="*/ 855 h 990"/>
                      <a:gd name="T70" fmla="*/ 205 w 623"/>
                      <a:gd name="T71" fmla="*/ 912 h 990"/>
                      <a:gd name="T72" fmla="*/ 268 w 623"/>
                      <a:gd name="T73" fmla="*/ 950 h 990"/>
                      <a:gd name="T74" fmla="*/ 324 w 623"/>
                      <a:gd name="T75" fmla="*/ 977 h 990"/>
                      <a:gd name="T76" fmla="*/ 381 w 623"/>
                      <a:gd name="T77" fmla="*/ 965 h 990"/>
                      <a:gd name="T78" fmla="*/ 441 w 623"/>
                      <a:gd name="T79" fmla="*/ 970 h 990"/>
                      <a:gd name="T80" fmla="*/ 490 w 623"/>
                      <a:gd name="T81" fmla="*/ 933 h 990"/>
                      <a:gd name="T82" fmla="*/ 461 w 623"/>
                      <a:gd name="T83" fmla="*/ 899 h 990"/>
                      <a:gd name="T84" fmla="*/ 489 w 623"/>
                      <a:gd name="T85" fmla="*/ 835 h 990"/>
                      <a:gd name="T86" fmla="*/ 542 w 623"/>
                      <a:gd name="T87" fmla="*/ 815 h 990"/>
                      <a:gd name="T88" fmla="*/ 610 w 623"/>
                      <a:gd name="T89" fmla="*/ 809 h 990"/>
                      <a:gd name="T90" fmla="*/ 623 w 623"/>
                      <a:gd name="T91" fmla="*/ 751 h 990"/>
                      <a:gd name="T92" fmla="*/ 570 w 623"/>
                      <a:gd name="T93" fmla="*/ 702 h 990"/>
                      <a:gd name="T94" fmla="*/ 539 w 623"/>
                      <a:gd name="T95" fmla="*/ 671 h 990"/>
                      <a:gd name="T96" fmla="*/ 510 w 623"/>
                      <a:gd name="T97" fmla="*/ 669 h 990"/>
                      <a:gd name="T98" fmla="*/ 457 w 623"/>
                      <a:gd name="T99" fmla="*/ 673 h 990"/>
                      <a:gd name="T100" fmla="*/ 451 w 623"/>
                      <a:gd name="T101" fmla="*/ 658 h 990"/>
                      <a:gd name="T102" fmla="*/ 417 w 623"/>
                      <a:gd name="T103" fmla="*/ 679 h 990"/>
                      <a:gd name="T104" fmla="*/ 389 w 623"/>
                      <a:gd name="T105" fmla="*/ 641 h 990"/>
                      <a:gd name="T106" fmla="*/ 414 w 623"/>
                      <a:gd name="T107" fmla="*/ 639 h 990"/>
                      <a:gd name="T108" fmla="*/ 477 w 623"/>
                      <a:gd name="T109" fmla="*/ 618 h 990"/>
                      <a:gd name="T110" fmla="*/ 452 w 623"/>
                      <a:gd name="T111" fmla="*/ 608 h 990"/>
                      <a:gd name="T112" fmla="*/ 392 w 623"/>
                      <a:gd name="T113" fmla="*/ 606 h 990"/>
                      <a:gd name="T114" fmla="*/ 371 w 623"/>
                      <a:gd name="T115" fmla="*/ 561 h 990"/>
                      <a:gd name="T116" fmla="*/ 367 w 623"/>
                      <a:gd name="T117" fmla="*/ 503 h 990"/>
                      <a:gd name="T118" fmla="*/ 419 w 623"/>
                      <a:gd name="T119" fmla="*/ 498 h 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3" h="990">
                        <a:moveTo>
                          <a:pt x="424" y="481"/>
                        </a:moveTo>
                        <a:lnTo>
                          <a:pt x="424" y="468"/>
                        </a:lnTo>
                        <a:lnTo>
                          <a:pt x="424" y="458"/>
                        </a:lnTo>
                        <a:lnTo>
                          <a:pt x="412" y="452"/>
                        </a:lnTo>
                        <a:lnTo>
                          <a:pt x="407" y="438"/>
                        </a:lnTo>
                        <a:lnTo>
                          <a:pt x="399" y="428"/>
                        </a:lnTo>
                        <a:lnTo>
                          <a:pt x="401" y="422"/>
                        </a:lnTo>
                        <a:lnTo>
                          <a:pt x="409" y="423"/>
                        </a:lnTo>
                        <a:lnTo>
                          <a:pt x="409" y="410"/>
                        </a:lnTo>
                        <a:lnTo>
                          <a:pt x="412" y="402"/>
                        </a:lnTo>
                        <a:lnTo>
                          <a:pt x="421" y="403"/>
                        </a:lnTo>
                        <a:lnTo>
                          <a:pt x="411" y="388"/>
                        </a:lnTo>
                        <a:lnTo>
                          <a:pt x="411" y="377"/>
                        </a:lnTo>
                        <a:lnTo>
                          <a:pt x="422" y="370"/>
                        </a:lnTo>
                        <a:lnTo>
                          <a:pt x="416" y="362"/>
                        </a:lnTo>
                        <a:lnTo>
                          <a:pt x="432" y="357"/>
                        </a:lnTo>
                        <a:lnTo>
                          <a:pt x="479" y="362"/>
                        </a:lnTo>
                        <a:lnTo>
                          <a:pt x="472" y="355"/>
                        </a:lnTo>
                        <a:lnTo>
                          <a:pt x="479" y="345"/>
                        </a:lnTo>
                        <a:lnTo>
                          <a:pt x="475" y="337"/>
                        </a:lnTo>
                        <a:lnTo>
                          <a:pt x="477" y="325"/>
                        </a:lnTo>
                        <a:lnTo>
                          <a:pt x="484" y="315"/>
                        </a:lnTo>
                        <a:lnTo>
                          <a:pt x="492" y="314"/>
                        </a:lnTo>
                        <a:lnTo>
                          <a:pt x="487" y="304"/>
                        </a:lnTo>
                        <a:lnTo>
                          <a:pt x="477" y="300"/>
                        </a:lnTo>
                        <a:lnTo>
                          <a:pt x="470" y="304"/>
                        </a:lnTo>
                        <a:lnTo>
                          <a:pt x="457" y="305"/>
                        </a:lnTo>
                        <a:lnTo>
                          <a:pt x="457" y="295"/>
                        </a:lnTo>
                        <a:lnTo>
                          <a:pt x="466" y="295"/>
                        </a:lnTo>
                        <a:lnTo>
                          <a:pt x="470" y="295"/>
                        </a:lnTo>
                        <a:lnTo>
                          <a:pt x="466" y="294"/>
                        </a:lnTo>
                        <a:lnTo>
                          <a:pt x="467" y="287"/>
                        </a:lnTo>
                        <a:lnTo>
                          <a:pt x="482" y="280"/>
                        </a:lnTo>
                        <a:lnTo>
                          <a:pt x="479" y="270"/>
                        </a:lnTo>
                        <a:lnTo>
                          <a:pt x="475" y="264"/>
                        </a:lnTo>
                        <a:lnTo>
                          <a:pt x="464" y="259"/>
                        </a:lnTo>
                        <a:lnTo>
                          <a:pt x="474" y="257"/>
                        </a:lnTo>
                        <a:lnTo>
                          <a:pt x="475" y="252"/>
                        </a:lnTo>
                        <a:lnTo>
                          <a:pt x="467" y="246"/>
                        </a:lnTo>
                        <a:lnTo>
                          <a:pt x="475" y="239"/>
                        </a:lnTo>
                        <a:lnTo>
                          <a:pt x="472" y="224"/>
                        </a:lnTo>
                        <a:lnTo>
                          <a:pt x="474" y="216"/>
                        </a:lnTo>
                        <a:lnTo>
                          <a:pt x="475" y="209"/>
                        </a:lnTo>
                        <a:lnTo>
                          <a:pt x="470" y="202"/>
                        </a:lnTo>
                        <a:lnTo>
                          <a:pt x="477" y="199"/>
                        </a:lnTo>
                        <a:lnTo>
                          <a:pt x="472" y="192"/>
                        </a:lnTo>
                        <a:lnTo>
                          <a:pt x="461" y="189"/>
                        </a:lnTo>
                        <a:lnTo>
                          <a:pt x="461" y="176"/>
                        </a:lnTo>
                        <a:lnTo>
                          <a:pt x="474" y="169"/>
                        </a:lnTo>
                        <a:lnTo>
                          <a:pt x="479" y="154"/>
                        </a:lnTo>
                        <a:lnTo>
                          <a:pt x="490" y="148"/>
                        </a:lnTo>
                        <a:lnTo>
                          <a:pt x="507" y="138"/>
                        </a:lnTo>
                        <a:lnTo>
                          <a:pt x="499" y="134"/>
                        </a:lnTo>
                        <a:lnTo>
                          <a:pt x="494" y="128"/>
                        </a:lnTo>
                        <a:lnTo>
                          <a:pt x="485" y="131"/>
                        </a:lnTo>
                        <a:lnTo>
                          <a:pt x="479" y="131"/>
                        </a:lnTo>
                        <a:lnTo>
                          <a:pt x="472" y="128"/>
                        </a:lnTo>
                        <a:lnTo>
                          <a:pt x="472" y="119"/>
                        </a:lnTo>
                        <a:lnTo>
                          <a:pt x="477" y="108"/>
                        </a:lnTo>
                        <a:lnTo>
                          <a:pt x="489" y="106"/>
                        </a:lnTo>
                        <a:lnTo>
                          <a:pt x="484" y="98"/>
                        </a:lnTo>
                        <a:lnTo>
                          <a:pt x="484" y="93"/>
                        </a:lnTo>
                        <a:lnTo>
                          <a:pt x="494" y="86"/>
                        </a:lnTo>
                        <a:lnTo>
                          <a:pt x="505" y="71"/>
                        </a:lnTo>
                        <a:lnTo>
                          <a:pt x="500" y="64"/>
                        </a:lnTo>
                        <a:lnTo>
                          <a:pt x="492" y="68"/>
                        </a:lnTo>
                        <a:lnTo>
                          <a:pt x="484" y="64"/>
                        </a:lnTo>
                        <a:lnTo>
                          <a:pt x="497" y="46"/>
                        </a:lnTo>
                        <a:lnTo>
                          <a:pt x="492" y="33"/>
                        </a:lnTo>
                        <a:lnTo>
                          <a:pt x="495" y="25"/>
                        </a:lnTo>
                        <a:lnTo>
                          <a:pt x="490" y="18"/>
                        </a:lnTo>
                        <a:lnTo>
                          <a:pt x="482" y="25"/>
                        </a:lnTo>
                        <a:lnTo>
                          <a:pt x="472" y="18"/>
                        </a:lnTo>
                        <a:lnTo>
                          <a:pt x="461" y="20"/>
                        </a:lnTo>
                        <a:lnTo>
                          <a:pt x="470" y="10"/>
                        </a:lnTo>
                        <a:lnTo>
                          <a:pt x="469" y="1"/>
                        </a:lnTo>
                        <a:lnTo>
                          <a:pt x="454" y="0"/>
                        </a:lnTo>
                        <a:lnTo>
                          <a:pt x="442" y="8"/>
                        </a:lnTo>
                        <a:lnTo>
                          <a:pt x="434" y="16"/>
                        </a:lnTo>
                        <a:lnTo>
                          <a:pt x="446" y="23"/>
                        </a:lnTo>
                        <a:lnTo>
                          <a:pt x="437" y="30"/>
                        </a:lnTo>
                        <a:lnTo>
                          <a:pt x="431" y="30"/>
                        </a:lnTo>
                        <a:lnTo>
                          <a:pt x="429" y="45"/>
                        </a:lnTo>
                        <a:lnTo>
                          <a:pt x="421" y="40"/>
                        </a:lnTo>
                        <a:lnTo>
                          <a:pt x="411" y="38"/>
                        </a:lnTo>
                        <a:lnTo>
                          <a:pt x="406" y="35"/>
                        </a:lnTo>
                        <a:lnTo>
                          <a:pt x="401" y="45"/>
                        </a:lnTo>
                        <a:lnTo>
                          <a:pt x="409" y="48"/>
                        </a:lnTo>
                        <a:lnTo>
                          <a:pt x="409" y="58"/>
                        </a:lnTo>
                        <a:lnTo>
                          <a:pt x="399" y="61"/>
                        </a:lnTo>
                        <a:lnTo>
                          <a:pt x="401" y="76"/>
                        </a:lnTo>
                        <a:lnTo>
                          <a:pt x="392" y="76"/>
                        </a:lnTo>
                        <a:lnTo>
                          <a:pt x="386" y="84"/>
                        </a:lnTo>
                        <a:lnTo>
                          <a:pt x="377" y="74"/>
                        </a:lnTo>
                        <a:lnTo>
                          <a:pt x="377" y="84"/>
                        </a:lnTo>
                        <a:lnTo>
                          <a:pt x="384" y="88"/>
                        </a:lnTo>
                        <a:lnTo>
                          <a:pt x="372" y="111"/>
                        </a:lnTo>
                        <a:lnTo>
                          <a:pt x="361" y="98"/>
                        </a:lnTo>
                        <a:lnTo>
                          <a:pt x="353" y="104"/>
                        </a:lnTo>
                        <a:lnTo>
                          <a:pt x="353" y="96"/>
                        </a:lnTo>
                        <a:lnTo>
                          <a:pt x="346" y="99"/>
                        </a:lnTo>
                        <a:lnTo>
                          <a:pt x="339" y="106"/>
                        </a:lnTo>
                        <a:lnTo>
                          <a:pt x="341" y="113"/>
                        </a:lnTo>
                        <a:lnTo>
                          <a:pt x="333" y="119"/>
                        </a:lnTo>
                        <a:lnTo>
                          <a:pt x="318" y="118"/>
                        </a:lnTo>
                        <a:lnTo>
                          <a:pt x="319" y="128"/>
                        </a:lnTo>
                        <a:lnTo>
                          <a:pt x="328" y="126"/>
                        </a:lnTo>
                        <a:lnTo>
                          <a:pt x="316" y="136"/>
                        </a:lnTo>
                        <a:lnTo>
                          <a:pt x="318" y="144"/>
                        </a:lnTo>
                        <a:lnTo>
                          <a:pt x="326" y="143"/>
                        </a:lnTo>
                        <a:lnTo>
                          <a:pt x="328" y="156"/>
                        </a:lnTo>
                        <a:lnTo>
                          <a:pt x="318" y="154"/>
                        </a:lnTo>
                        <a:lnTo>
                          <a:pt x="311" y="154"/>
                        </a:lnTo>
                        <a:lnTo>
                          <a:pt x="308" y="149"/>
                        </a:lnTo>
                        <a:lnTo>
                          <a:pt x="301" y="149"/>
                        </a:lnTo>
                        <a:lnTo>
                          <a:pt x="298" y="157"/>
                        </a:lnTo>
                        <a:lnTo>
                          <a:pt x="289" y="151"/>
                        </a:lnTo>
                        <a:lnTo>
                          <a:pt x="284" y="156"/>
                        </a:lnTo>
                        <a:lnTo>
                          <a:pt x="281" y="151"/>
                        </a:lnTo>
                        <a:lnTo>
                          <a:pt x="276" y="151"/>
                        </a:lnTo>
                        <a:lnTo>
                          <a:pt x="268" y="157"/>
                        </a:lnTo>
                        <a:lnTo>
                          <a:pt x="258" y="149"/>
                        </a:lnTo>
                        <a:lnTo>
                          <a:pt x="248" y="146"/>
                        </a:lnTo>
                        <a:lnTo>
                          <a:pt x="235" y="138"/>
                        </a:lnTo>
                        <a:lnTo>
                          <a:pt x="230" y="133"/>
                        </a:lnTo>
                        <a:lnTo>
                          <a:pt x="223" y="138"/>
                        </a:lnTo>
                        <a:lnTo>
                          <a:pt x="218" y="153"/>
                        </a:lnTo>
                        <a:lnTo>
                          <a:pt x="228" y="171"/>
                        </a:lnTo>
                        <a:lnTo>
                          <a:pt x="220" y="174"/>
                        </a:lnTo>
                        <a:lnTo>
                          <a:pt x="223" y="186"/>
                        </a:lnTo>
                        <a:lnTo>
                          <a:pt x="230" y="189"/>
                        </a:lnTo>
                        <a:lnTo>
                          <a:pt x="223" y="197"/>
                        </a:lnTo>
                        <a:lnTo>
                          <a:pt x="226" y="202"/>
                        </a:lnTo>
                        <a:lnTo>
                          <a:pt x="220" y="207"/>
                        </a:lnTo>
                        <a:lnTo>
                          <a:pt x="215" y="199"/>
                        </a:lnTo>
                        <a:lnTo>
                          <a:pt x="211" y="204"/>
                        </a:lnTo>
                        <a:lnTo>
                          <a:pt x="201" y="209"/>
                        </a:lnTo>
                        <a:lnTo>
                          <a:pt x="195" y="202"/>
                        </a:lnTo>
                        <a:lnTo>
                          <a:pt x="190" y="206"/>
                        </a:lnTo>
                        <a:lnTo>
                          <a:pt x="180" y="206"/>
                        </a:lnTo>
                        <a:lnTo>
                          <a:pt x="170" y="206"/>
                        </a:lnTo>
                        <a:lnTo>
                          <a:pt x="166" y="211"/>
                        </a:lnTo>
                        <a:lnTo>
                          <a:pt x="176" y="216"/>
                        </a:lnTo>
                        <a:lnTo>
                          <a:pt x="171" y="221"/>
                        </a:lnTo>
                        <a:lnTo>
                          <a:pt x="165" y="221"/>
                        </a:lnTo>
                        <a:lnTo>
                          <a:pt x="165" y="226"/>
                        </a:lnTo>
                        <a:lnTo>
                          <a:pt x="156" y="216"/>
                        </a:lnTo>
                        <a:lnTo>
                          <a:pt x="148" y="214"/>
                        </a:lnTo>
                        <a:lnTo>
                          <a:pt x="145" y="204"/>
                        </a:lnTo>
                        <a:lnTo>
                          <a:pt x="138" y="199"/>
                        </a:lnTo>
                        <a:lnTo>
                          <a:pt x="133" y="204"/>
                        </a:lnTo>
                        <a:lnTo>
                          <a:pt x="125" y="204"/>
                        </a:lnTo>
                        <a:lnTo>
                          <a:pt x="127" y="214"/>
                        </a:lnTo>
                        <a:lnTo>
                          <a:pt x="118" y="221"/>
                        </a:lnTo>
                        <a:lnTo>
                          <a:pt x="120" y="231"/>
                        </a:lnTo>
                        <a:lnTo>
                          <a:pt x="113" y="234"/>
                        </a:lnTo>
                        <a:lnTo>
                          <a:pt x="107" y="231"/>
                        </a:lnTo>
                        <a:lnTo>
                          <a:pt x="88" y="234"/>
                        </a:lnTo>
                        <a:lnTo>
                          <a:pt x="87" y="242"/>
                        </a:lnTo>
                        <a:lnTo>
                          <a:pt x="88" y="254"/>
                        </a:lnTo>
                        <a:lnTo>
                          <a:pt x="78" y="257"/>
                        </a:lnTo>
                        <a:lnTo>
                          <a:pt x="72" y="261"/>
                        </a:lnTo>
                        <a:lnTo>
                          <a:pt x="67" y="257"/>
                        </a:lnTo>
                        <a:lnTo>
                          <a:pt x="68" y="246"/>
                        </a:lnTo>
                        <a:lnTo>
                          <a:pt x="63" y="246"/>
                        </a:lnTo>
                        <a:lnTo>
                          <a:pt x="53" y="244"/>
                        </a:lnTo>
                        <a:lnTo>
                          <a:pt x="52" y="254"/>
                        </a:lnTo>
                        <a:lnTo>
                          <a:pt x="45" y="259"/>
                        </a:lnTo>
                        <a:lnTo>
                          <a:pt x="37" y="259"/>
                        </a:lnTo>
                        <a:lnTo>
                          <a:pt x="35" y="264"/>
                        </a:lnTo>
                        <a:lnTo>
                          <a:pt x="25" y="257"/>
                        </a:lnTo>
                        <a:lnTo>
                          <a:pt x="25" y="267"/>
                        </a:lnTo>
                        <a:lnTo>
                          <a:pt x="35" y="269"/>
                        </a:lnTo>
                        <a:lnTo>
                          <a:pt x="33" y="279"/>
                        </a:lnTo>
                        <a:lnTo>
                          <a:pt x="38" y="284"/>
                        </a:lnTo>
                        <a:lnTo>
                          <a:pt x="32" y="289"/>
                        </a:lnTo>
                        <a:lnTo>
                          <a:pt x="35" y="302"/>
                        </a:lnTo>
                        <a:lnTo>
                          <a:pt x="38" y="297"/>
                        </a:lnTo>
                        <a:lnTo>
                          <a:pt x="52" y="304"/>
                        </a:lnTo>
                        <a:lnTo>
                          <a:pt x="58" y="314"/>
                        </a:lnTo>
                        <a:lnTo>
                          <a:pt x="57" y="329"/>
                        </a:lnTo>
                        <a:lnTo>
                          <a:pt x="52" y="329"/>
                        </a:lnTo>
                        <a:lnTo>
                          <a:pt x="43" y="324"/>
                        </a:lnTo>
                        <a:lnTo>
                          <a:pt x="38" y="335"/>
                        </a:lnTo>
                        <a:lnTo>
                          <a:pt x="43" y="332"/>
                        </a:lnTo>
                        <a:lnTo>
                          <a:pt x="50" y="335"/>
                        </a:lnTo>
                        <a:lnTo>
                          <a:pt x="42" y="352"/>
                        </a:lnTo>
                        <a:lnTo>
                          <a:pt x="37" y="370"/>
                        </a:lnTo>
                        <a:lnTo>
                          <a:pt x="32" y="380"/>
                        </a:lnTo>
                        <a:lnTo>
                          <a:pt x="15" y="377"/>
                        </a:lnTo>
                        <a:lnTo>
                          <a:pt x="10" y="370"/>
                        </a:lnTo>
                        <a:lnTo>
                          <a:pt x="2" y="380"/>
                        </a:lnTo>
                        <a:lnTo>
                          <a:pt x="0" y="393"/>
                        </a:lnTo>
                        <a:lnTo>
                          <a:pt x="10" y="392"/>
                        </a:lnTo>
                        <a:lnTo>
                          <a:pt x="18" y="388"/>
                        </a:lnTo>
                        <a:lnTo>
                          <a:pt x="23" y="393"/>
                        </a:lnTo>
                        <a:lnTo>
                          <a:pt x="20" y="402"/>
                        </a:lnTo>
                        <a:lnTo>
                          <a:pt x="18" y="413"/>
                        </a:lnTo>
                        <a:lnTo>
                          <a:pt x="20" y="422"/>
                        </a:lnTo>
                        <a:lnTo>
                          <a:pt x="20" y="430"/>
                        </a:lnTo>
                        <a:lnTo>
                          <a:pt x="27" y="432"/>
                        </a:lnTo>
                        <a:lnTo>
                          <a:pt x="28" y="440"/>
                        </a:lnTo>
                        <a:lnTo>
                          <a:pt x="27" y="445"/>
                        </a:lnTo>
                        <a:lnTo>
                          <a:pt x="20" y="445"/>
                        </a:lnTo>
                        <a:lnTo>
                          <a:pt x="15" y="450"/>
                        </a:lnTo>
                        <a:lnTo>
                          <a:pt x="25" y="457"/>
                        </a:lnTo>
                        <a:lnTo>
                          <a:pt x="25" y="465"/>
                        </a:lnTo>
                        <a:lnTo>
                          <a:pt x="20" y="470"/>
                        </a:lnTo>
                        <a:lnTo>
                          <a:pt x="20" y="481"/>
                        </a:lnTo>
                        <a:lnTo>
                          <a:pt x="13" y="493"/>
                        </a:lnTo>
                        <a:lnTo>
                          <a:pt x="7" y="495"/>
                        </a:lnTo>
                        <a:lnTo>
                          <a:pt x="0" y="498"/>
                        </a:lnTo>
                        <a:lnTo>
                          <a:pt x="4" y="503"/>
                        </a:lnTo>
                        <a:lnTo>
                          <a:pt x="13" y="501"/>
                        </a:lnTo>
                        <a:lnTo>
                          <a:pt x="15" y="505"/>
                        </a:lnTo>
                        <a:lnTo>
                          <a:pt x="9" y="508"/>
                        </a:lnTo>
                        <a:lnTo>
                          <a:pt x="2" y="511"/>
                        </a:lnTo>
                        <a:lnTo>
                          <a:pt x="5" y="516"/>
                        </a:lnTo>
                        <a:lnTo>
                          <a:pt x="12" y="521"/>
                        </a:lnTo>
                        <a:lnTo>
                          <a:pt x="18" y="523"/>
                        </a:lnTo>
                        <a:lnTo>
                          <a:pt x="22" y="531"/>
                        </a:lnTo>
                        <a:lnTo>
                          <a:pt x="22" y="541"/>
                        </a:lnTo>
                        <a:lnTo>
                          <a:pt x="23" y="553"/>
                        </a:lnTo>
                        <a:lnTo>
                          <a:pt x="27" y="558"/>
                        </a:lnTo>
                        <a:lnTo>
                          <a:pt x="35" y="555"/>
                        </a:lnTo>
                        <a:lnTo>
                          <a:pt x="40" y="560"/>
                        </a:lnTo>
                        <a:lnTo>
                          <a:pt x="43" y="566"/>
                        </a:lnTo>
                        <a:lnTo>
                          <a:pt x="38" y="568"/>
                        </a:lnTo>
                        <a:lnTo>
                          <a:pt x="35" y="561"/>
                        </a:lnTo>
                        <a:lnTo>
                          <a:pt x="35" y="568"/>
                        </a:lnTo>
                        <a:lnTo>
                          <a:pt x="37" y="575"/>
                        </a:lnTo>
                        <a:lnTo>
                          <a:pt x="38" y="585"/>
                        </a:lnTo>
                        <a:lnTo>
                          <a:pt x="38" y="591"/>
                        </a:lnTo>
                        <a:lnTo>
                          <a:pt x="52" y="596"/>
                        </a:lnTo>
                        <a:lnTo>
                          <a:pt x="42" y="596"/>
                        </a:lnTo>
                        <a:lnTo>
                          <a:pt x="43" y="604"/>
                        </a:lnTo>
                        <a:lnTo>
                          <a:pt x="45" y="611"/>
                        </a:lnTo>
                        <a:lnTo>
                          <a:pt x="47" y="618"/>
                        </a:lnTo>
                        <a:lnTo>
                          <a:pt x="48" y="626"/>
                        </a:lnTo>
                        <a:lnTo>
                          <a:pt x="53" y="629"/>
                        </a:lnTo>
                        <a:lnTo>
                          <a:pt x="50" y="631"/>
                        </a:lnTo>
                        <a:lnTo>
                          <a:pt x="60" y="644"/>
                        </a:lnTo>
                        <a:lnTo>
                          <a:pt x="65" y="658"/>
                        </a:lnTo>
                        <a:lnTo>
                          <a:pt x="67" y="673"/>
                        </a:lnTo>
                        <a:lnTo>
                          <a:pt x="67" y="679"/>
                        </a:lnTo>
                        <a:lnTo>
                          <a:pt x="70" y="684"/>
                        </a:lnTo>
                        <a:lnTo>
                          <a:pt x="77" y="679"/>
                        </a:lnTo>
                        <a:lnTo>
                          <a:pt x="77" y="684"/>
                        </a:lnTo>
                        <a:lnTo>
                          <a:pt x="82" y="691"/>
                        </a:lnTo>
                        <a:lnTo>
                          <a:pt x="77" y="693"/>
                        </a:lnTo>
                        <a:lnTo>
                          <a:pt x="72" y="691"/>
                        </a:lnTo>
                        <a:lnTo>
                          <a:pt x="70" y="699"/>
                        </a:lnTo>
                        <a:lnTo>
                          <a:pt x="72" y="711"/>
                        </a:lnTo>
                        <a:lnTo>
                          <a:pt x="73" y="716"/>
                        </a:lnTo>
                        <a:lnTo>
                          <a:pt x="83" y="714"/>
                        </a:lnTo>
                        <a:lnTo>
                          <a:pt x="82" y="726"/>
                        </a:lnTo>
                        <a:lnTo>
                          <a:pt x="77" y="722"/>
                        </a:lnTo>
                        <a:lnTo>
                          <a:pt x="73" y="722"/>
                        </a:lnTo>
                        <a:lnTo>
                          <a:pt x="73" y="736"/>
                        </a:lnTo>
                        <a:lnTo>
                          <a:pt x="80" y="762"/>
                        </a:lnTo>
                        <a:lnTo>
                          <a:pt x="87" y="792"/>
                        </a:lnTo>
                        <a:lnTo>
                          <a:pt x="97" y="825"/>
                        </a:lnTo>
                        <a:lnTo>
                          <a:pt x="107" y="822"/>
                        </a:lnTo>
                        <a:lnTo>
                          <a:pt x="112" y="820"/>
                        </a:lnTo>
                        <a:lnTo>
                          <a:pt x="118" y="822"/>
                        </a:lnTo>
                        <a:lnTo>
                          <a:pt x="120" y="829"/>
                        </a:lnTo>
                        <a:lnTo>
                          <a:pt x="123" y="832"/>
                        </a:lnTo>
                        <a:lnTo>
                          <a:pt x="127" y="827"/>
                        </a:lnTo>
                        <a:lnTo>
                          <a:pt x="135" y="827"/>
                        </a:lnTo>
                        <a:lnTo>
                          <a:pt x="133" y="835"/>
                        </a:lnTo>
                        <a:lnTo>
                          <a:pt x="141" y="839"/>
                        </a:lnTo>
                        <a:lnTo>
                          <a:pt x="145" y="845"/>
                        </a:lnTo>
                        <a:lnTo>
                          <a:pt x="150" y="840"/>
                        </a:lnTo>
                        <a:lnTo>
                          <a:pt x="160" y="842"/>
                        </a:lnTo>
                        <a:lnTo>
                          <a:pt x="155" y="849"/>
                        </a:lnTo>
                        <a:lnTo>
                          <a:pt x="150" y="847"/>
                        </a:lnTo>
                        <a:lnTo>
                          <a:pt x="150" y="850"/>
                        </a:lnTo>
                        <a:lnTo>
                          <a:pt x="160" y="857"/>
                        </a:lnTo>
                        <a:lnTo>
                          <a:pt x="165" y="859"/>
                        </a:lnTo>
                        <a:lnTo>
                          <a:pt x="171" y="855"/>
                        </a:lnTo>
                        <a:lnTo>
                          <a:pt x="173" y="860"/>
                        </a:lnTo>
                        <a:lnTo>
                          <a:pt x="166" y="865"/>
                        </a:lnTo>
                        <a:lnTo>
                          <a:pt x="163" y="870"/>
                        </a:lnTo>
                        <a:lnTo>
                          <a:pt x="171" y="874"/>
                        </a:lnTo>
                        <a:lnTo>
                          <a:pt x="170" y="885"/>
                        </a:lnTo>
                        <a:lnTo>
                          <a:pt x="181" y="887"/>
                        </a:lnTo>
                        <a:lnTo>
                          <a:pt x="188" y="904"/>
                        </a:lnTo>
                        <a:lnTo>
                          <a:pt x="205" y="912"/>
                        </a:lnTo>
                        <a:lnTo>
                          <a:pt x="218" y="918"/>
                        </a:lnTo>
                        <a:lnTo>
                          <a:pt x="225" y="920"/>
                        </a:lnTo>
                        <a:lnTo>
                          <a:pt x="228" y="937"/>
                        </a:lnTo>
                        <a:lnTo>
                          <a:pt x="241" y="938"/>
                        </a:lnTo>
                        <a:lnTo>
                          <a:pt x="246" y="942"/>
                        </a:lnTo>
                        <a:lnTo>
                          <a:pt x="256" y="942"/>
                        </a:lnTo>
                        <a:lnTo>
                          <a:pt x="266" y="937"/>
                        </a:lnTo>
                        <a:lnTo>
                          <a:pt x="268" y="950"/>
                        </a:lnTo>
                        <a:lnTo>
                          <a:pt x="278" y="948"/>
                        </a:lnTo>
                        <a:lnTo>
                          <a:pt x="281" y="958"/>
                        </a:lnTo>
                        <a:lnTo>
                          <a:pt x="291" y="963"/>
                        </a:lnTo>
                        <a:lnTo>
                          <a:pt x="303" y="970"/>
                        </a:lnTo>
                        <a:lnTo>
                          <a:pt x="309" y="975"/>
                        </a:lnTo>
                        <a:lnTo>
                          <a:pt x="309" y="987"/>
                        </a:lnTo>
                        <a:lnTo>
                          <a:pt x="316" y="982"/>
                        </a:lnTo>
                        <a:lnTo>
                          <a:pt x="324" y="977"/>
                        </a:lnTo>
                        <a:lnTo>
                          <a:pt x="329" y="985"/>
                        </a:lnTo>
                        <a:lnTo>
                          <a:pt x="331" y="988"/>
                        </a:lnTo>
                        <a:lnTo>
                          <a:pt x="339" y="990"/>
                        </a:lnTo>
                        <a:lnTo>
                          <a:pt x="349" y="988"/>
                        </a:lnTo>
                        <a:lnTo>
                          <a:pt x="364" y="988"/>
                        </a:lnTo>
                        <a:lnTo>
                          <a:pt x="372" y="990"/>
                        </a:lnTo>
                        <a:lnTo>
                          <a:pt x="374" y="975"/>
                        </a:lnTo>
                        <a:lnTo>
                          <a:pt x="381" y="965"/>
                        </a:lnTo>
                        <a:lnTo>
                          <a:pt x="391" y="962"/>
                        </a:lnTo>
                        <a:lnTo>
                          <a:pt x="397" y="960"/>
                        </a:lnTo>
                        <a:lnTo>
                          <a:pt x="401" y="968"/>
                        </a:lnTo>
                        <a:lnTo>
                          <a:pt x="409" y="973"/>
                        </a:lnTo>
                        <a:lnTo>
                          <a:pt x="411" y="967"/>
                        </a:lnTo>
                        <a:lnTo>
                          <a:pt x="426" y="963"/>
                        </a:lnTo>
                        <a:lnTo>
                          <a:pt x="439" y="963"/>
                        </a:lnTo>
                        <a:lnTo>
                          <a:pt x="441" y="970"/>
                        </a:lnTo>
                        <a:lnTo>
                          <a:pt x="452" y="968"/>
                        </a:lnTo>
                        <a:lnTo>
                          <a:pt x="459" y="968"/>
                        </a:lnTo>
                        <a:lnTo>
                          <a:pt x="459" y="958"/>
                        </a:lnTo>
                        <a:lnTo>
                          <a:pt x="469" y="945"/>
                        </a:lnTo>
                        <a:lnTo>
                          <a:pt x="479" y="945"/>
                        </a:lnTo>
                        <a:lnTo>
                          <a:pt x="485" y="943"/>
                        </a:lnTo>
                        <a:lnTo>
                          <a:pt x="487" y="938"/>
                        </a:lnTo>
                        <a:lnTo>
                          <a:pt x="490" y="933"/>
                        </a:lnTo>
                        <a:lnTo>
                          <a:pt x="497" y="932"/>
                        </a:lnTo>
                        <a:lnTo>
                          <a:pt x="504" y="923"/>
                        </a:lnTo>
                        <a:lnTo>
                          <a:pt x="504" y="917"/>
                        </a:lnTo>
                        <a:lnTo>
                          <a:pt x="497" y="910"/>
                        </a:lnTo>
                        <a:lnTo>
                          <a:pt x="480" y="907"/>
                        </a:lnTo>
                        <a:lnTo>
                          <a:pt x="470" y="907"/>
                        </a:lnTo>
                        <a:lnTo>
                          <a:pt x="462" y="907"/>
                        </a:lnTo>
                        <a:lnTo>
                          <a:pt x="461" y="899"/>
                        </a:lnTo>
                        <a:lnTo>
                          <a:pt x="466" y="894"/>
                        </a:lnTo>
                        <a:lnTo>
                          <a:pt x="479" y="889"/>
                        </a:lnTo>
                        <a:lnTo>
                          <a:pt x="484" y="879"/>
                        </a:lnTo>
                        <a:lnTo>
                          <a:pt x="487" y="865"/>
                        </a:lnTo>
                        <a:lnTo>
                          <a:pt x="479" y="862"/>
                        </a:lnTo>
                        <a:lnTo>
                          <a:pt x="477" y="850"/>
                        </a:lnTo>
                        <a:lnTo>
                          <a:pt x="477" y="840"/>
                        </a:lnTo>
                        <a:lnTo>
                          <a:pt x="489" y="835"/>
                        </a:lnTo>
                        <a:lnTo>
                          <a:pt x="499" y="839"/>
                        </a:lnTo>
                        <a:lnTo>
                          <a:pt x="509" y="824"/>
                        </a:lnTo>
                        <a:lnTo>
                          <a:pt x="509" y="810"/>
                        </a:lnTo>
                        <a:lnTo>
                          <a:pt x="525" y="804"/>
                        </a:lnTo>
                        <a:lnTo>
                          <a:pt x="535" y="809"/>
                        </a:lnTo>
                        <a:lnTo>
                          <a:pt x="537" y="819"/>
                        </a:lnTo>
                        <a:lnTo>
                          <a:pt x="540" y="819"/>
                        </a:lnTo>
                        <a:lnTo>
                          <a:pt x="542" y="815"/>
                        </a:lnTo>
                        <a:lnTo>
                          <a:pt x="547" y="809"/>
                        </a:lnTo>
                        <a:lnTo>
                          <a:pt x="562" y="819"/>
                        </a:lnTo>
                        <a:lnTo>
                          <a:pt x="575" y="824"/>
                        </a:lnTo>
                        <a:lnTo>
                          <a:pt x="575" y="819"/>
                        </a:lnTo>
                        <a:lnTo>
                          <a:pt x="587" y="805"/>
                        </a:lnTo>
                        <a:lnTo>
                          <a:pt x="590" y="799"/>
                        </a:lnTo>
                        <a:lnTo>
                          <a:pt x="597" y="807"/>
                        </a:lnTo>
                        <a:lnTo>
                          <a:pt x="610" y="809"/>
                        </a:lnTo>
                        <a:lnTo>
                          <a:pt x="598" y="799"/>
                        </a:lnTo>
                        <a:lnTo>
                          <a:pt x="607" y="797"/>
                        </a:lnTo>
                        <a:lnTo>
                          <a:pt x="608" y="786"/>
                        </a:lnTo>
                        <a:lnTo>
                          <a:pt x="618" y="777"/>
                        </a:lnTo>
                        <a:lnTo>
                          <a:pt x="620" y="771"/>
                        </a:lnTo>
                        <a:lnTo>
                          <a:pt x="618" y="766"/>
                        </a:lnTo>
                        <a:lnTo>
                          <a:pt x="623" y="759"/>
                        </a:lnTo>
                        <a:lnTo>
                          <a:pt x="623" y="751"/>
                        </a:lnTo>
                        <a:lnTo>
                          <a:pt x="613" y="754"/>
                        </a:lnTo>
                        <a:lnTo>
                          <a:pt x="610" y="746"/>
                        </a:lnTo>
                        <a:lnTo>
                          <a:pt x="595" y="746"/>
                        </a:lnTo>
                        <a:lnTo>
                          <a:pt x="595" y="722"/>
                        </a:lnTo>
                        <a:lnTo>
                          <a:pt x="597" y="709"/>
                        </a:lnTo>
                        <a:lnTo>
                          <a:pt x="584" y="706"/>
                        </a:lnTo>
                        <a:lnTo>
                          <a:pt x="570" y="712"/>
                        </a:lnTo>
                        <a:lnTo>
                          <a:pt x="570" y="702"/>
                        </a:lnTo>
                        <a:lnTo>
                          <a:pt x="565" y="699"/>
                        </a:lnTo>
                        <a:lnTo>
                          <a:pt x="549" y="693"/>
                        </a:lnTo>
                        <a:lnTo>
                          <a:pt x="555" y="691"/>
                        </a:lnTo>
                        <a:lnTo>
                          <a:pt x="555" y="684"/>
                        </a:lnTo>
                        <a:lnTo>
                          <a:pt x="562" y="673"/>
                        </a:lnTo>
                        <a:lnTo>
                          <a:pt x="554" y="664"/>
                        </a:lnTo>
                        <a:lnTo>
                          <a:pt x="545" y="664"/>
                        </a:lnTo>
                        <a:lnTo>
                          <a:pt x="539" y="671"/>
                        </a:lnTo>
                        <a:lnTo>
                          <a:pt x="529" y="673"/>
                        </a:lnTo>
                        <a:lnTo>
                          <a:pt x="534" y="663"/>
                        </a:lnTo>
                        <a:lnTo>
                          <a:pt x="535" y="651"/>
                        </a:lnTo>
                        <a:lnTo>
                          <a:pt x="525" y="658"/>
                        </a:lnTo>
                        <a:lnTo>
                          <a:pt x="519" y="653"/>
                        </a:lnTo>
                        <a:lnTo>
                          <a:pt x="512" y="661"/>
                        </a:lnTo>
                        <a:lnTo>
                          <a:pt x="517" y="663"/>
                        </a:lnTo>
                        <a:lnTo>
                          <a:pt x="510" y="669"/>
                        </a:lnTo>
                        <a:lnTo>
                          <a:pt x="490" y="678"/>
                        </a:lnTo>
                        <a:lnTo>
                          <a:pt x="489" y="684"/>
                        </a:lnTo>
                        <a:lnTo>
                          <a:pt x="477" y="688"/>
                        </a:lnTo>
                        <a:lnTo>
                          <a:pt x="472" y="681"/>
                        </a:lnTo>
                        <a:lnTo>
                          <a:pt x="469" y="689"/>
                        </a:lnTo>
                        <a:lnTo>
                          <a:pt x="457" y="688"/>
                        </a:lnTo>
                        <a:lnTo>
                          <a:pt x="466" y="678"/>
                        </a:lnTo>
                        <a:lnTo>
                          <a:pt x="457" y="673"/>
                        </a:lnTo>
                        <a:lnTo>
                          <a:pt x="457" y="668"/>
                        </a:lnTo>
                        <a:lnTo>
                          <a:pt x="452" y="669"/>
                        </a:lnTo>
                        <a:lnTo>
                          <a:pt x="452" y="661"/>
                        </a:lnTo>
                        <a:lnTo>
                          <a:pt x="461" y="658"/>
                        </a:lnTo>
                        <a:lnTo>
                          <a:pt x="462" y="649"/>
                        </a:lnTo>
                        <a:lnTo>
                          <a:pt x="451" y="644"/>
                        </a:lnTo>
                        <a:lnTo>
                          <a:pt x="449" y="653"/>
                        </a:lnTo>
                        <a:lnTo>
                          <a:pt x="451" y="658"/>
                        </a:lnTo>
                        <a:lnTo>
                          <a:pt x="446" y="666"/>
                        </a:lnTo>
                        <a:lnTo>
                          <a:pt x="437" y="669"/>
                        </a:lnTo>
                        <a:lnTo>
                          <a:pt x="431" y="659"/>
                        </a:lnTo>
                        <a:lnTo>
                          <a:pt x="429" y="666"/>
                        </a:lnTo>
                        <a:lnTo>
                          <a:pt x="421" y="654"/>
                        </a:lnTo>
                        <a:lnTo>
                          <a:pt x="419" y="666"/>
                        </a:lnTo>
                        <a:lnTo>
                          <a:pt x="424" y="676"/>
                        </a:lnTo>
                        <a:lnTo>
                          <a:pt x="417" y="679"/>
                        </a:lnTo>
                        <a:lnTo>
                          <a:pt x="412" y="678"/>
                        </a:lnTo>
                        <a:lnTo>
                          <a:pt x="409" y="684"/>
                        </a:lnTo>
                        <a:lnTo>
                          <a:pt x="404" y="679"/>
                        </a:lnTo>
                        <a:lnTo>
                          <a:pt x="396" y="683"/>
                        </a:lnTo>
                        <a:lnTo>
                          <a:pt x="394" y="671"/>
                        </a:lnTo>
                        <a:lnTo>
                          <a:pt x="406" y="659"/>
                        </a:lnTo>
                        <a:lnTo>
                          <a:pt x="399" y="643"/>
                        </a:lnTo>
                        <a:lnTo>
                          <a:pt x="389" y="641"/>
                        </a:lnTo>
                        <a:lnTo>
                          <a:pt x="392" y="633"/>
                        </a:lnTo>
                        <a:lnTo>
                          <a:pt x="389" y="626"/>
                        </a:lnTo>
                        <a:lnTo>
                          <a:pt x="381" y="621"/>
                        </a:lnTo>
                        <a:lnTo>
                          <a:pt x="391" y="616"/>
                        </a:lnTo>
                        <a:lnTo>
                          <a:pt x="401" y="616"/>
                        </a:lnTo>
                        <a:lnTo>
                          <a:pt x="404" y="626"/>
                        </a:lnTo>
                        <a:lnTo>
                          <a:pt x="404" y="638"/>
                        </a:lnTo>
                        <a:lnTo>
                          <a:pt x="414" y="639"/>
                        </a:lnTo>
                        <a:lnTo>
                          <a:pt x="424" y="644"/>
                        </a:lnTo>
                        <a:lnTo>
                          <a:pt x="441" y="639"/>
                        </a:lnTo>
                        <a:lnTo>
                          <a:pt x="446" y="643"/>
                        </a:lnTo>
                        <a:lnTo>
                          <a:pt x="456" y="631"/>
                        </a:lnTo>
                        <a:lnTo>
                          <a:pt x="451" y="629"/>
                        </a:lnTo>
                        <a:lnTo>
                          <a:pt x="461" y="618"/>
                        </a:lnTo>
                        <a:lnTo>
                          <a:pt x="472" y="624"/>
                        </a:lnTo>
                        <a:lnTo>
                          <a:pt x="477" y="618"/>
                        </a:lnTo>
                        <a:lnTo>
                          <a:pt x="470" y="609"/>
                        </a:lnTo>
                        <a:lnTo>
                          <a:pt x="462" y="596"/>
                        </a:lnTo>
                        <a:lnTo>
                          <a:pt x="456" y="594"/>
                        </a:lnTo>
                        <a:lnTo>
                          <a:pt x="452" y="601"/>
                        </a:lnTo>
                        <a:lnTo>
                          <a:pt x="457" y="608"/>
                        </a:lnTo>
                        <a:lnTo>
                          <a:pt x="461" y="616"/>
                        </a:lnTo>
                        <a:lnTo>
                          <a:pt x="451" y="616"/>
                        </a:lnTo>
                        <a:lnTo>
                          <a:pt x="452" y="608"/>
                        </a:lnTo>
                        <a:lnTo>
                          <a:pt x="442" y="604"/>
                        </a:lnTo>
                        <a:lnTo>
                          <a:pt x="441" y="596"/>
                        </a:lnTo>
                        <a:lnTo>
                          <a:pt x="432" y="596"/>
                        </a:lnTo>
                        <a:lnTo>
                          <a:pt x="424" y="593"/>
                        </a:lnTo>
                        <a:lnTo>
                          <a:pt x="419" y="598"/>
                        </a:lnTo>
                        <a:lnTo>
                          <a:pt x="419" y="604"/>
                        </a:lnTo>
                        <a:lnTo>
                          <a:pt x="416" y="611"/>
                        </a:lnTo>
                        <a:lnTo>
                          <a:pt x="392" y="606"/>
                        </a:lnTo>
                        <a:lnTo>
                          <a:pt x="392" y="599"/>
                        </a:lnTo>
                        <a:lnTo>
                          <a:pt x="387" y="598"/>
                        </a:lnTo>
                        <a:lnTo>
                          <a:pt x="384" y="589"/>
                        </a:lnTo>
                        <a:lnTo>
                          <a:pt x="396" y="581"/>
                        </a:lnTo>
                        <a:lnTo>
                          <a:pt x="399" y="573"/>
                        </a:lnTo>
                        <a:lnTo>
                          <a:pt x="392" y="568"/>
                        </a:lnTo>
                        <a:lnTo>
                          <a:pt x="384" y="575"/>
                        </a:lnTo>
                        <a:lnTo>
                          <a:pt x="371" y="561"/>
                        </a:lnTo>
                        <a:lnTo>
                          <a:pt x="369" y="550"/>
                        </a:lnTo>
                        <a:lnTo>
                          <a:pt x="372" y="541"/>
                        </a:lnTo>
                        <a:lnTo>
                          <a:pt x="374" y="530"/>
                        </a:lnTo>
                        <a:lnTo>
                          <a:pt x="382" y="530"/>
                        </a:lnTo>
                        <a:lnTo>
                          <a:pt x="386" y="510"/>
                        </a:lnTo>
                        <a:lnTo>
                          <a:pt x="384" y="503"/>
                        </a:lnTo>
                        <a:lnTo>
                          <a:pt x="372" y="503"/>
                        </a:lnTo>
                        <a:lnTo>
                          <a:pt x="367" y="503"/>
                        </a:lnTo>
                        <a:lnTo>
                          <a:pt x="372" y="495"/>
                        </a:lnTo>
                        <a:lnTo>
                          <a:pt x="374" y="486"/>
                        </a:lnTo>
                        <a:lnTo>
                          <a:pt x="381" y="488"/>
                        </a:lnTo>
                        <a:lnTo>
                          <a:pt x="386" y="496"/>
                        </a:lnTo>
                        <a:lnTo>
                          <a:pt x="397" y="495"/>
                        </a:lnTo>
                        <a:lnTo>
                          <a:pt x="409" y="491"/>
                        </a:lnTo>
                        <a:lnTo>
                          <a:pt x="409" y="501"/>
                        </a:lnTo>
                        <a:lnTo>
                          <a:pt x="419" y="498"/>
                        </a:lnTo>
                        <a:lnTo>
                          <a:pt x="424" y="493"/>
                        </a:lnTo>
                        <a:lnTo>
                          <a:pt x="424" y="481"/>
                        </a:lnTo>
                        <a:lnTo>
                          <a:pt x="424" y="481"/>
                        </a:lnTo>
                        <a:lnTo>
                          <a:pt x="424" y="481"/>
                        </a:lnTo>
                        <a:close/>
                      </a:path>
                    </a:pathLst>
                  </a:custGeom>
                  <a:solidFill>
                    <a:srgbClr val="77B8E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dirty="0">
                      <a:latin typeface="Proxima Nova A" panose="02000506030000020004" pitchFamily="2" charset="0"/>
                    </a:endParaRPr>
                  </a:p>
                </p:txBody>
              </p:sp>
              <p:sp>
                <p:nvSpPr>
                  <p:cNvPr id="167" name="Freeform 1128">
                    <a:extLst>
                      <a:ext uri="{FF2B5EF4-FFF2-40B4-BE49-F238E27FC236}">
                        <a16:creationId xmlns:a16="http://schemas.microsoft.com/office/drawing/2014/main" id="{94CF4899-88CE-49B0-89D5-BDE33A3FB6E1}"/>
                      </a:ext>
                    </a:extLst>
                  </p:cNvPr>
                  <p:cNvSpPr>
                    <a:spLocks/>
                  </p:cNvSpPr>
                  <p:nvPr/>
                </p:nvSpPr>
                <p:spPr bwMode="auto">
                  <a:xfrm>
                    <a:off x="3544470" y="5410390"/>
                    <a:ext cx="825254" cy="1126098"/>
                  </a:xfrm>
                  <a:custGeom>
                    <a:avLst/>
                    <a:gdLst>
                      <a:gd name="T0" fmla="*/ 145 w 598"/>
                      <a:gd name="T1" fmla="*/ 555 h 816"/>
                      <a:gd name="T2" fmla="*/ 155 w 598"/>
                      <a:gd name="T3" fmla="*/ 583 h 816"/>
                      <a:gd name="T4" fmla="*/ 168 w 598"/>
                      <a:gd name="T5" fmla="*/ 601 h 816"/>
                      <a:gd name="T6" fmla="*/ 150 w 598"/>
                      <a:gd name="T7" fmla="*/ 644 h 816"/>
                      <a:gd name="T8" fmla="*/ 130 w 598"/>
                      <a:gd name="T9" fmla="*/ 666 h 816"/>
                      <a:gd name="T10" fmla="*/ 133 w 598"/>
                      <a:gd name="T11" fmla="*/ 716 h 816"/>
                      <a:gd name="T12" fmla="*/ 100 w 598"/>
                      <a:gd name="T13" fmla="*/ 761 h 816"/>
                      <a:gd name="T14" fmla="*/ 166 w 598"/>
                      <a:gd name="T15" fmla="*/ 811 h 816"/>
                      <a:gd name="T16" fmla="*/ 214 w 598"/>
                      <a:gd name="T17" fmla="*/ 791 h 816"/>
                      <a:gd name="T18" fmla="*/ 271 w 598"/>
                      <a:gd name="T19" fmla="*/ 739 h 816"/>
                      <a:gd name="T20" fmla="*/ 274 w 598"/>
                      <a:gd name="T21" fmla="*/ 701 h 816"/>
                      <a:gd name="T22" fmla="*/ 344 w 598"/>
                      <a:gd name="T23" fmla="*/ 654 h 816"/>
                      <a:gd name="T24" fmla="*/ 420 w 598"/>
                      <a:gd name="T25" fmla="*/ 639 h 816"/>
                      <a:gd name="T26" fmla="*/ 384 w 598"/>
                      <a:gd name="T27" fmla="*/ 610 h 816"/>
                      <a:gd name="T28" fmla="*/ 430 w 598"/>
                      <a:gd name="T29" fmla="*/ 531 h 816"/>
                      <a:gd name="T30" fmla="*/ 437 w 598"/>
                      <a:gd name="T31" fmla="*/ 498 h 816"/>
                      <a:gd name="T32" fmla="*/ 475 w 598"/>
                      <a:gd name="T33" fmla="*/ 483 h 816"/>
                      <a:gd name="T34" fmla="*/ 484 w 598"/>
                      <a:gd name="T35" fmla="*/ 483 h 816"/>
                      <a:gd name="T36" fmla="*/ 509 w 598"/>
                      <a:gd name="T37" fmla="*/ 487 h 816"/>
                      <a:gd name="T38" fmla="*/ 527 w 598"/>
                      <a:gd name="T39" fmla="*/ 392 h 816"/>
                      <a:gd name="T40" fmla="*/ 515 w 598"/>
                      <a:gd name="T41" fmla="*/ 320 h 816"/>
                      <a:gd name="T42" fmla="*/ 514 w 598"/>
                      <a:gd name="T43" fmla="*/ 289 h 816"/>
                      <a:gd name="T44" fmla="*/ 562 w 598"/>
                      <a:gd name="T45" fmla="*/ 176 h 816"/>
                      <a:gd name="T46" fmla="*/ 547 w 598"/>
                      <a:gd name="T47" fmla="*/ 153 h 816"/>
                      <a:gd name="T48" fmla="*/ 583 w 598"/>
                      <a:gd name="T49" fmla="*/ 106 h 816"/>
                      <a:gd name="T50" fmla="*/ 595 w 598"/>
                      <a:gd name="T51" fmla="*/ 23 h 816"/>
                      <a:gd name="T52" fmla="*/ 553 w 598"/>
                      <a:gd name="T53" fmla="*/ 0 h 816"/>
                      <a:gd name="T54" fmla="*/ 509 w 598"/>
                      <a:gd name="T55" fmla="*/ 38 h 816"/>
                      <a:gd name="T56" fmla="*/ 505 w 598"/>
                      <a:gd name="T57" fmla="*/ 41 h 816"/>
                      <a:gd name="T58" fmla="*/ 472 w 598"/>
                      <a:gd name="T59" fmla="*/ 35 h 816"/>
                      <a:gd name="T60" fmla="*/ 472 w 598"/>
                      <a:gd name="T61" fmla="*/ 51 h 816"/>
                      <a:gd name="T62" fmla="*/ 435 w 598"/>
                      <a:gd name="T63" fmla="*/ 63 h 816"/>
                      <a:gd name="T64" fmla="*/ 409 w 598"/>
                      <a:gd name="T65" fmla="*/ 80 h 816"/>
                      <a:gd name="T66" fmla="*/ 379 w 598"/>
                      <a:gd name="T67" fmla="*/ 70 h 816"/>
                      <a:gd name="T68" fmla="*/ 327 w 598"/>
                      <a:gd name="T69" fmla="*/ 124 h 816"/>
                      <a:gd name="T70" fmla="*/ 294 w 598"/>
                      <a:gd name="T71" fmla="*/ 114 h 816"/>
                      <a:gd name="T72" fmla="*/ 263 w 598"/>
                      <a:gd name="T73" fmla="*/ 114 h 816"/>
                      <a:gd name="T74" fmla="*/ 229 w 598"/>
                      <a:gd name="T75" fmla="*/ 116 h 816"/>
                      <a:gd name="T76" fmla="*/ 199 w 598"/>
                      <a:gd name="T77" fmla="*/ 156 h 816"/>
                      <a:gd name="T78" fmla="*/ 181 w 598"/>
                      <a:gd name="T79" fmla="*/ 193 h 816"/>
                      <a:gd name="T80" fmla="*/ 224 w 598"/>
                      <a:gd name="T81" fmla="*/ 209 h 816"/>
                      <a:gd name="T82" fmla="*/ 198 w 598"/>
                      <a:gd name="T83" fmla="*/ 241 h 816"/>
                      <a:gd name="T84" fmla="*/ 161 w 598"/>
                      <a:gd name="T85" fmla="*/ 264 h 816"/>
                      <a:gd name="T86" fmla="*/ 121 w 598"/>
                      <a:gd name="T87" fmla="*/ 262 h 816"/>
                      <a:gd name="T88" fmla="*/ 85 w 598"/>
                      <a:gd name="T89" fmla="*/ 281 h 816"/>
                      <a:gd name="T90" fmla="*/ 32 w 598"/>
                      <a:gd name="T91" fmla="*/ 279 h 816"/>
                      <a:gd name="T92" fmla="*/ 5 w 598"/>
                      <a:gd name="T93" fmla="*/ 306 h 816"/>
                      <a:gd name="T94" fmla="*/ 38 w 598"/>
                      <a:gd name="T95" fmla="*/ 335 h 816"/>
                      <a:gd name="T96" fmla="*/ 76 w 598"/>
                      <a:gd name="T97" fmla="*/ 344 h 816"/>
                      <a:gd name="T98" fmla="*/ 81 w 598"/>
                      <a:gd name="T99" fmla="*/ 369 h 816"/>
                      <a:gd name="T100" fmla="*/ 68 w 598"/>
                      <a:gd name="T101" fmla="*/ 385 h 816"/>
                      <a:gd name="T102" fmla="*/ 96 w 598"/>
                      <a:gd name="T103" fmla="*/ 412 h 816"/>
                      <a:gd name="T104" fmla="*/ 85 w 598"/>
                      <a:gd name="T105" fmla="*/ 445 h 816"/>
                      <a:gd name="T106" fmla="*/ 111 w 598"/>
                      <a:gd name="T107" fmla="*/ 485 h 816"/>
                      <a:gd name="T108" fmla="*/ 151 w 598"/>
                      <a:gd name="T109" fmla="*/ 493 h 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98" h="816">
                        <a:moveTo>
                          <a:pt x="140" y="508"/>
                        </a:moveTo>
                        <a:lnTo>
                          <a:pt x="150" y="525"/>
                        </a:lnTo>
                        <a:lnTo>
                          <a:pt x="145" y="533"/>
                        </a:lnTo>
                        <a:lnTo>
                          <a:pt x="143" y="541"/>
                        </a:lnTo>
                        <a:lnTo>
                          <a:pt x="145" y="555"/>
                        </a:lnTo>
                        <a:lnTo>
                          <a:pt x="135" y="565"/>
                        </a:lnTo>
                        <a:lnTo>
                          <a:pt x="133" y="578"/>
                        </a:lnTo>
                        <a:lnTo>
                          <a:pt x="141" y="583"/>
                        </a:lnTo>
                        <a:lnTo>
                          <a:pt x="146" y="581"/>
                        </a:lnTo>
                        <a:lnTo>
                          <a:pt x="155" y="583"/>
                        </a:lnTo>
                        <a:lnTo>
                          <a:pt x="156" y="586"/>
                        </a:lnTo>
                        <a:lnTo>
                          <a:pt x="163" y="585"/>
                        </a:lnTo>
                        <a:lnTo>
                          <a:pt x="165" y="591"/>
                        </a:lnTo>
                        <a:lnTo>
                          <a:pt x="170" y="593"/>
                        </a:lnTo>
                        <a:lnTo>
                          <a:pt x="168" y="601"/>
                        </a:lnTo>
                        <a:lnTo>
                          <a:pt x="161" y="605"/>
                        </a:lnTo>
                        <a:lnTo>
                          <a:pt x="158" y="613"/>
                        </a:lnTo>
                        <a:lnTo>
                          <a:pt x="156" y="623"/>
                        </a:lnTo>
                        <a:lnTo>
                          <a:pt x="150" y="628"/>
                        </a:lnTo>
                        <a:lnTo>
                          <a:pt x="150" y="644"/>
                        </a:lnTo>
                        <a:lnTo>
                          <a:pt x="145" y="649"/>
                        </a:lnTo>
                        <a:lnTo>
                          <a:pt x="140" y="649"/>
                        </a:lnTo>
                        <a:lnTo>
                          <a:pt x="140" y="658"/>
                        </a:lnTo>
                        <a:lnTo>
                          <a:pt x="133" y="658"/>
                        </a:lnTo>
                        <a:lnTo>
                          <a:pt x="130" y="666"/>
                        </a:lnTo>
                        <a:lnTo>
                          <a:pt x="130" y="673"/>
                        </a:lnTo>
                        <a:lnTo>
                          <a:pt x="140" y="681"/>
                        </a:lnTo>
                        <a:lnTo>
                          <a:pt x="143" y="696"/>
                        </a:lnTo>
                        <a:lnTo>
                          <a:pt x="133" y="706"/>
                        </a:lnTo>
                        <a:lnTo>
                          <a:pt x="133" y="716"/>
                        </a:lnTo>
                        <a:lnTo>
                          <a:pt x="125" y="724"/>
                        </a:lnTo>
                        <a:lnTo>
                          <a:pt x="113" y="741"/>
                        </a:lnTo>
                        <a:lnTo>
                          <a:pt x="96" y="746"/>
                        </a:lnTo>
                        <a:lnTo>
                          <a:pt x="86" y="744"/>
                        </a:lnTo>
                        <a:lnTo>
                          <a:pt x="100" y="761"/>
                        </a:lnTo>
                        <a:lnTo>
                          <a:pt x="118" y="779"/>
                        </a:lnTo>
                        <a:lnTo>
                          <a:pt x="128" y="782"/>
                        </a:lnTo>
                        <a:lnTo>
                          <a:pt x="141" y="797"/>
                        </a:lnTo>
                        <a:lnTo>
                          <a:pt x="151" y="806"/>
                        </a:lnTo>
                        <a:lnTo>
                          <a:pt x="166" y="811"/>
                        </a:lnTo>
                        <a:lnTo>
                          <a:pt x="180" y="816"/>
                        </a:lnTo>
                        <a:lnTo>
                          <a:pt x="188" y="812"/>
                        </a:lnTo>
                        <a:lnTo>
                          <a:pt x="191" y="806"/>
                        </a:lnTo>
                        <a:lnTo>
                          <a:pt x="196" y="806"/>
                        </a:lnTo>
                        <a:lnTo>
                          <a:pt x="214" y="791"/>
                        </a:lnTo>
                        <a:lnTo>
                          <a:pt x="248" y="772"/>
                        </a:lnTo>
                        <a:lnTo>
                          <a:pt x="254" y="772"/>
                        </a:lnTo>
                        <a:lnTo>
                          <a:pt x="261" y="762"/>
                        </a:lnTo>
                        <a:lnTo>
                          <a:pt x="269" y="751"/>
                        </a:lnTo>
                        <a:lnTo>
                          <a:pt x="271" y="739"/>
                        </a:lnTo>
                        <a:lnTo>
                          <a:pt x="269" y="729"/>
                        </a:lnTo>
                        <a:lnTo>
                          <a:pt x="271" y="718"/>
                        </a:lnTo>
                        <a:lnTo>
                          <a:pt x="276" y="713"/>
                        </a:lnTo>
                        <a:lnTo>
                          <a:pt x="274" y="709"/>
                        </a:lnTo>
                        <a:lnTo>
                          <a:pt x="274" y="701"/>
                        </a:lnTo>
                        <a:lnTo>
                          <a:pt x="276" y="689"/>
                        </a:lnTo>
                        <a:lnTo>
                          <a:pt x="284" y="678"/>
                        </a:lnTo>
                        <a:lnTo>
                          <a:pt x="301" y="666"/>
                        </a:lnTo>
                        <a:lnTo>
                          <a:pt x="319" y="659"/>
                        </a:lnTo>
                        <a:lnTo>
                          <a:pt x="344" y="654"/>
                        </a:lnTo>
                        <a:lnTo>
                          <a:pt x="351" y="649"/>
                        </a:lnTo>
                        <a:lnTo>
                          <a:pt x="371" y="643"/>
                        </a:lnTo>
                        <a:lnTo>
                          <a:pt x="392" y="638"/>
                        </a:lnTo>
                        <a:lnTo>
                          <a:pt x="409" y="639"/>
                        </a:lnTo>
                        <a:lnTo>
                          <a:pt x="420" y="639"/>
                        </a:lnTo>
                        <a:lnTo>
                          <a:pt x="422" y="635"/>
                        </a:lnTo>
                        <a:lnTo>
                          <a:pt x="411" y="635"/>
                        </a:lnTo>
                        <a:lnTo>
                          <a:pt x="399" y="628"/>
                        </a:lnTo>
                        <a:lnTo>
                          <a:pt x="389" y="620"/>
                        </a:lnTo>
                        <a:lnTo>
                          <a:pt x="384" y="610"/>
                        </a:lnTo>
                        <a:lnTo>
                          <a:pt x="384" y="603"/>
                        </a:lnTo>
                        <a:lnTo>
                          <a:pt x="386" y="596"/>
                        </a:lnTo>
                        <a:lnTo>
                          <a:pt x="391" y="586"/>
                        </a:lnTo>
                        <a:lnTo>
                          <a:pt x="406" y="566"/>
                        </a:lnTo>
                        <a:lnTo>
                          <a:pt x="430" y="531"/>
                        </a:lnTo>
                        <a:lnTo>
                          <a:pt x="437" y="528"/>
                        </a:lnTo>
                        <a:lnTo>
                          <a:pt x="432" y="518"/>
                        </a:lnTo>
                        <a:lnTo>
                          <a:pt x="432" y="512"/>
                        </a:lnTo>
                        <a:lnTo>
                          <a:pt x="439" y="503"/>
                        </a:lnTo>
                        <a:lnTo>
                          <a:pt x="437" y="498"/>
                        </a:lnTo>
                        <a:lnTo>
                          <a:pt x="442" y="492"/>
                        </a:lnTo>
                        <a:lnTo>
                          <a:pt x="454" y="485"/>
                        </a:lnTo>
                        <a:lnTo>
                          <a:pt x="467" y="485"/>
                        </a:lnTo>
                        <a:lnTo>
                          <a:pt x="472" y="487"/>
                        </a:lnTo>
                        <a:lnTo>
                          <a:pt x="475" y="483"/>
                        </a:lnTo>
                        <a:lnTo>
                          <a:pt x="474" y="475"/>
                        </a:lnTo>
                        <a:lnTo>
                          <a:pt x="482" y="477"/>
                        </a:lnTo>
                        <a:lnTo>
                          <a:pt x="485" y="482"/>
                        </a:lnTo>
                        <a:lnTo>
                          <a:pt x="477" y="483"/>
                        </a:lnTo>
                        <a:lnTo>
                          <a:pt x="484" y="483"/>
                        </a:lnTo>
                        <a:lnTo>
                          <a:pt x="494" y="487"/>
                        </a:lnTo>
                        <a:lnTo>
                          <a:pt x="490" y="480"/>
                        </a:lnTo>
                        <a:lnTo>
                          <a:pt x="499" y="480"/>
                        </a:lnTo>
                        <a:lnTo>
                          <a:pt x="505" y="482"/>
                        </a:lnTo>
                        <a:lnTo>
                          <a:pt x="509" y="487"/>
                        </a:lnTo>
                        <a:lnTo>
                          <a:pt x="515" y="492"/>
                        </a:lnTo>
                        <a:lnTo>
                          <a:pt x="529" y="490"/>
                        </a:lnTo>
                        <a:lnTo>
                          <a:pt x="525" y="447"/>
                        </a:lnTo>
                        <a:lnTo>
                          <a:pt x="524" y="412"/>
                        </a:lnTo>
                        <a:lnTo>
                          <a:pt x="527" y="392"/>
                        </a:lnTo>
                        <a:lnTo>
                          <a:pt x="525" y="374"/>
                        </a:lnTo>
                        <a:lnTo>
                          <a:pt x="525" y="359"/>
                        </a:lnTo>
                        <a:lnTo>
                          <a:pt x="524" y="344"/>
                        </a:lnTo>
                        <a:lnTo>
                          <a:pt x="520" y="325"/>
                        </a:lnTo>
                        <a:lnTo>
                          <a:pt x="515" y="320"/>
                        </a:lnTo>
                        <a:lnTo>
                          <a:pt x="510" y="327"/>
                        </a:lnTo>
                        <a:lnTo>
                          <a:pt x="515" y="315"/>
                        </a:lnTo>
                        <a:lnTo>
                          <a:pt x="515" y="311"/>
                        </a:lnTo>
                        <a:lnTo>
                          <a:pt x="512" y="301"/>
                        </a:lnTo>
                        <a:lnTo>
                          <a:pt x="514" y="289"/>
                        </a:lnTo>
                        <a:lnTo>
                          <a:pt x="515" y="276"/>
                        </a:lnTo>
                        <a:lnTo>
                          <a:pt x="520" y="256"/>
                        </a:lnTo>
                        <a:lnTo>
                          <a:pt x="530" y="227"/>
                        </a:lnTo>
                        <a:lnTo>
                          <a:pt x="540" y="211"/>
                        </a:lnTo>
                        <a:lnTo>
                          <a:pt x="562" y="176"/>
                        </a:lnTo>
                        <a:lnTo>
                          <a:pt x="567" y="171"/>
                        </a:lnTo>
                        <a:lnTo>
                          <a:pt x="567" y="166"/>
                        </a:lnTo>
                        <a:lnTo>
                          <a:pt x="555" y="163"/>
                        </a:lnTo>
                        <a:lnTo>
                          <a:pt x="545" y="158"/>
                        </a:lnTo>
                        <a:lnTo>
                          <a:pt x="547" y="153"/>
                        </a:lnTo>
                        <a:lnTo>
                          <a:pt x="560" y="161"/>
                        </a:lnTo>
                        <a:lnTo>
                          <a:pt x="567" y="164"/>
                        </a:lnTo>
                        <a:lnTo>
                          <a:pt x="573" y="153"/>
                        </a:lnTo>
                        <a:lnTo>
                          <a:pt x="582" y="123"/>
                        </a:lnTo>
                        <a:lnTo>
                          <a:pt x="583" y="106"/>
                        </a:lnTo>
                        <a:lnTo>
                          <a:pt x="588" y="81"/>
                        </a:lnTo>
                        <a:lnTo>
                          <a:pt x="595" y="51"/>
                        </a:lnTo>
                        <a:lnTo>
                          <a:pt x="598" y="45"/>
                        </a:lnTo>
                        <a:lnTo>
                          <a:pt x="595" y="36"/>
                        </a:lnTo>
                        <a:lnTo>
                          <a:pt x="595" y="23"/>
                        </a:lnTo>
                        <a:lnTo>
                          <a:pt x="588" y="23"/>
                        </a:lnTo>
                        <a:lnTo>
                          <a:pt x="582" y="18"/>
                        </a:lnTo>
                        <a:lnTo>
                          <a:pt x="573" y="18"/>
                        </a:lnTo>
                        <a:lnTo>
                          <a:pt x="567" y="10"/>
                        </a:lnTo>
                        <a:lnTo>
                          <a:pt x="553" y="0"/>
                        </a:lnTo>
                        <a:lnTo>
                          <a:pt x="555" y="16"/>
                        </a:lnTo>
                        <a:lnTo>
                          <a:pt x="542" y="25"/>
                        </a:lnTo>
                        <a:lnTo>
                          <a:pt x="542" y="33"/>
                        </a:lnTo>
                        <a:lnTo>
                          <a:pt x="524" y="41"/>
                        </a:lnTo>
                        <a:lnTo>
                          <a:pt x="509" y="38"/>
                        </a:lnTo>
                        <a:lnTo>
                          <a:pt x="507" y="45"/>
                        </a:lnTo>
                        <a:lnTo>
                          <a:pt x="515" y="50"/>
                        </a:lnTo>
                        <a:lnTo>
                          <a:pt x="514" y="56"/>
                        </a:lnTo>
                        <a:lnTo>
                          <a:pt x="505" y="50"/>
                        </a:lnTo>
                        <a:lnTo>
                          <a:pt x="505" y="41"/>
                        </a:lnTo>
                        <a:lnTo>
                          <a:pt x="495" y="43"/>
                        </a:lnTo>
                        <a:lnTo>
                          <a:pt x="487" y="48"/>
                        </a:lnTo>
                        <a:lnTo>
                          <a:pt x="484" y="43"/>
                        </a:lnTo>
                        <a:lnTo>
                          <a:pt x="484" y="36"/>
                        </a:lnTo>
                        <a:lnTo>
                          <a:pt x="472" y="35"/>
                        </a:lnTo>
                        <a:lnTo>
                          <a:pt x="462" y="38"/>
                        </a:lnTo>
                        <a:lnTo>
                          <a:pt x="460" y="43"/>
                        </a:lnTo>
                        <a:lnTo>
                          <a:pt x="467" y="41"/>
                        </a:lnTo>
                        <a:lnTo>
                          <a:pt x="465" y="50"/>
                        </a:lnTo>
                        <a:lnTo>
                          <a:pt x="472" y="51"/>
                        </a:lnTo>
                        <a:lnTo>
                          <a:pt x="467" y="58"/>
                        </a:lnTo>
                        <a:lnTo>
                          <a:pt x="459" y="56"/>
                        </a:lnTo>
                        <a:lnTo>
                          <a:pt x="460" y="65"/>
                        </a:lnTo>
                        <a:lnTo>
                          <a:pt x="444" y="66"/>
                        </a:lnTo>
                        <a:lnTo>
                          <a:pt x="435" y="63"/>
                        </a:lnTo>
                        <a:lnTo>
                          <a:pt x="432" y="68"/>
                        </a:lnTo>
                        <a:lnTo>
                          <a:pt x="432" y="76"/>
                        </a:lnTo>
                        <a:lnTo>
                          <a:pt x="424" y="80"/>
                        </a:lnTo>
                        <a:lnTo>
                          <a:pt x="417" y="80"/>
                        </a:lnTo>
                        <a:lnTo>
                          <a:pt x="409" y="80"/>
                        </a:lnTo>
                        <a:lnTo>
                          <a:pt x="406" y="75"/>
                        </a:lnTo>
                        <a:lnTo>
                          <a:pt x="396" y="71"/>
                        </a:lnTo>
                        <a:lnTo>
                          <a:pt x="394" y="81"/>
                        </a:lnTo>
                        <a:lnTo>
                          <a:pt x="387" y="71"/>
                        </a:lnTo>
                        <a:lnTo>
                          <a:pt x="379" y="70"/>
                        </a:lnTo>
                        <a:lnTo>
                          <a:pt x="366" y="73"/>
                        </a:lnTo>
                        <a:lnTo>
                          <a:pt x="347" y="83"/>
                        </a:lnTo>
                        <a:lnTo>
                          <a:pt x="349" y="90"/>
                        </a:lnTo>
                        <a:lnTo>
                          <a:pt x="337" y="118"/>
                        </a:lnTo>
                        <a:lnTo>
                          <a:pt x="327" y="124"/>
                        </a:lnTo>
                        <a:lnTo>
                          <a:pt x="327" y="133"/>
                        </a:lnTo>
                        <a:lnTo>
                          <a:pt x="321" y="141"/>
                        </a:lnTo>
                        <a:lnTo>
                          <a:pt x="303" y="131"/>
                        </a:lnTo>
                        <a:lnTo>
                          <a:pt x="294" y="123"/>
                        </a:lnTo>
                        <a:lnTo>
                          <a:pt x="294" y="114"/>
                        </a:lnTo>
                        <a:lnTo>
                          <a:pt x="286" y="113"/>
                        </a:lnTo>
                        <a:lnTo>
                          <a:pt x="281" y="113"/>
                        </a:lnTo>
                        <a:lnTo>
                          <a:pt x="268" y="101"/>
                        </a:lnTo>
                        <a:lnTo>
                          <a:pt x="263" y="109"/>
                        </a:lnTo>
                        <a:lnTo>
                          <a:pt x="263" y="114"/>
                        </a:lnTo>
                        <a:lnTo>
                          <a:pt x="258" y="114"/>
                        </a:lnTo>
                        <a:lnTo>
                          <a:pt x="254" y="101"/>
                        </a:lnTo>
                        <a:lnTo>
                          <a:pt x="246" y="98"/>
                        </a:lnTo>
                        <a:lnTo>
                          <a:pt x="228" y="104"/>
                        </a:lnTo>
                        <a:lnTo>
                          <a:pt x="229" y="116"/>
                        </a:lnTo>
                        <a:lnTo>
                          <a:pt x="219" y="131"/>
                        </a:lnTo>
                        <a:lnTo>
                          <a:pt x="208" y="128"/>
                        </a:lnTo>
                        <a:lnTo>
                          <a:pt x="198" y="134"/>
                        </a:lnTo>
                        <a:lnTo>
                          <a:pt x="198" y="144"/>
                        </a:lnTo>
                        <a:lnTo>
                          <a:pt x="199" y="156"/>
                        </a:lnTo>
                        <a:lnTo>
                          <a:pt x="208" y="159"/>
                        </a:lnTo>
                        <a:lnTo>
                          <a:pt x="204" y="173"/>
                        </a:lnTo>
                        <a:lnTo>
                          <a:pt x="198" y="183"/>
                        </a:lnTo>
                        <a:lnTo>
                          <a:pt x="189" y="186"/>
                        </a:lnTo>
                        <a:lnTo>
                          <a:pt x="181" y="193"/>
                        </a:lnTo>
                        <a:lnTo>
                          <a:pt x="183" y="201"/>
                        </a:lnTo>
                        <a:lnTo>
                          <a:pt x="193" y="201"/>
                        </a:lnTo>
                        <a:lnTo>
                          <a:pt x="201" y="201"/>
                        </a:lnTo>
                        <a:lnTo>
                          <a:pt x="218" y="204"/>
                        </a:lnTo>
                        <a:lnTo>
                          <a:pt x="224" y="209"/>
                        </a:lnTo>
                        <a:lnTo>
                          <a:pt x="224" y="217"/>
                        </a:lnTo>
                        <a:lnTo>
                          <a:pt x="218" y="227"/>
                        </a:lnTo>
                        <a:lnTo>
                          <a:pt x="209" y="227"/>
                        </a:lnTo>
                        <a:lnTo>
                          <a:pt x="206" y="237"/>
                        </a:lnTo>
                        <a:lnTo>
                          <a:pt x="198" y="241"/>
                        </a:lnTo>
                        <a:lnTo>
                          <a:pt x="188" y="237"/>
                        </a:lnTo>
                        <a:lnTo>
                          <a:pt x="180" y="252"/>
                        </a:lnTo>
                        <a:lnTo>
                          <a:pt x="180" y="262"/>
                        </a:lnTo>
                        <a:lnTo>
                          <a:pt x="173" y="262"/>
                        </a:lnTo>
                        <a:lnTo>
                          <a:pt x="161" y="264"/>
                        </a:lnTo>
                        <a:lnTo>
                          <a:pt x="160" y="257"/>
                        </a:lnTo>
                        <a:lnTo>
                          <a:pt x="148" y="257"/>
                        </a:lnTo>
                        <a:lnTo>
                          <a:pt x="130" y="261"/>
                        </a:lnTo>
                        <a:lnTo>
                          <a:pt x="130" y="269"/>
                        </a:lnTo>
                        <a:lnTo>
                          <a:pt x="121" y="262"/>
                        </a:lnTo>
                        <a:lnTo>
                          <a:pt x="118" y="254"/>
                        </a:lnTo>
                        <a:lnTo>
                          <a:pt x="101" y="259"/>
                        </a:lnTo>
                        <a:lnTo>
                          <a:pt x="95" y="267"/>
                        </a:lnTo>
                        <a:lnTo>
                          <a:pt x="91" y="286"/>
                        </a:lnTo>
                        <a:lnTo>
                          <a:pt x="85" y="281"/>
                        </a:lnTo>
                        <a:lnTo>
                          <a:pt x="70" y="282"/>
                        </a:lnTo>
                        <a:lnTo>
                          <a:pt x="60" y="284"/>
                        </a:lnTo>
                        <a:lnTo>
                          <a:pt x="52" y="284"/>
                        </a:lnTo>
                        <a:lnTo>
                          <a:pt x="45" y="269"/>
                        </a:lnTo>
                        <a:lnTo>
                          <a:pt x="32" y="279"/>
                        </a:lnTo>
                        <a:lnTo>
                          <a:pt x="18" y="289"/>
                        </a:lnTo>
                        <a:lnTo>
                          <a:pt x="8" y="287"/>
                        </a:lnTo>
                        <a:lnTo>
                          <a:pt x="0" y="289"/>
                        </a:lnTo>
                        <a:lnTo>
                          <a:pt x="5" y="297"/>
                        </a:lnTo>
                        <a:lnTo>
                          <a:pt x="5" y="306"/>
                        </a:lnTo>
                        <a:lnTo>
                          <a:pt x="28" y="307"/>
                        </a:lnTo>
                        <a:lnTo>
                          <a:pt x="37" y="319"/>
                        </a:lnTo>
                        <a:lnTo>
                          <a:pt x="47" y="322"/>
                        </a:lnTo>
                        <a:lnTo>
                          <a:pt x="50" y="330"/>
                        </a:lnTo>
                        <a:lnTo>
                          <a:pt x="38" y="335"/>
                        </a:lnTo>
                        <a:lnTo>
                          <a:pt x="37" y="344"/>
                        </a:lnTo>
                        <a:lnTo>
                          <a:pt x="50" y="345"/>
                        </a:lnTo>
                        <a:lnTo>
                          <a:pt x="58" y="345"/>
                        </a:lnTo>
                        <a:lnTo>
                          <a:pt x="72" y="339"/>
                        </a:lnTo>
                        <a:lnTo>
                          <a:pt x="76" y="344"/>
                        </a:lnTo>
                        <a:lnTo>
                          <a:pt x="70" y="347"/>
                        </a:lnTo>
                        <a:lnTo>
                          <a:pt x="68" y="352"/>
                        </a:lnTo>
                        <a:lnTo>
                          <a:pt x="73" y="354"/>
                        </a:lnTo>
                        <a:lnTo>
                          <a:pt x="75" y="360"/>
                        </a:lnTo>
                        <a:lnTo>
                          <a:pt x="81" y="369"/>
                        </a:lnTo>
                        <a:lnTo>
                          <a:pt x="76" y="369"/>
                        </a:lnTo>
                        <a:lnTo>
                          <a:pt x="67" y="369"/>
                        </a:lnTo>
                        <a:lnTo>
                          <a:pt x="60" y="380"/>
                        </a:lnTo>
                        <a:lnTo>
                          <a:pt x="60" y="387"/>
                        </a:lnTo>
                        <a:lnTo>
                          <a:pt x="68" y="385"/>
                        </a:lnTo>
                        <a:lnTo>
                          <a:pt x="85" y="389"/>
                        </a:lnTo>
                        <a:lnTo>
                          <a:pt x="90" y="395"/>
                        </a:lnTo>
                        <a:lnTo>
                          <a:pt x="85" y="402"/>
                        </a:lnTo>
                        <a:lnTo>
                          <a:pt x="98" y="405"/>
                        </a:lnTo>
                        <a:lnTo>
                          <a:pt x="96" y="412"/>
                        </a:lnTo>
                        <a:lnTo>
                          <a:pt x="96" y="420"/>
                        </a:lnTo>
                        <a:lnTo>
                          <a:pt x="91" y="423"/>
                        </a:lnTo>
                        <a:lnTo>
                          <a:pt x="81" y="423"/>
                        </a:lnTo>
                        <a:lnTo>
                          <a:pt x="85" y="432"/>
                        </a:lnTo>
                        <a:lnTo>
                          <a:pt x="85" y="445"/>
                        </a:lnTo>
                        <a:lnTo>
                          <a:pt x="83" y="457"/>
                        </a:lnTo>
                        <a:lnTo>
                          <a:pt x="86" y="468"/>
                        </a:lnTo>
                        <a:lnTo>
                          <a:pt x="85" y="477"/>
                        </a:lnTo>
                        <a:lnTo>
                          <a:pt x="98" y="487"/>
                        </a:lnTo>
                        <a:lnTo>
                          <a:pt x="111" y="485"/>
                        </a:lnTo>
                        <a:lnTo>
                          <a:pt x="120" y="475"/>
                        </a:lnTo>
                        <a:lnTo>
                          <a:pt x="133" y="467"/>
                        </a:lnTo>
                        <a:lnTo>
                          <a:pt x="143" y="473"/>
                        </a:lnTo>
                        <a:lnTo>
                          <a:pt x="146" y="482"/>
                        </a:lnTo>
                        <a:lnTo>
                          <a:pt x="151" y="493"/>
                        </a:lnTo>
                        <a:lnTo>
                          <a:pt x="148" y="503"/>
                        </a:lnTo>
                        <a:lnTo>
                          <a:pt x="140" y="508"/>
                        </a:lnTo>
                        <a:lnTo>
                          <a:pt x="140" y="508"/>
                        </a:lnTo>
                        <a:lnTo>
                          <a:pt x="140" y="508"/>
                        </a:lnTo>
                        <a:close/>
                      </a:path>
                    </a:pathLst>
                  </a:custGeom>
                  <a:solidFill>
                    <a:srgbClr val="77B8E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a:latin typeface="Proxima Nova A" panose="02000506030000020004" pitchFamily="2" charset="0"/>
                    </a:endParaRPr>
                  </a:p>
                </p:txBody>
              </p:sp>
              <p:sp>
                <p:nvSpPr>
                  <p:cNvPr id="168" name="Freeform 1137">
                    <a:extLst>
                      <a:ext uri="{FF2B5EF4-FFF2-40B4-BE49-F238E27FC236}">
                        <a16:creationId xmlns:a16="http://schemas.microsoft.com/office/drawing/2014/main" id="{BB3A7491-C9CE-4B38-B906-306C211D3092}"/>
                      </a:ext>
                    </a:extLst>
                  </p:cNvPr>
                  <p:cNvSpPr>
                    <a:spLocks/>
                  </p:cNvSpPr>
                  <p:nvPr/>
                </p:nvSpPr>
                <p:spPr bwMode="auto">
                  <a:xfrm>
                    <a:off x="3291926" y="5566332"/>
                    <a:ext cx="487148" cy="873554"/>
                  </a:xfrm>
                  <a:custGeom>
                    <a:avLst/>
                    <a:gdLst>
                      <a:gd name="T0" fmla="*/ 296 w 353"/>
                      <a:gd name="T1" fmla="*/ 626 h 633"/>
                      <a:gd name="T2" fmla="*/ 324 w 353"/>
                      <a:gd name="T3" fmla="*/ 583 h 633"/>
                      <a:gd name="T4" fmla="*/ 313 w 353"/>
                      <a:gd name="T5" fmla="*/ 551 h 633"/>
                      <a:gd name="T6" fmla="*/ 328 w 353"/>
                      <a:gd name="T7" fmla="*/ 536 h 633"/>
                      <a:gd name="T8" fmla="*/ 338 w 353"/>
                      <a:gd name="T9" fmla="*/ 510 h 633"/>
                      <a:gd name="T10" fmla="*/ 351 w 353"/>
                      <a:gd name="T11" fmla="*/ 487 h 633"/>
                      <a:gd name="T12" fmla="*/ 339 w 353"/>
                      <a:gd name="T13" fmla="*/ 473 h 633"/>
                      <a:gd name="T14" fmla="*/ 316 w 353"/>
                      <a:gd name="T15" fmla="*/ 465 h 633"/>
                      <a:gd name="T16" fmla="*/ 326 w 353"/>
                      <a:gd name="T17" fmla="*/ 432 h 633"/>
                      <a:gd name="T18" fmla="*/ 328 w 353"/>
                      <a:gd name="T19" fmla="*/ 407 h 633"/>
                      <a:gd name="T20" fmla="*/ 333 w 353"/>
                      <a:gd name="T21" fmla="*/ 379 h 633"/>
                      <a:gd name="T22" fmla="*/ 316 w 353"/>
                      <a:gd name="T23" fmla="*/ 355 h 633"/>
                      <a:gd name="T24" fmla="*/ 273 w 353"/>
                      <a:gd name="T25" fmla="*/ 367 h 633"/>
                      <a:gd name="T26" fmla="*/ 266 w 353"/>
                      <a:gd name="T27" fmla="*/ 334 h 633"/>
                      <a:gd name="T28" fmla="*/ 273 w 353"/>
                      <a:gd name="T29" fmla="*/ 310 h 633"/>
                      <a:gd name="T30" fmla="*/ 268 w 353"/>
                      <a:gd name="T31" fmla="*/ 287 h 633"/>
                      <a:gd name="T32" fmla="*/ 251 w 353"/>
                      <a:gd name="T33" fmla="*/ 274 h 633"/>
                      <a:gd name="T34" fmla="*/ 250 w 353"/>
                      <a:gd name="T35" fmla="*/ 256 h 633"/>
                      <a:gd name="T36" fmla="*/ 256 w 353"/>
                      <a:gd name="T37" fmla="*/ 241 h 633"/>
                      <a:gd name="T38" fmla="*/ 253 w 353"/>
                      <a:gd name="T39" fmla="*/ 227 h 633"/>
                      <a:gd name="T40" fmla="*/ 220 w 353"/>
                      <a:gd name="T41" fmla="*/ 229 h 633"/>
                      <a:gd name="T42" fmla="*/ 220 w 353"/>
                      <a:gd name="T43" fmla="*/ 204 h 633"/>
                      <a:gd name="T44" fmla="*/ 186 w 353"/>
                      <a:gd name="T45" fmla="*/ 184 h 633"/>
                      <a:gd name="T46" fmla="*/ 213 w 353"/>
                      <a:gd name="T47" fmla="*/ 166 h 633"/>
                      <a:gd name="T48" fmla="*/ 180 w 353"/>
                      <a:gd name="T49" fmla="*/ 129 h 633"/>
                      <a:gd name="T50" fmla="*/ 150 w 353"/>
                      <a:gd name="T51" fmla="*/ 123 h 633"/>
                      <a:gd name="T52" fmla="*/ 108 w 353"/>
                      <a:gd name="T53" fmla="*/ 93 h 633"/>
                      <a:gd name="T54" fmla="*/ 73 w 353"/>
                      <a:gd name="T55" fmla="*/ 53 h 633"/>
                      <a:gd name="T56" fmla="*/ 73 w 353"/>
                      <a:gd name="T57" fmla="*/ 36 h 633"/>
                      <a:gd name="T58" fmla="*/ 52 w 353"/>
                      <a:gd name="T59" fmla="*/ 28 h 633"/>
                      <a:gd name="T60" fmla="*/ 47 w 353"/>
                      <a:gd name="T61" fmla="*/ 26 h 633"/>
                      <a:gd name="T62" fmla="*/ 30 w 353"/>
                      <a:gd name="T63" fmla="*/ 6 h 633"/>
                      <a:gd name="T64" fmla="*/ 15 w 353"/>
                      <a:gd name="T65" fmla="*/ 0 h 633"/>
                      <a:gd name="T66" fmla="*/ 38 w 353"/>
                      <a:gd name="T67" fmla="*/ 103 h 633"/>
                      <a:gd name="T68" fmla="*/ 63 w 353"/>
                      <a:gd name="T69" fmla="*/ 134 h 633"/>
                      <a:gd name="T70" fmla="*/ 93 w 353"/>
                      <a:gd name="T71" fmla="*/ 183 h 633"/>
                      <a:gd name="T72" fmla="*/ 125 w 353"/>
                      <a:gd name="T73" fmla="*/ 232 h 633"/>
                      <a:gd name="T74" fmla="*/ 143 w 353"/>
                      <a:gd name="T75" fmla="*/ 286 h 633"/>
                      <a:gd name="T76" fmla="*/ 145 w 353"/>
                      <a:gd name="T77" fmla="*/ 291 h 633"/>
                      <a:gd name="T78" fmla="*/ 171 w 353"/>
                      <a:gd name="T79" fmla="*/ 382 h 633"/>
                      <a:gd name="T80" fmla="*/ 180 w 353"/>
                      <a:gd name="T81" fmla="*/ 384 h 633"/>
                      <a:gd name="T82" fmla="*/ 190 w 353"/>
                      <a:gd name="T83" fmla="*/ 410 h 633"/>
                      <a:gd name="T84" fmla="*/ 203 w 353"/>
                      <a:gd name="T85" fmla="*/ 448 h 633"/>
                      <a:gd name="T86" fmla="*/ 211 w 353"/>
                      <a:gd name="T87" fmla="*/ 468 h 633"/>
                      <a:gd name="T88" fmla="*/ 218 w 353"/>
                      <a:gd name="T89" fmla="*/ 485 h 633"/>
                      <a:gd name="T90" fmla="*/ 198 w 353"/>
                      <a:gd name="T91" fmla="*/ 472 h 633"/>
                      <a:gd name="T92" fmla="*/ 193 w 353"/>
                      <a:gd name="T93" fmla="*/ 437 h 633"/>
                      <a:gd name="T94" fmla="*/ 183 w 353"/>
                      <a:gd name="T95" fmla="*/ 415 h 633"/>
                      <a:gd name="T96" fmla="*/ 186 w 353"/>
                      <a:gd name="T97" fmla="*/ 470 h 633"/>
                      <a:gd name="T98" fmla="*/ 220 w 353"/>
                      <a:gd name="T99" fmla="*/ 568 h 633"/>
                      <a:gd name="T100" fmla="*/ 243 w 353"/>
                      <a:gd name="T101" fmla="*/ 601 h 633"/>
                      <a:gd name="T102" fmla="*/ 269 w 353"/>
                      <a:gd name="T103" fmla="*/ 631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633">
                        <a:moveTo>
                          <a:pt x="269" y="631"/>
                        </a:moveTo>
                        <a:lnTo>
                          <a:pt x="279" y="633"/>
                        </a:lnTo>
                        <a:lnTo>
                          <a:pt x="284" y="633"/>
                        </a:lnTo>
                        <a:lnTo>
                          <a:pt x="296" y="626"/>
                        </a:lnTo>
                        <a:lnTo>
                          <a:pt x="304" y="615"/>
                        </a:lnTo>
                        <a:lnTo>
                          <a:pt x="314" y="603"/>
                        </a:lnTo>
                        <a:lnTo>
                          <a:pt x="316" y="593"/>
                        </a:lnTo>
                        <a:lnTo>
                          <a:pt x="324" y="583"/>
                        </a:lnTo>
                        <a:lnTo>
                          <a:pt x="321" y="571"/>
                        </a:lnTo>
                        <a:lnTo>
                          <a:pt x="318" y="565"/>
                        </a:lnTo>
                        <a:lnTo>
                          <a:pt x="311" y="560"/>
                        </a:lnTo>
                        <a:lnTo>
                          <a:pt x="313" y="551"/>
                        </a:lnTo>
                        <a:lnTo>
                          <a:pt x="316" y="546"/>
                        </a:lnTo>
                        <a:lnTo>
                          <a:pt x="323" y="545"/>
                        </a:lnTo>
                        <a:lnTo>
                          <a:pt x="323" y="536"/>
                        </a:lnTo>
                        <a:lnTo>
                          <a:pt x="328" y="536"/>
                        </a:lnTo>
                        <a:lnTo>
                          <a:pt x="331" y="528"/>
                        </a:lnTo>
                        <a:lnTo>
                          <a:pt x="331" y="522"/>
                        </a:lnTo>
                        <a:lnTo>
                          <a:pt x="331" y="517"/>
                        </a:lnTo>
                        <a:lnTo>
                          <a:pt x="338" y="510"/>
                        </a:lnTo>
                        <a:lnTo>
                          <a:pt x="339" y="503"/>
                        </a:lnTo>
                        <a:lnTo>
                          <a:pt x="341" y="497"/>
                        </a:lnTo>
                        <a:lnTo>
                          <a:pt x="344" y="492"/>
                        </a:lnTo>
                        <a:lnTo>
                          <a:pt x="351" y="487"/>
                        </a:lnTo>
                        <a:lnTo>
                          <a:pt x="353" y="482"/>
                        </a:lnTo>
                        <a:lnTo>
                          <a:pt x="346" y="477"/>
                        </a:lnTo>
                        <a:lnTo>
                          <a:pt x="346" y="472"/>
                        </a:lnTo>
                        <a:lnTo>
                          <a:pt x="339" y="473"/>
                        </a:lnTo>
                        <a:lnTo>
                          <a:pt x="336" y="470"/>
                        </a:lnTo>
                        <a:lnTo>
                          <a:pt x="331" y="468"/>
                        </a:lnTo>
                        <a:lnTo>
                          <a:pt x="324" y="470"/>
                        </a:lnTo>
                        <a:lnTo>
                          <a:pt x="316" y="465"/>
                        </a:lnTo>
                        <a:lnTo>
                          <a:pt x="316" y="460"/>
                        </a:lnTo>
                        <a:lnTo>
                          <a:pt x="319" y="453"/>
                        </a:lnTo>
                        <a:lnTo>
                          <a:pt x="326" y="440"/>
                        </a:lnTo>
                        <a:lnTo>
                          <a:pt x="326" y="432"/>
                        </a:lnTo>
                        <a:lnTo>
                          <a:pt x="326" y="423"/>
                        </a:lnTo>
                        <a:lnTo>
                          <a:pt x="328" y="418"/>
                        </a:lnTo>
                        <a:lnTo>
                          <a:pt x="333" y="412"/>
                        </a:lnTo>
                        <a:lnTo>
                          <a:pt x="328" y="407"/>
                        </a:lnTo>
                        <a:lnTo>
                          <a:pt x="323" y="397"/>
                        </a:lnTo>
                        <a:lnTo>
                          <a:pt x="328" y="392"/>
                        </a:lnTo>
                        <a:lnTo>
                          <a:pt x="333" y="384"/>
                        </a:lnTo>
                        <a:lnTo>
                          <a:pt x="333" y="379"/>
                        </a:lnTo>
                        <a:lnTo>
                          <a:pt x="331" y="372"/>
                        </a:lnTo>
                        <a:lnTo>
                          <a:pt x="328" y="367"/>
                        </a:lnTo>
                        <a:lnTo>
                          <a:pt x="324" y="359"/>
                        </a:lnTo>
                        <a:lnTo>
                          <a:pt x="316" y="355"/>
                        </a:lnTo>
                        <a:lnTo>
                          <a:pt x="303" y="362"/>
                        </a:lnTo>
                        <a:lnTo>
                          <a:pt x="294" y="372"/>
                        </a:lnTo>
                        <a:lnTo>
                          <a:pt x="281" y="374"/>
                        </a:lnTo>
                        <a:lnTo>
                          <a:pt x="273" y="367"/>
                        </a:lnTo>
                        <a:lnTo>
                          <a:pt x="268" y="362"/>
                        </a:lnTo>
                        <a:lnTo>
                          <a:pt x="268" y="354"/>
                        </a:lnTo>
                        <a:lnTo>
                          <a:pt x="266" y="342"/>
                        </a:lnTo>
                        <a:lnTo>
                          <a:pt x="266" y="334"/>
                        </a:lnTo>
                        <a:lnTo>
                          <a:pt x="266" y="329"/>
                        </a:lnTo>
                        <a:lnTo>
                          <a:pt x="266" y="319"/>
                        </a:lnTo>
                        <a:lnTo>
                          <a:pt x="264" y="310"/>
                        </a:lnTo>
                        <a:lnTo>
                          <a:pt x="273" y="310"/>
                        </a:lnTo>
                        <a:lnTo>
                          <a:pt x="278" y="306"/>
                        </a:lnTo>
                        <a:lnTo>
                          <a:pt x="278" y="299"/>
                        </a:lnTo>
                        <a:lnTo>
                          <a:pt x="279" y="292"/>
                        </a:lnTo>
                        <a:lnTo>
                          <a:pt x="268" y="287"/>
                        </a:lnTo>
                        <a:lnTo>
                          <a:pt x="271" y="281"/>
                        </a:lnTo>
                        <a:lnTo>
                          <a:pt x="264" y="276"/>
                        </a:lnTo>
                        <a:lnTo>
                          <a:pt x="258" y="276"/>
                        </a:lnTo>
                        <a:lnTo>
                          <a:pt x="251" y="274"/>
                        </a:lnTo>
                        <a:lnTo>
                          <a:pt x="241" y="274"/>
                        </a:lnTo>
                        <a:lnTo>
                          <a:pt x="243" y="267"/>
                        </a:lnTo>
                        <a:lnTo>
                          <a:pt x="246" y="261"/>
                        </a:lnTo>
                        <a:lnTo>
                          <a:pt x="250" y="256"/>
                        </a:lnTo>
                        <a:lnTo>
                          <a:pt x="256" y="256"/>
                        </a:lnTo>
                        <a:lnTo>
                          <a:pt x="263" y="254"/>
                        </a:lnTo>
                        <a:lnTo>
                          <a:pt x="258" y="247"/>
                        </a:lnTo>
                        <a:lnTo>
                          <a:pt x="256" y="241"/>
                        </a:lnTo>
                        <a:lnTo>
                          <a:pt x="251" y="239"/>
                        </a:lnTo>
                        <a:lnTo>
                          <a:pt x="253" y="234"/>
                        </a:lnTo>
                        <a:lnTo>
                          <a:pt x="258" y="231"/>
                        </a:lnTo>
                        <a:lnTo>
                          <a:pt x="253" y="227"/>
                        </a:lnTo>
                        <a:lnTo>
                          <a:pt x="246" y="229"/>
                        </a:lnTo>
                        <a:lnTo>
                          <a:pt x="240" y="232"/>
                        </a:lnTo>
                        <a:lnTo>
                          <a:pt x="230" y="232"/>
                        </a:lnTo>
                        <a:lnTo>
                          <a:pt x="220" y="229"/>
                        </a:lnTo>
                        <a:lnTo>
                          <a:pt x="220" y="224"/>
                        </a:lnTo>
                        <a:lnTo>
                          <a:pt x="233" y="217"/>
                        </a:lnTo>
                        <a:lnTo>
                          <a:pt x="228" y="209"/>
                        </a:lnTo>
                        <a:lnTo>
                          <a:pt x="220" y="204"/>
                        </a:lnTo>
                        <a:lnTo>
                          <a:pt x="211" y="196"/>
                        </a:lnTo>
                        <a:lnTo>
                          <a:pt x="200" y="193"/>
                        </a:lnTo>
                        <a:lnTo>
                          <a:pt x="188" y="191"/>
                        </a:lnTo>
                        <a:lnTo>
                          <a:pt x="186" y="184"/>
                        </a:lnTo>
                        <a:lnTo>
                          <a:pt x="183" y="176"/>
                        </a:lnTo>
                        <a:lnTo>
                          <a:pt x="190" y="174"/>
                        </a:lnTo>
                        <a:lnTo>
                          <a:pt x="203" y="174"/>
                        </a:lnTo>
                        <a:lnTo>
                          <a:pt x="213" y="166"/>
                        </a:lnTo>
                        <a:lnTo>
                          <a:pt x="211" y="154"/>
                        </a:lnTo>
                        <a:lnTo>
                          <a:pt x="203" y="149"/>
                        </a:lnTo>
                        <a:lnTo>
                          <a:pt x="185" y="138"/>
                        </a:lnTo>
                        <a:lnTo>
                          <a:pt x="180" y="129"/>
                        </a:lnTo>
                        <a:lnTo>
                          <a:pt x="170" y="131"/>
                        </a:lnTo>
                        <a:lnTo>
                          <a:pt x="168" y="118"/>
                        </a:lnTo>
                        <a:lnTo>
                          <a:pt x="160" y="123"/>
                        </a:lnTo>
                        <a:lnTo>
                          <a:pt x="150" y="123"/>
                        </a:lnTo>
                        <a:lnTo>
                          <a:pt x="143" y="119"/>
                        </a:lnTo>
                        <a:lnTo>
                          <a:pt x="132" y="116"/>
                        </a:lnTo>
                        <a:lnTo>
                          <a:pt x="128" y="101"/>
                        </a:lnTo>
                        <a:lnTo>
                          <a:pt x="108" y="93"/>
                        </a:lnTo>
                        <a:lnTo>
                          <a:pt x="92" y="83"/>
                        </a:lnTo>
                        <a:lnTo>
                          <a:pt x="83" y="70"/>
                        </a:lnTo>
                        <a:lnTo>
                          <a:pt x="72" y="66"/>
                        </a:lnTo>
                        <a:lnTo>
                          <a:pt x="73" y="53"/>
                        </a:lnTo>
                        <a:lnTo>
                          <a:pt x="67" y="51"/>
                        </a:lnTo>
                        <a:lnTo>
                          <a:pt x="68" y="45"/>
                        </a:lnTo>
                        <a:lnTo>
                          <a:pt x="75" y="41"/>
                        </a:lnTo>
                        <a:lnTo>
                          <a:pt x="73" y="36"/>
                        </a:lnTo>
                        <a:lnTo>
                          <a:pt x="67" y="40"/>
                        </a:lnTo>
                        <a:lnTo>
                          <a:pt x="60" y="38"/>
                        </a:lnTo>
                        <a:lnTo>
                          <a:pt x="52" y="33"/>
                        </a:lnTo>
                        <a:lnTo>
                          <a:pt x="52" y="28"/>
                        </a:lnTo>
                        <a:lnTo>
                          <a:pt x="57" y="30"/>
                        </a:lnTo>
                        <a:lnTo>
                          <a:pt x="62" y="21"/>
                        </a:lnTo>
                        <a:lnTo>
                          <a:pt x="53" y="21"/>
                        </a:lnTo>
                        <a:lnTo>
                          <a:pt x="47" y="26"/>
                        </a:lnTo>
                        <a:lnTo>
                          <a:pt x="45" y="18"/>
                        </a:lnTo>
                        <a:lnTo>
                          <a:pt x="35" y="15"/>
                        </a:lnTo>
                        <a:lnTo>
                          <a:pt x="37" y="8"/>
                        </a:lnTo>
                        <a:lnTo>
                          <a:pt x="30" y="6"/>
                        </a:lnTo>
                        <a:lnTo>
                          <a:pt x="27" y="13"/>
                        </a:lnTo>
                        <a:lnTo>
                          <a:pt x="22" y="10"/>
                        </a:lnTo>
                        <a:lnTo>
                          <a:pt x="22" y="1"/>
                        </a:lnTo>
                        <a:lnTo>
                          <a:pt x="15" y="0"/>
                        </a:lnTo>
                        <a:lnTo>
                          <a:pt x="0" y="6"/>
                        </a:lnTo>
                        <a:lnTo>
                          <a:pt x="5" y="15"/>
                        </a:lnTo>
                        <a:lnTo>
                          <a:pt x="22" y="60"/>
                        </a:lnTo>
                        <a:lnTo>
                          <a:pt x="38" y="103"/>
                        </a:lnTo>
                        <a:lnTo>
                          <a:pt x="43" y="108"/>
                        </a:lnTo>
                        <a:lnTo>
                          <a:pt x="50" y="108"/>
                        </a:lnTo>
                        <a:lnTo>
                          <a:pt x="57" y="123"/>
                        </a:lnTo>
                        <a:lnTo>
                          <a:pt x="63" y="134"/>
                        </a:lnTo>
                        <a:lnTo>
                          <a:pt x="72" y="134"/>
                        </a:lnTo>
                        <a:lnTo>
                          <a:pt x="82" y="153"/>
                        </a:lnTo>
                        <a:lnTo>
                          <a:pt x="90" y="159"/>
                        </a:lnTo>
                        <a:lnTo>
                          <a:pt x="93" y="183"/>
                        </a:lnTo>
                        <a:lnTo>
                          <a:pt x="103" y="191"/>
                        </a:lnTo>
                        <a:lnTo>
                          <a:pt x="108" y="198"/>
                        </a:lnTo>
                        <a:lnTo>
                          <a:pt x="113" y="209"/>
                        </a:lnTo>
                        <a:lnTo>
                          <a:pt x="125" y="232"/>
                        </a:lnTo>
                        <a:lnTo>
                          <a:pt x="132" y="264"/>
                        </a:lnTo>
                        <a:lnTo>
                          <a:pt x="133" y="281"/>
                        </a:lnTo>
                        <a:lnTo>
                          <a:pt x="135" y="291"/>
                        </a:lnTo>
                        <a:lnTo>
                          <a:pt x="143" y="286"/>
                        </a:lnTo>
                        <a:lnTo>
                          <a:pt x="143" y="281"/>
                        </a:lnTo>
                        <a:lnTo>
                          <a:pt x="148" y="277"/>
                        </a:lnTo>
                        <a:lnTo>
                          <a:pt x="148" y="282"/>
                        </a:lnTo>
                        <a:lnTo>
                          <a:pt x="145" y="291"/>
                        </a:lnTo>
                        <a:lnTo>
                          <a:pt x="138" y="297"/>
                        </a:lnTo>
                        <a:lnTo>
                          <a:pt x="153" y="339"/>
                        </a:lnTo>
                        <a:lnTo>
                          <a:pt x="168" y="370"/>
                        </a:lnTo>
                        <a:lnTo>
                          <a:pt x="171" y="382"/>
                        </a:lnTo>
                        <a:lnTo>
                          <a:pt x="178" y="380"/>
                        </a:lnTo>
                        <a:lnTo>
                          <a:pt x="181" y="377"/>
                        </a:lnTo>
                        <a:lnTo>
                          <a:pt x="185" y="380"/>
                        </a:lnTo>
                        <a:lnTo>
                          <a:pt x="180" y="384"/>
                        </a:lnTo>
                        <a:lnTo>
                          <a:pt x="180" y="389"/>
                        </a:lnTo>
                        <a:lnTo>
                          <a:pt x="185" y="394"/>
                        </a:lnTo>
                        <a:lnTo>
                          <a:pt x="188" y="404"/>
                        </a:lnTo>
                        <a:lnTo>
                          <a:pt x="190" y="410"/>
                        </a:lnTo>
                        <a:lnTo>
                          <a:pt x="196" y="420"/>
                        </a:lnTo>
                        <a:lnTo>
                          <a:pt x="200" y="427"/>
                        </a:lnTo>
                        <a:lnTo>
                          <a:pt x="206" y="433"/>
                        </a:lnTo>
                        <a:lnTo>
                          <a:pt x="203" y="448"/>
                        </a:lnTo>
                        <a:lnTo>
                          <a:pt x="203" y="455"/>
                        </a:lnTo>
                        <a:lnTo>
                          <a:pt x="208" y="457"/>
                        </a:lnTo>
                        <a:lnTo>
                          <a:pt x="208" y="463"/>
                        </a:lnTo>
                        <a:lnTo>
                          <a:pt x="211" y="468"/>
                        </a:lnTo>
                        <a:lnTo>
                          <a:pt x="211" y="475"/>
                        </a:lnTo>
                        <a:lnTo>
                          <a:pt x="216" y="477"/>
                        </a:lnTo>
                        <a:lnTo>
                          <a:pt x="220" y="480"/>
                        </a:lnTo>
                        <a:lnTo>
                          <a:pt x="218" y="485"/>
                        </a:lnTo>
                        <a:lnTo>
                          <a:pt x="210" y="487"/>
                        </a:lnTo>
                        <a:lnTo>
                          <a:pt x="200" y="483"/>
                        </a:lnTo>
                        <a:lnTo>
                          <a:pt x="196" y="478"/>
                        </a:lnTo>
                        <a:lnTo>
                          <a:pt x="198" y="472"/>
                        </a:lnTo>
                        <a:lnTo>
                          <a:pt x="201" y="463"/>
                        </a:lnTo>
                        <a:lnTo>
                          <a:pt x="198" y="457"/>
                        </a:lnTo>
                        <a:lnTo>
                          <a:pt x="195" y="447"/>
                        </a:lnTo>
                        <a:lnTo>
                          <a:pt x="193" y="437"/>
                        </a:lnTo>
                        <a:lnTo>
                          <a:pt x="191" y="433"/>
                        </a:lnTo>
                        <a:lnTo>
                          <a:pt x="191" y="428"/>
                        </a:lnTo>
                        <a:lnTo>
                          <a:pt x="188" y="422"/>
                        </a:lnTo>
                        <a:lnTo>
                          <a:pt x="183" y="415"/>
                        </a:lnTo>
                        <a:lnTo>
                          <a:pt x="180" y="420"/>
                        </a:lnTo>
                        <a:lnTo>
                          <a:pt x="181" y="428"/>
                        </a:lnTo>
                        <a:lnTo>
                          <a:pt x="185" y="443"/>
                        </a:lnTo>
                        <a:lnTo>
                          <a:pt x="186" y="470"/>
                        </a:lnTo>
                        <a:lnTo>
                          <a:pt x="193" y="497"/>
                        </a:lnTo>
                        <a:lnTo>
                          <a:pt x="201" y="520"/>
                        </a:lnTo>
                        <a:lnTo>
                          <a:pt x="213" y="545"/>
                        </a:lnTo>
                        <a:lnTo>
                          <a:pt x="220" y="568"/>
                        </a:lnTo>
                        <a:lnTo>
                          <a:pt x="223" y="580"/>
                        </a:lnTo>
                        <a:lnTo>
                          <a:pt x="230" y="580"/>
                        </a:lnTo>
                        <a:lnTo>
                          <a:pt x="238" y="590"/>
                        </a:lnTo>
                        <a:lnTo>
                          <a:pt x="243" y="601"/>
                        </a:lnTo>
                        <a:lnTo>
                          <a:pt x="258" y="618"/>
                        </a:lnTo>
                        <a:lnTo>
                          <a:pt x="266" y="630"/>
                        </a:lnTo>
                        <a:lnTo>
                          <a:pt x="269" y="631"/>
                        </a:lnTo>
                        <a:lnTo>
                          <a:pt x="269" y="631"/>
                        </a:lnTo>
                        <a:lnTo>
                          <a:pt x="269" y="631"/>
                        </a:lnTo>
                        <a:close/>
                      </a:path>
                    </a:pathLst>
                  </a:custGeom>
                  <a:solidFill>
                    <a:srgbClr val="77B8E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a:latin typeface="Proxima Nova A" panose="02000506030000020004" pitchFamily="2" charset="0"/>
                    </a:endParaRPr>
                  </a:p>
                </p:txBody>
              </p:sp>
              <p:sp>
                <p:nvSpPr>
                  <p:cNvPr id="169" name="Freeform 1149">
                    <a:extLst>
                      <a:ext uri="{FF2B5EF4-FFF2-40B4-BE49-F238E27FC236}">
                        <a16:creationId xmlns:a16="http://schemas.microsoft.com/office/drawing/2014/main" id="{76E1BCFB-5DF4-4FB9-9F73-FFDDEFA5A4B2}"/>
                      </a:ext>
                    </a:extLst>
                  </p:cNvPr>
                  <p:cNvSpPr>
                    <a:spLocks/>
                  </p:cNvSpPr>
                  <p:nvPr/>
                </p:nvSpPr>
                <p:spPr bwMode="auto">
                  <a:xfrm>
                    <a:off x="4572587" y="3594280"/>
                    <a:ext cx="1109538" cy="967396"/>
                  </a:xfrm>
                  <a:custGeom>
                    <a:avLst/>
                    <a:gdLst>
                      <a:gd name="T0" fmla="*/ 319 w 804"/>
                      <a:gd name="T1" fmla="*/ 533 h 701"/>
                      <a:gd name="T2" fmla="*/ 332 w 804"/>
                      <a:gd name="T3" fmla="*/ 545 h 701"/>
                      <a:gd name="T4" fmla="*/ 375 w 804"/>
                      <a:gd name="T5" fmla="*/ 556 h 701"/>
                      <a:gd name="T6" fmla="*/ 398 w 804"/>
                      <a:gd name="T7" fmla="*/ 537 h 701"/>
                      <a:gd name="T8" fmla="*/ 423 w 804"/>
                      <a:gd name="T9" fmla="*/ 515 h 701"/>
                      <a:gd name="T10" fmla="*/ 455 w 804"/>
                      <a:gd name="T11" fmla="*/ 497 h 701"/>
                      <a:gd name="T12" fmla="*/ 548 w 804"/>
                      <a:gd name="T13" fmla="*/ 425 h 701"/>
                      <a:gd name="T14" fmla="*/ 566 w 804"/>
                      <a:gd name="T15" fmla="*/ 410 h 701"/>
                      <a:gd name="T16" fmla="*/ 676 w 804"/>
                      <a:gd name="T17" fmla="*/ 367 h 701"/>
                      <a:gd name="T18" fmla="*/ 726 w 804"/>
                      <a:gd name="T19" fmla="*/ 299 h 701"/>
                      <a:gd name="T20" fmla="*/ 714 w 804"/>
                      <a:gd name="T21" fmla="*/ 294 h 701"/>
                      <a:gd name="T22" fmla="*/ 746 w 804"/>
                      <a:gd name="T23" fmla="*/ 249 h 701"/>
                      <a:gd name="T24" fmla="*/ 727 w 804"/>
                      <a:gd name="T25" fmla="*/ 206 h 701"/>
                      <a:gd name="T26" fmla="*/ 789 w 804"/>
                      <a:gd name="T27" fmla="*/ 138 h 701"/>
                      <a:gd name="T28" fmla="*/ 801 w 804"/>
                      <a:gd name="T29" fmla="*/ 108 h 701"/>
                      <a:gd name="T30" fmla="*/ 762 w 804"/>
                      <a:gd name="T31" fmla="*/ 80 h 701"/>
                      <a:gd name="T32" fmla="*/ 741 w 804"/>
                      <a:gd name="T33" fmla="*/ 71 h 701"/>
                      <a:gd name="T34" fmla="*/ 701 w 804"/>
                      <a:gd name="T35" fmla="*/ 45 h 701"/>
                      <a:gd name="T36" fmla="*/ 634 w 804"/>
                      <a:gd name="T37" fmla="*/ 13 h 701"/>
                      <a:gd name="T38" fmla="*/ 596 w 804"/>
                      <a:gd name="T39" fmla="*/ 16 h 701"/>
                      <a:gd name="T40" fmla="*/ 603 w 804"/>
                      <a:gd name="T41" fmla="*/ 45 h 701"/>
                      <a:gd name="T42" fmla="*/ 585 w 804"/>
                      <a:gd name="T43" fmla="*/ 85 h 701"/>
                      <a:gd name="T44" fmla="*/ 576 w 804"/>
                      <a:gd name="T45" fmla="*/ 65 h 701"/>
                      <a:gd name="T46" fmla="*/ 518 w 804"/>
                      <a:gd name="T47" fmla="*/ 70 h 701"/>
                      <a:gd name="T48" fmla="*/ 481 w 804"/>
                      <a:gd name="T49" fmla="*/ 55 h 701"/>
                      <a:gd name="T50" fmla="*/ 450 w 804"/>
                      <a:gd name="T51" fmla="*/ 21 h 701"/>
                      <a:gd name="T52" fmla="*/ 395 w 804"/>
                      <a:gd name="T53" fmla="*/ 41 h 701"/>
                      <a:gd name="T54" fmla="*/ 340 w 804"/>
                      <a:gd name="T55" fmla="*/ 16 h 701"/>
                      <a:gd name="T56" fmla="*/ 317 w 804"/>
                      <a:gd name="T57" fmla="*/ 45 h 701"/>
                      <a:gd name="T58" fmla="*/ 287 w 804"/>
                      <a:gd name="T59" fmla="*/ 103 h 701"/>
                      <a:gd name="T60" fmla="*/ 267 w 804"/>
                      <a:gd name="T61" fmla="*/ 134 h 701"/>
                      <a:gd name="T62" fmla="*/ 250 w 804"/>
                      <a:gd name="T63" fmla="*/ 181 h 701"/>
                      <a:gd name="T64" fmla="*/ 216 w 804"/>
                      <a:gd name="T65" fmla="*/ 221 h 701"/>
                      <a:gd name="T66" fmla="*/ 162 w 804"/>
                      <a:gd name="T67" fmla="*/ 227 h 701"/>
                      <a:gd name="T68" fmla="*/ 132 w 804"/>
                      <a:gd name="T69" fmla="*/ 264 h 701"/>
                      <a:gd name="T70" fmla="*/ 118 w 804"/>
                      <a:gd name="T71" fmla="*/ 302 h 701"/>
                      <a:gd name="T72" fmla="*/ 124 w 804"/>
                      <a:gd name="T73" fmla="*/ 360 h 701"/>
                      <a:gd name="T74" fmla="*/ 172 w 804"/>
                      <a:gd name="T75" fmla="*/ 405 h 701"/>
                      <a:gd name="T76" fmla="*/ 128 w 804"/>
                      <a:gd name="T77" fmla="*/ 397 h 701"/>
                      <a:gd name="T78" fmla="*/ 64 w 804"/>
                      <a:gd name="T79" fmla="*/ 367 h 701"/>
                      <a:gd name="T80" fmla="*/ 71 w 804"/>
                      <a:gd name="T81" fmla="*/ 412 h 701"/>
                      <a:gd name="T82" fmla="*/ 101 w 804"/>
                      <a:gd name="T83" fmla="*/ 463 h 701"/>
                      <a:gd name="T84" fmla="*/ 78 w 804"/>
                      <a:gd name="T85" fmla="*/ 570 h 701"/>
                      <a:gd name="T86" fmla="*/ 43 w 804"/>
                      <a:gd name="T87" fmla="*/ 623 h 701"/>
                      <a:gd name="T88" fmla="*/ 3 w 804"/>
                      <a:gd name="T89" fmla="*/ 666 h 701"/>
                      <a:gd name="T90" fmla="*/ 51 w 804"/>
                      <a:gd name="T91" fmla="*/ 681 h 701"/>
                      <a:gd name="T92" fmla="*/ 96 w 804"/>
                      <a:gd name="T93" fmla="*/ 664 h 701"/>
                      <a:gd name="T94" fmla="*/ 123 w 804"/>
                      <a:gd name="T95" fmla="*/ 659 h 701"/>
                      <a:gd name="T96" fmla="*/ 124 w 804"/>
                      <a:gd name="T97" fmla="*/ 628 h 701"/>
                      <a:gd name="T98" fmla="*/ 147 w 804"/>
                      <a:gd name="T99" fmla="*/ 596 h 701"/>
                      <a:gd name="T100" fmla="*/ 179 w 804"/>
                      <a:gd name="T101" fmla="*/ 626 h 701"/>
                      <a:gd name="T102" fmla="*/ 226 w 804"/>
                      <a:gd name="T103" fmla="*/ 616 h 701"/>
                      <a:gd name="T104" fmla="*/ 226 w 804"/>
                      <a:gd name="T105" fmla="*/ 570 h 701"/>
                      <a:gd name="T106" fmla="*/ 270 w 804"/>
                      <a:gd name="T107" fmla="*/ 547 h 701"/>
                      <a:gd name="T108" fmla="*/ 262 w 804"/>
                      <a:gd name="T109" fmla="*/ 523 h 701"/>
                      <a:gd name="T110" fmla="*/ 294 w 804"/>
                      <a:gd name="T111" fmla="*/ 512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04" h="701">
                        <a:moveTo>
                          <a:pt x="299" y="502"/>
                        </a:moveTo>
                        <a:lnTo>
                          <a:pt x="305" y="518"/>
                        </a:lnTo>
                        <a:lnTo>
                          <a:pt x="314" y="532"/>
                        </a:lnTo>
                        <a:lnTo>
                          <a:pt x="319" y="540"/>
                        </a:lnTo>
                        <a:lnTo>
                          <a:pt x="319" y="533"/>
                        </a:lnTo>
                        <a:lnTo>
                          <a:pt x="315" y="527"/>
                        </a:lnTo>
                        <a:lnTo>
                          <a:pt x="320" y="522"/>
                        </a:lnTo>
                        <a:lnTo>
                          <a:pt x="324" y="530"/>
                        </a:lnTo>
                        <a:lnTo>
                          <a:pt x="327" y="537"/>
                        </a:lnTo>
                        <a:lnTo>
                          <a:pt x="332" y="545"/>
                        </a:lnTo>
                        <a:lnTo>
                          <a:pt x="337" y="551"/>
                        </a:lnTo>
                        <a:lnTo>
                          <a:pt x="345" y="550"/>
                        </a:lnTo>
                        <a:lnTo>
                          <a:pt x="355" y="551"/>
                        </a:lnTo>
                        <a:lnTo>
                          <a:pt x="367" y="560"/>
                        </a:lnTo>
                        <a:lnTo>
                          <a:pt x="375" y="556"/>
                        </a:lnTo>
                        <a:lnTo>
                          <a:pt x="390" y="556"/>
                        </a:lnTo>
                        <a:lnTo>
                          <a:pt x="395" y="550"/>
                        </a:lnTo>
                        <a:lnTo>
                          <a:pt x="393" y="547"/>
                        </a:lnTo>
                        <a:lnTo>
                          <a:pt x="395" y="542"/>
                        </a:lnTo>
                        <a:lnTo>
                          <a:pt x="398" y="537"/>
                        </a:lnTo>
                        <a:lnTo>
                          <a:pt x="410" y="537"/>
                        </a:lnTo>
                        <a:lnTo>
                          <a:pt x="408" y="528"/>
                        </a:lnTo>
                        <a:lnTo>
                          <a:pt x="407" y="523"/>
                        </a:lnTo>
                        <a:lnTo>
                          <a:pt x="412" y="520"/>
                        </a:lnTo>
                        <a:lnTo>
                          <a:pt x="423" y="515"/>
                        </a:lnTo>
                        <a:lnTo>
                          <a:pt x="435" y="512"/>
                        </a:lnTo>
                        <a:lnTo>
                          <a:pt x="438" y="508"/>
                        </a:lnTo>
                        <a:lnTo>
                          <a:pt x="432" y="503"/>
                        </a:lnTo>
                        <a:lnTo>
                          <a:pt x="440" y="502"/>
                        </a:lnTo>
                        <a:lnTo>
                          <a:pt x="455" y="497"/>
                        </a:lnTo>
                        <a:lnTo>
                          <a:pt x="468" y="487"/>
                        </a:lnTo>
                        <a:lnTo>
                          <a:pt x="475" y="477"/>
                        </a:lnTo>
                        <a:lnTo>
                          <a:pt x="501" y="457"/>
                        </a:lnTo>
                        <a:lnTo>
                          <a:pt x="528" y="439"/>
                        </a:lnTo>
                        <a:lnTo>
                          <a:pt x="548" y="425"/>
                        </a:lnTo>
                        <a:lnTo>
                          <a:pt x="560" y="422"/>
                        </a:lnTo>
                        <a:lnTo>
                          <a:pt x="563" y="417"/>
                        </a:lnTo>
                        <a:lnTo>
                          <a:pt x="550" y="417"/>
                        </a:lnTo>
                        <a:lnTo>
                          <a:pt x="555" y="414"/>
                        </a:lnTo>
                        <a:lnTo>
                          <a:pt x="566" y="410"/>
                        </a:lnTo>
                        <a:lnTo>
                          <a:pt x="583" y="404"/>
                        </a:lnTo>
                        <a:lnTo>
                          <a:pt x="606" y="400"/>
                        </a:lnTo>
                        <a:lnTo>
                          <a:pt x="628" y="389"/>
                        </a:lnTo>
                        <a:lnTo>
                          <a:pt x="663" y="375"/>
                        </a:lnTo>
                        <a:lnTo>
                          <a:pt x="676" y="367"/>
                        </a:lnTo>
                        <a:lnTo>
                          <a:pt x="676" y="360"/>
                        </a:lnTo>
                        <a:lnTo>
                          <a:pt x="688" y="342"/>
                        </a:lnTo>
                        <a:lnTo>
                          <a:pt x="707" y="327"/>
                        </a:lnTo>
                        <a:lnTo>
                          <a:pt x="724" y="314"/>
                        </a:lnTo>
                        <a:lnTo>
                          <a:pt x="726" y="299"/>
                        </a:lnTo>
                        <a:lnTo>
                          <a:pt x="724" y="291"/>
                        </a:lnTo>
                        <a:lnTo>
                          <a:pt x="721" y="294"/>
                        </a:lnTo>
                        <a:lnTo>
                          <a:pt x="721" y="304"/>
                        </a:lnTo>
                        <a:lnTo>
                          <a:pt x="716" y="306"/>
                        </a:lnTo>
                        <a:lnTo>
                          <a:pt x="714" y="294"/>
                        </a:lnTo>
                        <a:lnTo>
                          <a:pt x="729" y="279"/>
                        </a:lnTo>
                        <a:lnTo>
                          <a:pt x="746" y="266"/>
                        </a:lnTo>
                        <a:lnTo>
                          <a:pt x="751" y="259"/>
                        </a:lnTo>
                        <a:lnTo>
                          <a:pt x="751" y="254"/>
                        </a:lnTo>
                        <a:lnTo>
                          <a:pt x="746" y="249"/>
                        </a:lnTo>
                        <a:lnTo>
                          <a:pt x="737" y="249"/>
                        </a:lnTo>
                        <a:lnTo>
                          <a:pt x="742" y="247"/>
                        </a:lnTo>
                        <a:lnTo>
                          <a:pt x="747" y="241"/>
                        </a:lnTo>
                        <a:lnTo>
                          <a:pt x="736" y="224"/>
                        </a:lnTo>
                        <a:lnTo>
                          <a:pt x="727" y="206"/>
                        </a:lnTo>
                        <a:lnTo>
                          <a:pt x="722" y="198"/>
                        </a:lnTo>
                        <a:lnTo>
                          <a:pt x="724" y="183"/>
                        </a:lnTo>
                        <a:lnTo>
                          <a:pt x="747" y="153"/>
                        </a:lnTo>
                        <a:lnTo>
                          <a:pt x="767" y="138"/>
                        </a:lnTo>
                        <a:lnTo>
                          <a:pt x="789" y="138"/>
                        </a:lnTo>
                        <a:lnTo>
                          <a:pt x="792" y="133"/>
                        </a:lnTo>
                        <a:lnTo>
                          <a:pt x="797" y="133"/>
                        </a:lnTo>
                        <a:lnTo>
                          <a:pt x="804" y="126"/>
                        </a:lnTo>
                        <a:lnTo>
                          <a:pt x="801" y="113"/>
                        </a:lnTo>
                        <a:lnTo>
                          <a:pt x="801" y="108"/>
                        </a:lnTo>
                        <a:lnTo>
                          <a:pt x="796" y="105"/>
                        </a:lnTo>
                        <a:lnTo>
                          <a:pt x="779" y="100"/>
                        </a:lnTo>
                        <a:lnTo>
                          <a:pt x="772" y="93"/>
                        </a:lnTo>
                        <a:lnTo>
                          <a:pt x="771" y="80"/>
                        </a:lnTo>
                        <a:lnTo>
                          <a:pt x="762" y="80"/>
                        </a:lnTo>
                        <a:lnTo>
                          <a:pt x="761" y="86"/>
                        </a:lnTo>
                        <a:lnTo>
                          <a:pt x="752" y="88"/>
                        </a:lnTo>
                        <a:lnTo>
                          <a:pt x="751" y="95"/>
                        </a:lnTo>
                        <a:lnTo>
                          <a:pt x="742" y="90"/>
                        </a:lnTo>
                        <a:lnTo>
                          <a:pt x="741" y="71"/>
                        </a:lnTo>
                        <a:lnTo>
                          <a:pt x="736" y="63"/>
                        </a:lnTo>
                        <a:lnTo>
                          <a:pt x="721" y="61"/>
                        </a:lnTo>
                        <a:lnTo>
                          <a:pt x="709" y="53"/>
                        </a:lnTo>
                        <a:lnTo>
                          <a:pt x="702" y="58"/>
                        </a:lnTo>
                        <a:lnTo>
                          <a:pt x="701" y="45"/>
                        </a:lnTo>
                        <a:lnTo>
                          <a:pt x="684" y="35"/>
                        </a:lnTo>
                        <a:lnTo>
                          <a:pt x="669" y="28"/>
                        </a:lnTo>
                        <a:lnTo>
                          <a:pt x="658" y="35"/>
                        </a:lnTo>
                        <a:lnTo>
                          <a:pt x="641" y="18"/>
                        </a:lnTo>
                        <a:lnTo>
                          <a:pt x="634" y="13"/>
                        </a:lnTo>
                        <a:lnTo>
                          <a:pt x="624" y="11"/>
                        </a:lnTo>
                        <a:lnTo>
                          <a:pt x="606" y="0"/>
                        </a:lnTo>
                        <a:lnTo>
                          <a:pt x="606" y="5"/>
                        </a:lnTo>
                        <a:lnTo>
                          <a:pt x="598" y="8"/>
                        </a:lnTo>
                        <a:lnTo>
                          <a:pt x="596" y="16"/>
                        </a:lnTo>
                        <a:lnTo>
                          <a:pt x="609" y="21"/>
                        </a:lnTo>
                        <a:lnTo>
                          <a:pt x="609" y="30"/>
                        </a:lnTo>
                        <a:lnTo>
                          <a:pt x="603" y="35"/>
                        </a:lnTo>
                        <a:lnTo>
                          <a:pt x="608" y="40"/>
                        </a:lnTo>
                        <a:lnTo>
                          <a:pt x="603" y="45"/>
                        </a:lnTo>
                        <a:lnTo>
                          <a:pt x="611" y="55"/>
                        </a:lnTo>
                        <a:lnTo>
                          <a:pt x="606" y="68"/>
                        </a:lnTo>
                        <a:lnTo>
                          <a:pt x="604" y="75"/>
                        </a:lnTo>
                        <a:lnTo>
                          <a:pt x="593" y="85"/>
                        </a:lnTo>
                        <a:lnTo>
                          <a:pt x="585" y="85"/>
                        </a:lnTo>
                        <a:lnTo>
                          <a:pt x="580" y="86"/>
                        </a:lnTo>
                        <a:lnTo>
                          <a:pt x="575" y="81"/>
                        </a:lnTo>
                        <a:lnTo>
                          <a:pt x="581" y="78"/>
                        </a:lnTo>
                        <a:lnTo>
                          <a:pt x="583" y="66"/>
                        </a:lnTo>
                        <a:lnTo>
                          <a:pt x="576" y="65"/>
                        </a:lnTo>
                        <a:lnTo>
                          <a:pt x="575" y="71"/>
                        </a:lnTo>
                        <a:lnTo>
                          <a:pt x="548" y="73"/>
                        </a:lnTo>
                        <a:lnTo>
                          <a:pt x="533" y="63"/>
                        </a:lnTo>
                        <a:lnTo>
                          <a:pt x="518" y="61"/>
                        </a:lnTo>
                        <a:lnTo>
                          <a:pt x="518" y="70"/>
                        </a:lnTo>
                        <a:lnTo>
                          <a:pt x="506" y="85"/>
                        </a:lnTo>
                        <a:lnTo>
                          <a:pt x="481" y="75"/>
                        </a:lnTo>
                        <a:lnTo>
                          <a:pt x="473" y="76"/>
                        </a:lnTo>
                        <a:lnTo>
                          <a:pt x="468" y="71"/>
                        </a:lnTo>
                        <a:lnTo>
                          <a:pt x="481" y="55"/>
                        </a:lnTo>
                        <a:lnTo>
                          <a:pt x="485" y="50"/>
                        </a:lnTo>
                        <a:lnTo>
                          <a:pt x="480" y="18"/>
                        </a:lnTo>
                        <a:lnTo>
                          <a:pt x="463" y="18"/>
                        </a:lnTo>
                        <a:lnTo>
                          <a:pt x="458" y="26"/>
                        </a:lnTo>
                        <a:lnTo>
                          <a:pt x="450" y="21"/>
                        </a:lnTo>
                        <a:lnTo>
                          <a:pt x="438" y="26"/>
                        </a:lnTo>
                        <a:lnTo>
                          <a:pt x="422" y="26"/>
                        </a:lnTo>
                        <a:lnTo>
                          <a:pt x="405" y="28"/>
                        </a:lnTo>
                        <a:lnTo>
                          <a:pt x="397" y="35"/>
                        </a:lnTo>
                        <a:lnTo>
                          <a:pt x="395" y="41"/>
                        </a:lnTo>
                        <a:lnTo>
                          <a:pt x="378" y="41"/>
                        </a:lnTo>
                        <a:lnTo>
                          <a:pt x="372" y="35"/>
                        </a:lnTo>
                        <a:lnTo>
                          <a:pt x="365" y="35"/>
                        </a:lnTo>
                        <a:lnTo>
                          <a:pt x="347" y="16"/>
                        </a:lnTo>
                        <a:lnTo>
                          <a:pt x="340" y="16"/>
                        </a:lnTo>
                        <a:lnTo>
                          <a:pt x="344" y="26"/>
                        </a:lnTo>
                        <a:lnTo>
                          <a:pt x="344" y="33"/>
                        </a:lnTo>
                        <a:lnTo>
                          <a:pt x="340" y="40"/>
                        </a:lnTo>
                        <a:lnTo>
                          <a:pt x="327" y="46"/>
                        </a:lnTo>
                        <a:lnTo>
                          <a:pt x="317" y="45"/>
                        </a:lnTo>
                        <a:lnTo>
                          <a:pt x="304" y="60"/>
                        </a:lnTo>
                        <a:lnTo>
                          <a:pt x="289" y="66"/>
                        </a:lnTo>
                        <a:lnTo>
                          <a:pt x="280" y="78"/>
                        </a:lnTo>
                        <a:lnTo>
                          <a:pt x="275" y="93"/>
                        </a:lnTo>
                        <a:lnTo>
                          <a:pt x="287" y="103"/>
                        </a:lnTo>
                        <a:lnTo>
                          <a:pt x="287" y="116"/>
                        </a:lnTo>
                        <a:lnTo>
                          <a:pt x="277" y="121"/>
                        </a:lnTo>
                        <a:lnTo>
                          <a:pt x="270" y="118"/>
                        </a:lnTo>
                        <a:lnTo>
                          <a:pt x="267" y="123"/>
                        </a:lnTo>
                        <a:lnTo>
                          <a:pt x="267" y="134"/>
                        </a:lnTo>
                        <a:lnTo>
                          <a:pt x="255" y="156"/>
                        </a:lnTo>
                        <a:lnTo>
                          <a:pt x="252" y="169"/>
                        </a:lnTo>
                        <a:lnTo>
                          <a:pt x="260" y="181"/>
                        </a:lnTo>
                        <a:lnTo>
                          <a:pt x="257" y="186"/>
                        </a:lnTo>
                        <a:lnTo>
                          <a:pt x="250" y="181"/>
                        </a:lnTo>
                        <a:lnTo>
                          <a:pt x="241" y="183"/>
                        </a:lnTo>
                        <a:lnTo>
                          <a:pt x="242" y="194"/>
                        </a:lnTo>
                        <a:lnTo>
                          <a:pt x="232" y="203"/>
                        </a:lnTo>
                        <a:lnTo>
                          <a:pt x="231" y="218"/>
                        </a:lnTo>
                        <a:lnTo>
                          <a:pt x="216" y="221"/>
                        </a:lnTo>
                        <a:lnTo>
                          <a:pt x="196" y="209"/>
                        </a:lnTo>
                        <a:lnTo>
                          <a:pt x="186" y="216"/>
                        </a:lnTo>
                        <a:lnTo>
                          <a:pt x="161" y="213"/>
                        </a:lnTo>
                        <a:lnTo>
                          <a:pt x="159" y="223"/>
                        </a:lnTo>
                        <a:lnTo>
                          <a:pt x="162" y="227"/>
                        </a:lnTo>
                        <a:lnTo>
                          <a:pt x="152" y="234"/>
                        </a:lnTo>
                        <a:lnTo>
                          <a:pt x="142" y="242"/>
                        </a:lnTo>
                        <a:lnTo>
                          <a:pt x="147" y="249"/>
                        </a:lnTo>
                        <a:lnTo>
                          <a:pt x="141" y="259"/>
                        </a:lnTo>
                        <a:lnTo>
                          <a:pt x="132" y="264"/>
                        </a:lnTo>
                        <a:lnTo>
                          <a:pt x="119" y="259"/>
                        </a:lnTo>
                        <a:lnTo>
                          <a:pt x="116" y="272"/>
                        </a:lnTo>
                        <a:lnTo>
                          <a:pt x="124" y="284"/>
                        </a:lnTo>
                        <a:lnTo>
                          <a:pt x="123" y="296"/>
                        </a:lnTo>
                        <a:lnTo>
                          <a:pt x="118" y="302"/>
                        </a:lnTo>
                        <a:lnTo>
                          <a:pt x="118" y="309"/>
                        </a:lnTo>
                        <a:lnTo>
                          <a:pt x="131" y="319"/>
                        </a:lnTo>
                        <a:lnTo>
                          <a:pt x="126" y="332"/>
                        </a:lnTo>
                        <a:lnTo>
                          <a:pt x="132" y="340"/>
                        </a:lnTo>
                        <a:lnTo>
                          <a:pt x="124" y="360"/>
                        </a:lnTo>
                        <a:lnTo>
                          <a:pt x="131" y="377"/>
                        </a:lnTo>
                        <a:lnTo>
                          <a:pt x="144" y="380"/>
                        </a:lnTo>
                        <a:lnTo>
                          <a:pt x="157" y="384"/>
                        </a:lnTo>
                        <a:lnTo>
                          <a:pt x="176" y="384"/>
                        </a:lnTo>
                        <a:lnTo>
                          <a:pt x="172" y="405"/>
                        </a:lnTo>
                        <a:lnTo>
                          <a:pt x="167" y="415"/>
                        </a:lnTo>
                        <a:lnTo>
                          <a:pt x="157" y="415"/>
                        </a:lnTo>
                        <a:lnTo>
                          <a:pt x="157" y="402"/>
                        </a:lnTo>
                        <a:lnTo>
                          <a:pt x="144" y="397"/>
                        </a:lnTo>
                        <a:lnTo>
                          <a:pt x="128" y="397"/>
                        </a:lnTo>
                        <a:lnTo>
                          <a:pt x="121" y="405"/>
                        </a:lnTo>
                        <a:lnTo>
                          <a:pt x="114" y="397"/>
                        </a:lnTo>
                        <a:lnTo>
                          <a:pt x="114" y="384"/>
                        </a:lnTo>
                        <a:lnTo>
                          <a:pt x="93" y="380"/>
                        </a:lnTo>
                        <a:lnTo>
                          <a:pt x="64" y="367"/>
                        </a:lnTo>
                        <a:lnTo>
                          <a:pt x="58" y="380"/>
                        </a:lnTo>
                        <a:lnTo>
                          <a:pt x="54" y="395"/>
                        </a:lnTo>
                        <a:lnTo>
                          <a:pt x="58" y="402"/>
                        </a:lnTo>
                        <a:lnTo>
                          <a:pt x="69" y="400"/>
                        </a:lnTo>
                        <a:lnTo>
                          <a:pt x="71" y="412"/>
                        </a:lnTo>
                        <a:lnTo>
                          <a:pt x="81" y="412"/>
                        </a:lnTo>
                        <a:lnTo>
                          <a:pt x="81" y="448"/>
                        </a:lnTo>
                        <a:lnTo>
                          <a:pt x="86" y="450"/>
                        </a:lnTo>
                        <a:lnTo>
                          <a:pt x="91" y="463"/>
                        </a:lnTo>
                        <a:lnTo>
                          <a:pt x="101" y="463"/>
                        </a:lnTo>
                        <a:lnTo>
                          <a:pt x="98" y="502"/>
                        </a:lnTo>
                        <a:lnTo>
                          <a:pt x="111" y="532"/>
                        </a:lnTo>
                        <a:lnTo>
                          <a:pt x="99" y="550"/>
                        </a:lnTo>
                        <a:lnTo>
                          <a:pt x="89" y="568"/>
                        </a:lnTo>
                        <a:lnTo>
                          <a:pt x="78" y="570"/>
                        </a:lnTo>
                        <a:lnTo>
                          <a:pt x="63" y="580"/>
                        </a:lnTo>
                        <a:lnTo>
                          <a:pt x="78" y="588"/>
                        </a:lnTo>
                        <a:lnTo>
                          <a:pt x="64" y="593"/>
                        </a:lnTo>
                        <a:lnTo>
                          <a:pt x="44" y="618"/>
                        </a:lnTo>
                        <a:lnTo>
                          <a:pt x="43" y="623"/>
                        </a:lnTo>
                        <a:lnTo>
                          <a:pt x="18" y="626"/>
                        </a:lnTo>
                        <a:lnTo>
                          <a:pt x="15" y="636"/>
                        </a:lnTo>
                        <a:lnTo>
                          <a:pt x="16" y="646"/>
                        </a:lnTo>
                        <a:lnTo>
                          <a:pt x="16" y="661"/>
                        </a:lnTo>
                        <a:lnTo>
                          <a:pt x="3" y="666"/>
                        </a:lnTo>
                        <a:lnTo>
                          <a:pt x="1" y="691"/>
                        </a:lnTo>
                        <a:lnTo>
                          <a:pt x="0" y="701"/>
                        </a:lnTo>
                        <a:lnTo>
                          <a:pt x="19" y="698"/>
                        </a:lnTo>
                        <a:lnTo>
                          <a:pt x="39" y="689"/>
                        </a:lnTo>
                        <a:lnTo>
                          <a:pt x="51" y="681"/>
                        </a:lnTo>
                        <a:lnTo>
                          <a:pt x="63" y="681"/>
                        </a:lnTo>
                        <a:lnTo>
                          <a:pt x="68" y="674"/>
                        </a:lnTo>
                        <a:lnTo>
                          <a:pt x="73" y="678"/>
                        </a:lnTo>
                        <a:lnTo>
                          <a:pt x="84" y="666"/>
                        </a:lnTo>
                        <a:lnTo>
                          <a:pt x="96" y="664"/>
                        </a:lnTo>
                        <a:lnTo>
                          <a:pt x="108" y="673"/>
                        </a:lnTo>
                        <a:lnTo>
                          <a:pt x="113" y="673"/>
                        </a:lnTo>
                        <a:lnTo>
                          <a:pt x="114" y="664"/>
                        </a:lnTo>
                        <a:lnTo>
                          <a:pt x="123" y="669"/>
                        </a:lnTo>
                        <a:lnTo>
                          <a:pt x="123" y="659"/>
                        </a:lnTo>
                        <a:lnTo>
                          <a:pt x="126" y="651"/>
                        </a:lnTo>
                        <a:lnTo>
                          <a:pt x="123" y="643"/>
                        </a:lnTo>
                        <a:lnTo>
                          <a:pt x="124" y="635"/>
                        </a:lnTo>
                        <a:lnTo>
                          <a:pt x="131" y="633"/>
                        </a:lnTo>
                        <a:lnTo>
                          <a:pt x="124" y="628"/>
                        </a:lnTo>
                        <a:lnTo>
                          <a:pt x="121" y="616"/>
                        </a:lnTo>
                        <a:lnTo>
                          <a:pt x="123" y="605"/>
                        </a:lnTo>
                        <a:lnTo>
                          <a:pt x="132" y="596"/>
                        </a:lnTo>
                        <a:lnTo>
                          <a:pt x="141" y="593"/>
                        </a:lnTo>
                        <a:lnTo>
                          <a:pt x="147" y="596"/>
                        </a:lnTo>
                        <a:lnTo>
                          <a:pt x="151" y="613"/>
                        </a:lnTo>
                        <a:lnTo>
                          <a:pt x="157" y="628"/>
                        </a:lnTo>
                        <a:lnTo>
                          <a:pt x="162" y="638"/>
                        </a:lnTo>
                        <a:lnTo>
                          <a:pt x="169" y="633"/>
                        </a:lnTo>
                        <a:lnTo>
                          <a:pt x="179" y="626"/>
                        </a:lnTo>
                        <a:lnTo>
                          <a:pt x="189" y="621"/>
                        </a:lnTo>
                        <a:lnTo>
                          <a:pt x="186" y="611"/>
                        </a:lnTo>
                        <a:lnTo>
                          <a:pt x="194" y="610"/>
                        </a:lnTo>
                        <a:lnTo>
                          <a:pt x="206" y="620"/>
                        </a:lnTo>
                        <a:lnTo>
                          <a:pt x="226" y="616"/>
                        </a:lnTo>
                        <a:lnTo>
                          <a:pt x="219" y="608"/>
                        </a:lnTo>
                        <a:lnTo>
                          <a:pt x="224" y="600"/>
                        </a:lnTo>
                        <a:lnTo>
                          <a:pt x="221" y="586"/>
                        </a:lnTo>
                        <a:lnTo>
                          <a:pt x="212" y="588"/>
                        </a:lnTo>
                        <a:lnTo>
                          <a:pt x="226" y="570"/>
                        </a:lnTo>
                        <a:lnTo>
                          <a:pt x="234" y="560"/>
                        </a:lnTo>
                        <a:lnTo>
                          <a:pt x="242" y="560"/>
                        </a:lnTo>
                        <a:lnTo>
                          <a:pt x="245" y="565"/>
                        </a:lnTo>
                        <a:lnTo>
                          <a:pt x="259" y="553"/>
                        </a:lnTo>
                        <a:lnTo>
                          <a:pt x="270" y="547"/>
                        </a:lnTo>
                        <a:lnTo>
                          <a:pt x="265" y="538"/>
                        </a:lnTo>
                        <a:lnTo>
                          <a:pt x="262" y="533"/>
                        </a:lnTo>
                        <a:lnTo>
                          <a:pt x="257" y="537"/>
                        </a:lnTo>
                        <a:lnTo>
                          <a:pt x="257" y="530"/>
                        </a:lnTo>
                        <a:lnTo>
                          <a:pt x="262" y="523"/>
                        </a:lnTo>
                        <a:lnTo>
                          <a:pt x="270" y="528"/>
                        </a:lnTo>
                        <a:lnTo>
                          <a:pt x="275" y="530"/>
                        </a:lnTo>
                        <a:lnTo>
                          <a:pt x="277" y="518"/>
                        </a:lnTo>
                        <a:lnTo>
                          <a:pt x="285" y="518"/>
                        </a:lnTo>
                        <a:lnTo>
                          <a:pt x="294" y="512"/>
                        </a:lnTo>
                        <a:lnTo>
                          <a:pt x="299" y="502"/>
                        </a:lnTo>
                        <a:lnTo>
                          <a:pt x="299" y="502"/>
                        </a:lnTo>
                        <a:lnTo>
                          <a:pt x="299" y="502"/>
                        </a:lnTo>
                        <a:close/>
                      </a:path>
                    </a:pathLst>
                  </a:custGeom>
                  <a:solidFill>
                    <a:srgbClr val="77B8E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a:latin typeface="Proxima Nova A" panose="02000506030000020004" pitchFamily="2" charset="0"/>
                    </a:endParaRPr>
                  </a:p>
                </p:txBody>
              </p:sp>
              <p:sp>
                <p:nvSpPr>
                  <p:cNvPr id="170" name="Freeform 1152">
                    <a:extLst>
                      <a:ext uri="{FF2B5EF4-FFF2-40B4-BE49-F238E27FC236}">
                        <a16:creationId xmlns:a16="http://schemas.microsoft.com/office/drawing/2014/main" id="{73D88815-96A5-4E9D-82A2-2139101F790D}"/>
                      </a:ext>
                    </a:extLst>
                  </p:cNvPr>
                  <p:cNvSpPr>
                    <a:spLocks/>
                  </p:cNvSpPr>
                  <p:nvPr/>
                </p:nvSpPr>
                <p:spPr bwMode="auto">
                  <a:xfrm>
                    <a:off x="3785974" y="4144909"/>
                    <a:ext cx="856994" cy="832154"/>
                  </a:xfrm>
                  <a:custGeom>
                    <a:avLst/>
                    <a:gdLst>
                      <a:gd name="T0" fmla="*/ 345 w 621"/>
                      <a:gd name="T1" fmla="*/ 475 h 603"/>
                      <a:gd name="T2" fmla="*/ 377 w 621"/>
                      <a:gd name="T3" fmla="*/ 457 h 603"/>
                      <a:gd name="T4" fmla="*/ 412 w 621"/>
                      <a:gd name="T5" fmla="*/ 435 h 603"/>
                      <a:gd name="T6" fmla="*/ 432 w 621"/>
                      <a:gd name="T7" fmla="*/ 457 h 603"/>
                      <a:gd name="T8" fmla="*/ 458 w 621"/>
                      <a:gd name="T9" fmla="*/ 450 h 603"/>
                      <a:gd name="T10" fmla="*/ 432 w 621"/>
                      <a:gd name="T11" fmla="*/ 443 h 603"/>
                      <a:gd name="T12" fmla="*/ 447 w 621"/>
                      <a:gd name="T13" fmla="*/ 417 h 603"/>
                      <a:gd name="T14" fmla="*/ 480 w 621"/>
                      <a:gd name="T15" fmla="*/ 428 h 603"/>
                      <a:gd name="T16" fmla="*/ 511 w 621"/>
                      <a:gd name="T17" fmla="*/ 405 h 603"/>
                      <a:gd name="T18" fmla="*/ 543 w 621"/>
                      <a:gd name="T19" fmla="*/ 388 h 603"/>
                      <a:gd name="T20" fmla="*/ 585 w 621"/>
                      <a:gd name="T21" fmla="*/ 373 h 603"/>
                      <a:gd name="T22" fmla="*/ 599 w 621"/>
                      <a:gd name="T23" fmla="*/ 325 h 603"/>
                      <a:gd name="T24" fmla="*/ 609 w 621"/>
                      <a:gd name="T25" fmla="*/ 289 h 603"/>
                      <a:gd name="T26" fmla="*/ 551 w 621"/>
                      <a:gd name="T27" fmla="*/ 305 h 603"/>
                      <a:gd name="T28" fmla="*/ 513 w 621"/>
                      <a:gd name="T29" fmla="*/ 310 h 603"/>
                      <a:gd name="T30" fmla="*/ 503 w 621"/>
                      <a:gd name="T31" fmla="*/ 267 h 603"/>
                      <a:gd name="T32" fmla="*/ 488 w 621"/>
                      <a:gd name="T33" fmla="*/ 254 h 603"/>
                      <a:gd name="T34" fmla="*/ 480 w 621"/>
                      <a:gd name="T35" fmla="*/ 256 h 603"/>
                      <a:gd name="T36" fmla="*/ 471 w 621"/>
                      <a:gd name="T37" fmla="*/ 219 h 603"/>
                      <a:gd name="T38" fmla="*/ 413 w 621"/>
                      <a:gd name="T39" fmla="*/ 189 h 603"/>
                      <a:gd name="T40" fmla="*/ 358 w 621"/>
                      <a:gd name="T41" fmla="*/ 167 h 603"/>
                      <a:gd name="T42" fmla="*/ 352 w 621"/>
                      <a:gd name="T43" fmla="*/ 118 h 603"/>
                      <a:gd name="T44" fmla="*/ 363 w 621"/>
                      <a:gd name="T45" fmla="*/ 66 h 603"/>
                      <a:gd name="T46" fmla="*/ 319 w 621"/>
                      <a:gd name="T47" fmla="*/ 54 h 603"/>
                      <a:gd name="T48" fmla="*/ 284 w 621"/>
                      <a:gd name="T49" fmla="*/ 54 h 603"/>
                      <a:gd name="T50" fmla="*/ 264 w 621"/>
                      <a:gd name="T51" fmla="*/ 68 h 603"/>
                      <a:gd name="T52" fmla="*/ 222 w 621"/>
                      <a:gd name="T53" fmla="*/ 54 h 603"/>
                      <a:gd name="T54" fmla="*/ 186 w 621"/>
                      <a:gd name="T55" fmla="*/ 21 h 603"/>
                      <a:gd name="T56" fmla="*/ 141 w 621"/>
                      <a:gd name="T57" fmla="*/ 0 h 603"/>
                      <a:gd name="T58" fmla="*/ 136 w 621"/>
                      <a:gd name="T59" fmla="*/ 31 h 603"/>
                      <a:gd name="T60" fmla="*/ 137 w 621"/>
                      <a:gd name="T61" fmla="*/ 64 h 603"/>
                      <a:gd name="T62" fmla="*/ 114 w 621"/>
                      <a:gd name="T63" fmla="*/ 76 h 603"/>
                      <a:gd name="T64" fmla="*/ 108 w 621"/>
                      <a:gd name="T65" fmla="*/ 99 h 603"/>
                      <a:gd name="T66" fmla="*/ 78 w 621"/>
                      <a:gd name="T67" fmla="*/ 88 h 603"/>
                      <a:gd name="T68" fmla="*/ 76 w 621"/>
                      <a:gd name="T69" fmla="*/ 109 h 603"/>
                      <a:gd name="T70" fmla="*/ 64 w 621"/>
                      <a:gd name="T71" fmla="*/ 133 h 603"/>
                      <a:gd name="T72" fmla="*/ 68 w 621"/>
                      <a:gd name="T73" fmla="*/ 166 h 603"/>
                      <a:gd name="T74" fmla="*/ 48 w 621"/>
                      <a:gd name="T75" fmla="*/ 192 h 603"/>
                      <a:gd name="T76" fmla="*/ 31 w 621"/>
                      <a:gd name="T77" fmla="*/ 216 h 603"/>
                      <a:gd name="T78" fmla="*/ 36 w 621"/>
                      <a:gd name="T79" fmla="*/ 244 h 603"/>
                      <a:gd name="T80" fmla="*/ 34 w 621"/>
                      <a:gd name="T81" fmla="*/ 279 h 603"/>
                      <a:gd name="T82" fmla="*/ 28 w 621"/>
                      <a:gd name="T83" fmla="*/ 302 h 603"/>
                      <a:gd name="T84" fmla="*/ 14 w 621"/>
                      <a:gd name="T85" fmla="*/ 329 h 603"/>
                      <a:gd name="T86" fmla="*/ 43 w 621"/>
                      <a:gd name="T87" fmla="*/ 345 h 603"/>
                      <a:gd name="T88" fmla="*/ 16 w 621"/>
                      <a:gd name="T89" fmla="*/ 380 h 603"/>
                      <a:gd name="T90" fmla="*/ 19 w 621"/>
                      <a:gd name="T91" fmla="*/ 410 h 603"/>
                      <a:gd name="T92" fmla="*/ 14 w 621"/>
                      <a:gd name="T93" fmla="*/ 437 h 603"/>
                      <a:gd name="T94" fmla="*/ 16 w 621"/>
                      <a:gd name="T95" fmla="*/ 468 h 603"/>
                      <a:gd name="T96" fmla="*/ 24 w 621"/>
                      <a:gd name="T97" fmla="*/ 491 h 603"/>
                      <a:gd name="T98" fmla="*/ 0 w 621"/>
                      <a:gd name="T99" fmla="*/ 508 h 603"/>
                      <a:gd name="T100" fmla="*/ 29 w 621"/>
                      <a:gd name="T101" fmla="*/ 515 h 603"/>
                      <a:gd name="T102" fmla="*/ 18 w 621"/>
                      <a:gd name="T103" fmla="*/ 546 h 603"/>
                      <a:gd name="T104" fmla="*/ 39 w 621"/>
                      <a:gd name="T105" fmla="*/ 584 h 603"/>
                      <a:gd name="T106" fmla="*/ 104 w 621"/>
                      <a:gd name="T107" fmla="*/ 603 h 603"/>
                      <a:gd name="T108" fmla="*/ 154 w 621"/>
                      <a:gd name="T109" fmla="*/ 571 h 603"/>
                      <a:gd name="T110" fmla="*/ 222 w 621"/>
                      <a:gd name="T111" fmla="*/ 556 h 603"/>
                      <a:gd name="T112" fmla="*/ 275 w 621"/>
                      <a:gd name="T113" fmla="*/ 520 h 603"/>
                      <a:gd name="T114" fmla="*/ 327 w 621"/>
                      <a:gd name="T115" fmla="*/ 485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21" h="603">
                        <a:moveTo>
                          <a:pt x="327" y="485"/>
                        </a:moveTo>
                        <a:lnTo>
                          <a:pt x="329" y="486"/>
                        </a:lnTo>
                        <a:lnTo>
                          <a:pt x="334" y="480"/>
                        </a:lnTo>
                        <a:lnTo>
                          <a:pt x="345" y="475"/>
                        </a:lnTo>
                        <a:lnTo>
                          <a:pt x="365" y="481"/>
                        </a:lnTo>
                        <a:lnTo>
                          <a:pt x="377" y="480"/>
                        </a:lnTo>
                        <a:lnTo>
                          <a:pt x="382" y="475"/>
                        </a:lnTo>
                        <a:lnTo>
                          <a:pt x="377" y="457"/>
                        </a:lnTo>
                        <a:lnTo>
                          <a:pt x="382" y="443"/>
                        </a:lnTo>
                        <a:lnTo>
                          <a:pt x="393" y="437"/>
                        </a:lnTo>
                        <a:lnTo>
                          <a:pt x="400" y="430"/>
                        </a:lnTo>
                        <a:lnTo>
                          <a:pt x="412" y="435"/>
                        </a:lnTo>
                        <a:lnTo>
                          <a:pt x="412" y="450"/>
                        </a:lnTo>
                        <a:lnTo>
                          <a:pt x="412" y="457"/>
                        </a:lnTo>
                        <a:lnTo>
                          <a:pt x="422" y="457"/>
                        </a:lnTo>
                        <a:lnTo>
                          <a:pt x="432" y="457"/>
                        </a:lnTo>
                        <a:lnTo>
                          <a:pt x="440" y="465"/>
                        </a:lnTo>
                        <a:lnTo>
                          <a:pt x="448" y="465"/>
                        </a:lnTo>
                        <a:lnTo>
                          <a:pt x="458" y="465"/>
                        </a:lnTo>
                        <a:lnTo>
                          <a:pt x="458" y="450"/>
                        </a:lnTo>
                        <a:lnTo>
                          <a:pt x="455" y="450"/>
                        </a:lnTo>
                        <a:lnTo>
                          <a:pt x="442" y="450"/>
                        </a:lnTo>
                        <a:lnTo>
                          <a:pt x="437" y="450"/>
                        </a:lnTo>
                        <a:lnTo>
                          <a:pt x="432" y="443"/>
                        </a:lnTo>
                        <a:lnTo>
                          <a:pt x="430" y="430"/>
                        </a:lnTo>
                        <a:lnTo>
                          <a:pt x="432" y="425"/>
                        </a:lnTo>
                        <a:lnTo>
                          <a:pt x="443" y="425"/>
                        </a:lnTo>
                        <a:lnTo>
                          <a:pt x="447" y="417"/>
                        </a:lnTo>
                        <a:lnTo>
                          <a:pt x="458" y="417"/>
                        </a:lnTo>
                        <a:lnTo>
                          <a:pt x="463" y="417"/>
                        </a:lnTo>
                        <a:lnTo>
                          <a:pt x="463" y="428"/>
                        </a:lnTo>
                        <a:lnTo>
                          <a:pt x="480" y="428"/>
                        </a:lnTo>
                        <a:lnTo>
                          <a:pt x="493" y="428"/>
                        </a:lnTo>
                        <a:lnTo>
                          <a:pt x="500" y="422"/>
                        </a:lnTo>
                        <a:lnTo>
                          <a:pt x="500" y="412"/>
                        </a:lnTo>
                        <a:lnTo>
                          <a:pt x="511" y="405"/>
                        </a:lnTo>
                        <a:lnTo>
                          <a:pt x="521" y="405"/>
                        </a:lnTo>
                        <a:lnTo>
                          <a:pt x="536" y="405"/>
                        </a:lnTo>
                        <a:lnTo>
                          <a:pt x="543" y="397"/>
                        </a:lnTo>
                        <a:lnTo>
                          <a:pt x="543" y="388"/>
                        </a:lnTo>
                        <a:lnTo>
                          <a:pt x="558" y="383"/>
                        </a:lnTo>
                        <a:lnTo>
                          <a:pt x="566" y="380"/>
                        </a:lnTo>
                        <a:lnTo>
                          <a:pt x="576" y="380"/>
                        </a:lnTo>
                        <a:lnTo>
                          <a:pt x="585" y="373"/>
                        </a:lnTo>
                        <a:lnTo>
                          <a:pt x="589" y="367"/>
                        </a:lnTo>
                        <a:lnTo>
                          <a:pt x="589" y="352"/>
                        </a:lnTo>
                        <a:lnTo>
                          <a:pt x="589" y="340"/>
                        </a:lnTo>
                        <a:lnTo>
                          <a:pt x="599" y="325"/>
                        </a:lnTo>
                        <a:lnTo>
                          <a:pt x="609" y="325"/>
                        </a:lnTo>
                        <a:lnTo>
                          <a:pt x="621" y="312"/>
                        </a:lnTo>
                        <a:lnTo>
                          <a:pt x="621" y="302"/>
                        </a:lnTo>
                        <a:lnTo>
                          <a:pt x="609" y="289"/>
                        </a:lnTo>
                        <a:lnTo>
                          <a:pt x="606" y="290"/>
                        </a:lnTo>
                        <a:lnTo>
                          <a:pt x="586" y="299"/>
                        </a:lnTo>
                        <a:lnTo>
                          <a:pt x="566" y="302"/>
                        </a:lnTo>
                        <a:lnTo>
                          <a:pt x="551" y="305"/>
                        </a:lnTo>
                        <a:lnTo>
                          <a:pt x="536" y="300"/>
                        </a:lnTo>
                        <a:lnTo>
                          <a:pt x="528" y="299"/>
                        </a:lnTo>
                        <a:lnTo>
                          <a:pt x="523" y="305"/>
                        </a:lnTo>
                        <a:lnTo>
                          <a:pt x="513" y="310"/>
                        </a:lnTo>
                        <a:lnTo>
                          <a:pt x="508" y="302"/>
                        </a:lnTo>
                        <a:lnTo>
                          <a:pt x="510" y="287"/>
                        </a:lnTo>
                        <a:lnTo>
                          <a:pt x="506" y="279"/>
                        </a:lnTo>
                        <a:lnTo>
                          <a:pt x="503" y="267"/>
                        </a:lnTo>
                        <a:lnTo>
                          <a:pt x="508" y="257"/>
                        </a:lnTo>
                        <a:lnTo>
                          <a:pt x="501" y="256"/>
                        </a:lnTo>
                        <a:lnTo>
                          <a:pt x="491" y="257"/>
                        </a:lnTo>
                        <a:lnTo>
                          <a:pt x="488" y="254"/>
                        </a:lnTo>
                        <a:lnTo>
                          <a:pt x="491" y="249"/>
                        </a:lnTo>
                        <a:lnTo>
                          <a:pt x="491" y="242"/>
                        </a:lnTo>
                        <a:lnTo>
                          <a:pt x="485" y="242"/>
                        </a:lnTo>
                        <a:lnTo>
                          <a:pt x="480" y="256"/>
                        </a:lnTo>
                        <a:lnTo>
                          <a:pt x="475" y="254"/>
                        </a:lnTo>
                        <a:lnTo>
                          <a:pt x="480" y="239"/>
                        </a:lnTo>
                        <a:lnTo>
                          <a:pt x="473" y="234"/>
                        </a:lnTo>
                        <a:lnTo>
                          <a:pt x="471" y="219"/>
                        </a:lnTo>
                        <a:lnTo>
                          <a:pt x="452" y="199"/>
                        </a:lnTo>
                        <a:lnTo>
                          <a:pt x="437" y="187"/>
                        </a:lnTo>
                        <a:lnTo>
                          <a:pt x="430" y="192"/>
                        </a:lnTo>
                        <a:lnTo>
                          <a:pt x="413" y="189"/>
                        </a:lnTo>
                        <a:lnTo>
                          <a:pt x="412" y="177"/>
                        </a:lnTo>
                        <a:lnTo>
                          <a:pt x="403" y="174"/>
                        </a:lnTo>
                        <a:lnTo>
                          <a:pt x="388" y="177"/>
                        </a:lnTo>
                        <a:lnTo>
                          <a:pt x="358" y="167"/>
                        </a:lnTo>
                        <a:lnTo>
                          <a:pt x="363" y="159"/>
                        </a:lnTo>
                        <a:lnTo>
                          <a:pt x="362" y="134"/>
                        </a:lnTo>
                        <a:lnTo>
                          <a:pt x="354" y="129"/>
                        </a:lnTo>
                        <a:lnTo>
                          <a:pt x="352" y="118"/>
                        </a:lnTo>
                        <a:lnTo>
                          <a:pt x="362" y="111"/>
                        </a:lnTo>
                        <a:lnTo>
                          <a:pt x="362" y="103"/>
                        </a:lnTo>
                        <a:lnTo>
                          <a:pt x="367" y="91"/>
                        </a:lnTo>
                        <a:lnTo>
                          <a:pt x="363" y="66"/>
                        </a:lnTo>
                        <a:lnTo>
                          <a:pt x="347" y="58"/>
                        </a:lnTo>
                        <a:lnTo>
                          <a:pt x="345" y="53"/>
                        </a:lnTo>
                        <a:lnTo>
                          <a:pt x="327" y="48"/>
                        </a:lnTo>
                        <a:lnTo>
                          <a:pt x="319" y="54"/>
                        </a:lnTo>
                        <a:lnTo>
                          <a:pt x="314" y="61"/>
                        </a:lnTo>
                        <a:lnTo>
                          <a:pt x="309" y="58"/>
                        </a:lnTo>
                        <a:lnTo>
                          <a:pt x="297" y="63"/>
                        </a:lnTo>
                        <a:lnTo>
                          <a:pt x="284" y="54"/>
                        </a:lnTo>
                        <a:lnTo>
                          <a:pt x="274" y="54"/>
                        </a:lnTo>
                        <a:lnTo>
                          <a:pt x="265" y="48"/>
                        </a:lnTo>
                        <a:lnTo>
                          <a:pt x="264" y="58"/>
                        </a:lnTo>
                        <a:lnTo>
                          <a:pt x="264" y="68"/>
                        </a:lnTo>
                        <a:lnTo>
                          <a:pt x="254" y="68"/>
                        </a:lnTo>
                        <a:lnTo>
                          <a:pt x="247" y="63"/>
                        </a:lnTo>
                        <a:lnTo>
                          <a:pt x="231" y="56"/>
                        </a:lnTo>
                        <a:lnTo>
                          <a:pt x="222" y="54"/>
                        </a:lnTo>
                        <a:lnTo>
                          <a:pt x="216" y="43"/>
                        </a:lnTo>
                        <a:lnTo>
                          <a:pt x="207" y="38"/>
                        </a:lnTo>
                        <a:lnTo>
                          <a:pt x="202" y="23"/>
                        </a:lnTo>
                        <a:lnTo>
                          <a:pt x="186" y="21"/>
                        </a:lnTo>
                        <a:lnTo>
                          <a:pt x="174" y="18"/>
                        </a:lnTo>
                        <a:lnTo>
                          <a:pt x="156" y="20"/>
                        </a:lnTo>
                        <a:lnTo>
                          <a:pt x="151" y="8"/>
                        </a:lnTo>
                        <a:lnTo>
                          <a:pt x="141" y="0"/>
                        </a:lnTo>
                        <a:lnTo>
                          <a:pt x="136" y="5"/>
                        </a:lnTo>
                        <a:lnTo>
                          <a:pt x="137" y="15"/>
                        </a:lnTo>
                        <a:lnTo>
                          <a:pt x="147" y="30"/>
                        </a:lnTo>
                        <a:lnTo>
                          <a:pt x="136" y="31"/>
                        </a:lnTo>
                        <a:lnTo>
                          <a:pt x="134" y="38"/>
                        </a:lnTo>
                        <a:lnTo>
                          <a:pt x="139" y="48"/>
                        </a:lnTo>
                        <a:lnTo>
                          <a:pt x="136" y="58"/>
                        </a:lnTo>
                        <a:lnTo>
                          <a:pt x="137" y="64"/>
                        </a:lnTo>
                        <a:lnTo>
                          <a:pt x="132" y="73"/>
                        </a:lnTo>
                        <a:lnTo>
                          <a:pt x="124" y="74"/>
                        </a:lnTo>
                        <a:lnTo>
                          <a:pt x="118" y="71"/>
                        </a:lnTo>
                        <a:lnTo>
                          <a:pt x="114" y="76"/>
                        </a:lnTo>
                        <a:lnTo>
                          <a:pt x="116" y="84"/>
                        </a:lnTo>
                        <a:lnTo>
                          <a:pt x="121" y="94"/>
                        </a:lnTo>
                        <a:lnTo>
                          <a:pt x="121" y="99"/>
                        </a:lnTo>
                        <a:lnTo>
                          <a:pt x="108" y="99"/>
                        </a:lnTo>
                        <a:lnTo>
                          <a:pt x="96" y="91"/>
                        </a:lnTo>
                        <a:lnTo>
                          <a:pt x="96" y="86"/>
                        </a:lnTo>
                        <a:lnTo>
                          <a:pt x="83" y="86"/>
                        </a:lnTo>
                        <a:lnTo>
                          <a:pt x="78" y="88"/>
                        </a:lnTo>
                        <a:lnTo>
                          <a:pt x="76" y="93"/>
                        </a:lnTo>
                        <a:lnTo>
                          <a:pt x="83" y="98"/>
                        </a:lnTo>
                        <a:lnTo>
                          <a:pt x="73" y="101"/>
                        </a:lnTo>
                        <a:lnTo>
                          <a:pt x="76" y="109"/>
                        </a:lnTo>
                        <a:lnTo>
                          <a:pt x="74" y="114"/>
                        </a:lnTo>
                        <a:lnTo>
                          <a:pt x="68" y="121"/>
                        </a:lnTo>
                        <a:lnTo>
                          <a:pt x="63" y="121"/>
                        </a:lnTo>
                        <a:lnTo>
                          <a:pt x="64" y="133"/>
                        </a:lnTo>
                        <a:lnTo>
                          <a:pt x="73" y="138"/>
                        </a:lnTo>
                        <a:lnTo>
                          <a:pt x="74" y="151"/>
                        </a:lnTo>
                        <a:lnTo>
                          <a:pt x="78" y="157"/>
                        </a:lnTo>
                        <a:lnTo>
                          <a:pt x="68" y="166"/>
                        </a:lnTo>
                        <a:lnTo>
                          <a:pt x="63" y="181"/>
                        </a:lnTo>
                        <a:lnTo>
                          <a:pt x="64" y="192"/>
                        </a:lnTo>
                        <a:lnTo>
                          <a:pt x="56" y="196"/>
                        </a:lnTo>
                        <a:lnTo>
                          <a:pt x="48" y="192"/>
                        </a:lnTo>
                        <a:lnTo>
                          <a:pt x="43" y="192"/>
                        </a:lnTo>
                        <a:lnTo>
                          <a:pt x="34" y="196"/>
                        </a:lnTo>
                        <a:lnTo>
                          <a:pt x="38" y="204"/>
                        </a:lnTo>
                        <a:lnTo>
                          <a:pt x="31" y="216"/>
                        </a:lnTo>
                        <a:lnTo>
                          <a:pt x="28" y="222"/>
                        </a:lnTo>
                        <a:lnTo>
                          <a:pt x="34" y="231"/>
                        </a:lnTo>
                        <a:lnTo>
                          <a:pt x="38" y="236"/>
                        </a:lnTo>
                        <a:lnTo>
                          <a:pt x="36" y="244"/>
                        </a:lnTo>
                        <a:lnTo>
                          <a:pt x="39" y="259"/>
                        </a:lnTo>
                        <a:lnTo>
                          <a:pt x="33" y="265"/>
                        </a:lnTo>
                        <a:lnTo>
                          <a:pt x="28" y="274"/>
                        </a:lnTo>
                        <a:lnTo>
                          <a:pt x="34" y="279"/>
                        </a:lnTo>
                        <a:lnTo>
                          <a:pt x="43" y="275"/>
                        </a:lnTo>
                        <a:lnTo>
                          <a:pt x="48" y="282"/>
                        </a:lnTo>
                        <a:lnTo>
                          <a:pt x="38" y="295"/>
                        </a:lnTo>
                        <a:lnTo>
                          <a:pt x="28" y="302"/>
                        </a:lnTo>
                        <a:lnTo>
                          <a:pt x="24" y="307"/>
                        </a:lnTo>
                        <a:lnTo>
                          <a:pt x="31" y="317"/>
                        </a:lnTo>
                        <a:lnTo>
                          <a:pt x="19" y="320"/>
                        </a:lnTo>
                        <a:lnTo>
                          <a:pt x="14" y="329"/>
                        </a:lnTo>
                        <a:lnTo>
                          <a:pt x="18" y="339"/>
                        </a:lnTo>
                        <a:lnTo>
                          <a:pt x="23" y="342"/>
                        </a:lnTo>
                        <a:lnTo>
                          <a:pt x="38" y="340"/>
                        </a:lnTo>
                        <a:lnTo>
                          <a:pt x="43" y="345"/>
                        </a:lnTo>
                        <a:lnTo>
                          <a:pt x="49" y="349"/>
                        </a:lnTo>
                        <a:lnTo>
                          <a:pt x="36" y="355"/>
                        </a:lnTo>
                        <a:lnTo>
                          <a:pt x="21" y="367"/>
                        </a:lnTo>
                        <a:lnTo>
                          <a:pt x="16" y="380"/>
                        </a:lnTo>
                        <a:lnTo>
                          <a:pt x="5" y="388"/>
                        </a:lnTo>
                        <a:lnTo>
                          <a:pt x="3" y="400"/>
                        </a:lnTo>
                        <a:lnTo>
                          <a:pt x="16" y="403"/>
                        </a:lnTo>
                        <a:lnTo>
                          <a:pt x="19" y="410"/>
                        </a:lnTo>
                        <a:lnTo>
                          <a:pt x="14" y="415"/>
                        </a:lnTo>
                        <a:lnTo>
                          <a:pt x="18" y="420"/>
                        </a:lnTo>
                        <a:lnTo>
                          <a:pt x="16" y="427"/>
                        </a:lnTo>
                        <a:lnTo>
                          <a:pt x="14" y="437"/>
                        </a:lnTo>
                        <a:lnTo>
                          <a:pt x="18" y="450"/>
                        </a:lnTo>
                        <a:lnTo>
                          <a:pt x="11" y="458"/>
                        </a:lnTo>
                        <a:lnTo>
                          <a:pt x="18" y="463"/>
                        </a:lnTo>
                        <a:lnTo>
                          <a:pt x="16" y="468"/>
                        </a:lnTo>
                        <a:lnTo>
                          <a:pt x="10" y="470"/>
                        </a:lnTo>
                        <a:lnTo>
                          <a:pt x="16" y="473"/>
                        </a:lnTo>
                        <a:lnTo>
                          <a:pt x="23" y="485"/>
                        </a:lnTo>
                        <a:lnTo>
                          <a:pt x="24" y="491"/>
                        </a:lnTo>
                        <a:lnTo>
                          <a:pt x="11" y="498"/>
                        </a:lnTo>
                        <a:lnTo>
                          <a:pt x="10" y="503"/>
                        </a:lnTo>
                        <a:lnTo>
                          <a:pt x="13" y="506"/>
                        </a:lnTo>
                        <a:lnTo>
                          <a:pt x="0" y="508"/>
                        </a:lnTo>
                        <a:lnTo>
                          <a:pt x="0" y="516"/>
                        </a:lnTo>
                        <a:lnTo>
                          <a:pt x="10" y="516"/>
                        </a:lnTo>
                        <a:lnTo>
                          <a:pt x="18" y="513"/>
                        </a:lnTo>
                        <a:lnTo>
                          <a:pt x="29" y="515"/>
                        </a:lnTo>
                        <a:lnTo>
                          <a:pt x="34" y="523"/>
                        </a:lnTo>
                        <a:lnTo>
                          <a:pt x="24" y="528"/>
                        </a:lnTo>
                        <a:lnTo>
                          <a:pt x="18" y="538"/>
                        </a:lnTo>
                        <a:lnTo>
                          <a:pt x="18" y="546"/>
                        </a:lnTo>
                        <a:lnTo>
                          <a:pt x="19" y="556"/>
                        </a:lnTo>
                        <a:lnTo>
                          <a:pt x="16" y="566"/>
                        </a:lnTo>
                        <a:lnTo>
                          <a:pt x="19" y="573"/>
                        </a:lnTo>
                        <a:lnTo>
                          <a:pt x="39" y="584"/>
                        </a:lnTo>
                        <a:lnTo>
                          <a:pt x="54" y="603"/>
                        </a:lnTo>
                        <a:lnTo>
                          <a:pt x="64" y="598"/>
                        </a:lnTo>
                        <a:lnTo>
                          <a:pt x="84" y="598"/>
                        </a:lnTo>
                        <a:lnTo>
                          <a:pt x="104" y="603"/>
                        </a:lnTo>
                        <a:lnTo>
                          <a:pt x="118" y="603"/>
                        </a:lnTo>
                        <a:lnTo>
                          <a:pt x="134" y="591"/>
                        </a:lnTo>
                        <a:lnTo>
                          <a:pt x="134" y="578"/>
                        </a:lnTo>
                        <a:lnTo>
                          <a:pt x="154" y="571"/>
                        </a:lnTo>
                        <a:lnTo>
                          <a:pt x="194" y="571"/>
                        </a:lnTo>
                        <a:lnTo>
                          <a:pt x="204" y="581"/>
                        </a:lnTo>
                        <a:lnTo>
                          <a:pt x="217" y="571"/>
                        </a:lnTo>
                        <a:lnTo>
                          <a:pt x="222" y="556"/>
                        </a:lnTo>
                        <a:lnTo>
                          <a:pt x="245" y="548"/>
                        </a:lnTo>
                        <a:lnTo>
                          <a:pt x="269" y="548"/>
                        </a:lnTo>
                        <a:lnTo>
                          <a:pt x="270" y="530"/>
                        </a:lnTo>
                        <a:lnTo>
                          <a:pt x="275" y="520"/>
                        </a:lnTo>
                        <a:lnTo>
                          <a:pt x="275" y="505"/>
                        </a:lnTo>
                        <a:lnTo>
                          <a:pt x="285" y="496"/>
                        </a:lnTo>
                        <a:lnTo>
                          <a:pt x="312" y="491"/>
                        </a:lnTo>
                        <a:lnTo>
                          <a:pt x="327" y="485"/>
                        </a:lnTo>
                        <a:close/>
                      </a:path>
                    </a:pathLst>
                  </a:custGeom>
                  <a:solidFill>
                    <a:srgbClr val="B79F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dirty="0">
                      <a:latin typeface="Proxima Nova A" panose="02000506030000020004" pitchFamily="2" charset="0"/>
                    </a:endParaRPr>
                  </a:p>
                </p:txBody>
              </p:sp>
              <p:sp>
                <p:nvSpPr>
                  <p:cNvPr id="171" name="Freeform 1153">
                    <a:extLst>
                      <a:ext uri="{FF2B5EF4-FFF2-40B4-BE49-F238E27FC236}">
                        <a16:creationId xmlns:a16="http://schemas.microsoft.com/office/drawing/2014/main" id="{1802E75C-D9E7-4A06-98A7-D017D67973B0}"/>
                      </a:ext>
                    </a:extLst>
                  </p:cNvPr>
                  <p:cNvSpPr>
                    <a:spLocks/>
                  </p:cNvSpPr>
                  <p:nvPr/>
                </p:nvSpPr>
                <p:spPr bwMode="auto">
                  <a:xfrm>
                    <a:off x="3663152" y="4266351"/>
                    <a:ext cx="1551146" cy="1338622"/>
                  </a:xfrm>
                  <a:custGeom>
                    <a:avLst/>
                    <a:gdLst>
                      <a:gd name="T0" fmla="*/ 1062 w 1124"/>
                      <a:gd name="T1" fmla="*/ 38 h 970"/>
                      <a:gd name="T2" fmla="*/ 1021 w 1124"/>
                      <a:gd name="T3" fmla="*/ 74 h 970"/>
                      <a:gd name="T4" fmla="*/ 974 w 1124"/>
                      <a:gd name="T5" fmla="*/ 53 h 970"/>
                      <a:gd name="T6" fmla="*/ 918 w 1124"/>
                      <a:gd name="T7" fmla="*/ 38 h 970"/>
                      <a:gd name="T8" fmla="*/ 900 w 1124"/>
                      <a:gd name="T9" fmla="*/ 74 h 970"/>
                      <a:gd name="T10" fmla="*/ 848 w 1124"/>
                      <a:gd name="T11" fmla="*/ 124 h 970"/>
                      <a:gd name="T12" fmla="*/ 785 w 1124"/>
                      <a:gd name="T13" fmla="*/ 111 h 970"/>
                      <a:gd name="T14" fmla="*/ 778 w 1124"/>
                      <a:gd name="T15" fmla="*/ 172 h 970"/>
                      <a:gd name="T16" fmla="*/ 725 w 1124"/>
                      <a:gd name="T17" fmla="*/ 187 h 970"/>
                      <a:gd name="T18" fmla="*/ 678 w 1124"/>
                      <a:gd name="T19" fmla="*/ 252 h 970"/>
                      <a:gd name="T20" fmla="*/ 632 w 1124"/>
                      <a:gd name="T21" fmla="*/ 309 h 970"/>
                      <a:gd name="T22" fmla="*/ 552 w 1124"/>
                      <a:gd name="T23" fmla="*/ 340 h 970"/>
                      <a:gd name="T24" fmla="*/ 526 w 1124"/>
                      <a:gd name="T25" fmla="*/ 362 h 970"/>
                      <a:gd name="T26" fmla="*/ 511 w 1124"/>
                      <a:gd name="T27" fmla="*/ 369 h 970"/>
                      <a:gd name="T28" fmla="*/ 471 w 1124"/>
                      <a:gd name="T29" fmla="*/ 387 h 970"/>
                      <a:gd name="T30" fmla="*/ 374 w 1124"/>
                      <a:gd name="T31" fmla="*/ 408 h 970"/>
                      <a:gd name="T32" fmla="*/ 293 w 1124"/>
                      <a:gd name="T33" fmla="*/ 493 h 970"/>
                      <a:gd name="T34" fmla="*/ 153 w 1124"/>
                      <a:gd name="T35" fmla="*/ 510 h 970"/>
                      <a:gd name="T36" fmla="*/ 42 w 1124"/>
                      <a:gd name="T37" fmla="*/ 500 h 970"/>
                      <a:gd name="T38" fmla="*/ 35 w 1124"/>
                      <a:gd name="T39" fmla="*/ 556 h 970"/>
                      <a:gd name="T40" fmla="*/ 40 w 1124"/>
                      <a:gd name="T41" fmla="*/ 614 h 970"/>
                      <a:gd name="T42" fmla="*/ 5 w 1124"/>
                      <a:gd name="T43" fmla="*/ 626 h 970"/>
                      <a:gd name="T44" fmla="*/ 2 w 1124"/>
                      <a:gd name="T45" fmla="*/ 684 h 970"/>
                      <a:gd name="T46" fmla="*/ 19 w 1124"/>
                      <a:gd name="T47" fmla="*/ 721 h 970"/>
                      <a:gd name="T48" fmla="*/ 54 w 1124"/>
                      <a:gd name="T49" fmla="*/ 716 h 970"/>
                      <a:gd name="T50" fmla="*/ 85 w 1124"/>
                      <a:gd name="T51" fmla="*/ 726 h 970"/>
                      <a:gd name="T52" fmla="*/ 87 w 1124"/>
                      <a:gd name="T53" fmla="*/ 754 h 970"/>
                      <a:gd name="T54" fmla="*/ 22 w 1124"/>
                      <a:gd name="T55" fmla="*/ 741 h 970"/>
                      <a:gd name="T56" fmla="*/ 27 w 1124"/>
                      <a:gd name="T57" fmla="*/ 804 h 970"/>
                      <a:gd name="T58" fmla="*/ 60 w 1124"/>
                      <a:gd name="T59" fmla="*/ 787 h 970"/>
                      <a:gd name="T60" fmla="*/ 92 w 1124"/>
                      <a:gd name="T61" fmla="*/ 781 h 970"/>
                      <a:gd name="T62" fmla="*/ 103 w 1124"/>
                      <a:gd name="T63" fmla="*/ 804 h 970"/>
                      <a:gd name="T64" fmla="*/ 157 w 1124"/>
                      <a:gd name="T65" fmla="*/ 782 h 970"/>
                      <a:gd name="T66" fmla="*/ 187 w 1124"/>
                      <a:gd name="T67" fmla="*/ 807 h 970"/>
                      <a:gd name="T68" fmla="*/ 228 w 1124"/>
                      <a:gd name="T69" fmla="*/ 837 h 970"/>
                      <a:gd name="T70" fmla="*/ 251 w 1124"/>
                      <a:gd name="T71" fmla="*/ 887 h 970"/>
                      <a:gd name="T72" fmla="*/ 221 w 1124"/>
                      <a:gd name="T73" fmla="*/ 922 h 970"/>
                      <a:gd name="T74" fmla="*/ 240 w 1124"/>
                      <a:gd name="T75" fmla="*/ 953 h 970"/>
                      <a:gd name="T76" fmla="*/ 305 w 1124"/>
                      <a:gd name="T77" fmla="*/ 910 h 970"/>
                      <a:gd name="T78" fmla="*/ 348 w 1124"/>
                      <a:gd name="T79" fmla="*/ 892 h 970"/>
                      <a:gd name="T80" fmla="*/ 373 w 1124"/>
                      <a:gd name="T81" fmla="*/ 872 h 970"/>
                      <a:gd name="T82" fmla="*/ 416 w 1124"/>
                      <a:gd name="T83" fmla="*/ 879 h 970"/>
                      <a:gd name="T84" fmla="*/ 452 w 1124"/>
                      <a:gd name="T85" fmla="*/ 855 h 970"/>
                      <a:gd name="T86" fmla="*/ 491 w 1124"/>
                      <a:gd name="T87" fmla="*/ 830 h 970"/>
                      <a:gd name="T88" fmla="*/ 491 w 1124"/>
                      <a:gd name="T89" fmla="*/ 786 h 970"/>
                      <a:gd name="T90" fmla="*/ 479 w 1124"/>
                      <a:gd name="T91" fmla="*/ 726 h 970"/>
                      <a:gd name="T92" fmla="*/ 466 w 1124"/>
                      <a:gd name="T93" fmla="*/ 634 h 970"/>
                      <a:gd name="T94" fmla="*/ 486 w 1124"/>
                      <a:gd name="T95" fmla="*/ 553 h 970"/>
                      <a:gd name="T96" fmla="*/ 557 w 1124"/>
                      <a:gd name="T97" fmla="*/ 495 h 970"/>
                      <a:gd name="T98" fmla="*/ 600 w 1124"/>
                      <a:gd name="T99" fmla="*/ 500 h 970"/>
                      <a:gd name="T100" fmla="*/ 644 w 1124"/>
                      <a:gd name="T101" fmla="*/ 427 h 970"/>
                      <a:gd name="T102" fmla="*/ 772 w 1124"/>
                      <a:gd name="T103" fmla="*/ 397 h 970"/>
                      <a:gd name="T104" fmla="*/ 785 w 1124"/>
                      <a:gd name="T105" fmla="*/ 335 h 970"/>
                      <a:gd name="T106" fmla="*/ 830 w 1124"/>
                      <a:gd name="T107" fmla="*/ 282 h 970"/>
                      <a:gd name="T108" fmla="*/ 1019 w 1124"/>
                      <a:gd name="T109" fmla="*/ 141 h 970"/>
                      <a:gd name="T110" fmla="*/ 1114 w 1124"/>
                      <a:gd name="T111" fmla="*/ 21 h 9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4" h="970">
                        <a:moveTo>
                          <a:pt x="1109" y="11"/>
                        </a:moveTo>
                        <a:lnTo>
                          <a:pt x="1094" y="15"/>
                        </a:lnTo>
                        <a:lnTo>
                          <a:pt x="1089" y="16"/>
                        </a:lnTo>
                        <a:lnTo>
                          <a:pt x="1094" y="21"/>
                        </a:lnTo>
                        <a:lnTo>
                          <a:pt x="1091" y="26"/>
                        </a:lnTo>
                        <a:lnTo>
                          <a:pt x="1079" y="28"/>
                        </a:lnTo>
                        <a:lnTo>
                          <a:pt x="1069" y="33"/>
                        </a:lnTo>
                        <a:lnTo>
                          <a:pt x="1062" y="38"/>
                        </a:lnTo>
                        <a:lnTo>
                          <a:pt x="1066" y="50"/>
                        </a:lnTo>
                        <a:lnTo>
                          <a:pt x="1054" y="51"/>
                        </a:lnTo>
                        <a:lnTo>
                          <a:pt x="1049" y="60"/>
                        </a:lnTo>
                        <a:lnTo>
                          <a:pt x="1052" y="61"/>
                        </a:lnTo>
                        <a:lnTo>
                          <a:pt x="1051" y="64"/>
                        </a:lnTo>
                        <a:lnTo>
                          <a:pt x="1046" y="69"/>
                        </a:lnTo>
                        <a:lnTo>
                          <a:pt x="1029" y="71"/>
                        </a:lnTo>
                        <a:lnTo>
                          <a:pt x="1021" y="74"/>
                        </a:lnTo>
                        <a:lnTo>
                          <a:pt x="1011" y="66"/>
                        </a:lnTo>
                        <a:lnTo>
                          <a:pt x="1001" y="63"/>
                        </a:lnTo>
                        <a:lnTo>
                          <a:pt x="993" y="64"/>
                        </a:lnTo>
                        <a:lnTo>
                          <a:pt x="983" y="51"/>
                        </a:lnTo>
                        <a:lnTo>
                          <a:pt x="976" y="35"/>
                        </a:lnTo>
                        <a:lnTo>
                          <a:pt x="971" y="40"/>
                        </a:lnTo>
                        <a:lnTo>
                          <a:pt x="976" y="48"/>
                        </a:lnTo>
                        <a:lnTo>
                          <a:pt x="974" y="53"/>
                        </a:lnTo>
                        <a:lnTo>
                          <a:pt x="969" y="43"/>
                        </a:lnTo>
                        <a:lnTo>
                          <a:pt x="961" y="33"/>
                        </a:lnTo>
                        <a:lnTo>
                          <a:pt x="954" y="15"/>
                        </a:lnTo>
                        <a:lnTo>
                          <a:pt x="948" y="26"/>
                        </a:lnTo>
                        <a:lnTo>
                          <a:pt x="941" y="33"/>
                        </a:lnTo>
                        <a:lnTo>
                          <a:pt x="933" y="33"/>
                        </a:lnTo>
                        <a:lnTo>
                          <a:pt x="933" y="43"/>
                        </a:lnTo>
                        <a:lnTo>
                          <a:pt x="918" y="38"/>
                        </a:lnTo>
                        <a:lnTo>
                          <a:pt x="911" y="43"/>
                        </a:lnTo>
                        <a:lnTo>
                          <a:pt x="913" y="51"/>
                        </a:lnTo>
                        <a:lnTo>
                          <a:pt x="919" y="48"/>
                        </a:lnTo>
                        <a:lnTo>
                          <a:pt x="921" y="53"/>
                        </a:lnTo>
                        <a:lnTo>
                          <a:pt x="926" y="61"/>
                        </a:lnTo>
                        <a:lnTo>
                          <a:pt x="914" y="66"/>
                        </a:lnTo>
                        <a:lnTo>
                          <a:pt x="903" y="78"/>
                        </a:lnTo>
                        <a:lnTo>
                          <a:pt x="900" y="74"/>
                        </a:lnTo>
                        <a:lnTo>
                          <a:pt x="890" y="74"/>
                        </a:lnTo>
                        <a:lnTo>
                          <a:pt x="866" y="101"/>
                        </a:lnTo>
                        <a:lnTo>
                          <a:pt x="876" y="99"/>
                        </a:lnTo>
                        <a:lnTo>
                          <a:pt x="880" y="114"/>
                        </a:lnTo>
                        <a:lnTo>
                          <a:pt x="873" y="121"/>
                        </a:lnTo>
                        <a:lnTo>
                          <a:pt x="881" y="131"/>
                        </a:lnTo>
                        <a:lnTo>
                          <a:pt x="861" y="134"/>
                        </a:lnTo>
                        <a:lnTo>
                          <a:pt x="848" y="124"/>
                        </a:lnTo>
                        <a:lnTo>
                          <a:pt x="841" y="124"/>
                        </a:lnTo>
                        <a:lnTo>
                          <a:pt x="845" y="134"/>
                        </a:lnTo>
                        <a:lnTo>
                          <a:pt x="818" y="151"/>
                        </a:lnTo>
                        <a:lnTo>
                          <a:pt x="811" y="134"/>
                        </a:lnTo>
                        <a:lnTo>
                          <a:pt x="806" y="126"/>
                        </a:lnTo>
                        <a:lnTo>
                          <a:pt x="803" y="108"/>
                        </a:lnTo>
                        <a:lnTo>
                          <a:pt x="795" y="108"/>
                        </a:lnTo>
                        <a:lnTo>
                          <a:pt x="785" y="111"/>
                        </a:lnTo>
                        <a:lnTo>
                          <a:pt x="777" y="119"/>
                        </a:lnTo>
                        <a:lnTo>
                          <a:pt x="777" y="129"/>
                        </a:lnTo>
                        <a:lnTo>
                          <a:pt x="780" y="139"/>
                        </a:lnTo>
                        <a:lnTo>
                          <a:pt x="787" y="146"/>
                        </a:lnTo>
                        <a:lnTo>
                          <a:pt x="780" y="148"/>
                        </a:lnTo>
                        <a:lnTo>
                          <a:pt x="778" y="158"/>
                        </a:lnTo>
                        <a:lnTo>
                          <a:pt x="782" y="166"/>
                        </a:lnTo>
                        <a:lnTo>
                          <a:pt x="778" y="172"/>
                        </a:lnTo>
                        <a:lnTo>
                          <a:pt x="778" y="182"/>
                        </a:lnTo>
                        <a:lnTo>
                          <a:pt x="772" y="177"/>
                        </a:lnTo>
                        <a:lnTo>
                          <a:pt x="768" y="186"/>
                        </a:lnTo>
                        <a:lnTo>
                          <a:pt x="762" y="187"/>
                        </a:lnTo>
                        <a:lnTo>
                          <a:pt x="753" y="179"/>
                        </a:lnTo>
                        <a:lnTo>
                          <a:pt x="740" y="181"/>
                        </a:lnTo>
                        <a:lnTo>
                          <a:pt x="728" y="192"/>
                        </a:lnTo>
                        <a:lnTo>
                          <a:pt x="725" y="187"/>
                        </a:lnTo>
                        <a:lnTo>
                          <a:pt x="717" y="196"/>
                        </a:lnTo>
                        <a:lnTo>
                          <a:pt x="707" y="196"/>
                        </a:lnTo>
                        <a:lnTo>
                          <a:pt x="698" y="201"/>
                        </a:lnTo>
                        <a:lnTo>
                          <a:pt x="710" y="214"/>
                        </a:lnTo>
                        <a:lnTo>
                          <a:pt x="710" y="224"/>
                        </a:lnTo>
                        <a:lnTo>
                          <a:pt x="698" y="237"/>
                        </a:lnTo>
                        <a:lnTo>
                          <a:pt x="688" y="237"/>
                        </a:lnTo>
                        <a:lnTo>
                          <a:pt x="678" y="252"/>
                        </a:lnTo>
                        <a:lnTo>
                          <a:pt x="678" y="264"/>
                        </a:lnTo>
                        <a:lnTo>
                          <a:pt x="678" y="279"/>
                        </a:lnTo>
                        <a:lnTo>
                          <a:pt x="674" y="285"/>
                        </a:lnTo>
                        <a:lnTo>
                          <a:pt x="665" y="292"/>
                        </a:lnTo>
                        <a:lnTo>
                          <a:pt x="655" y="292"/>
                        </a:lnTo>
                        <a:lnTo>
                          <a:pt x="647" y="295"/>
                        </a:lnTo>
                        <a:lnTo>
                          <a:pt x="632" y="300"/>
                        </a:lnTo>
                        <a:lnTo>
                          <a:pt x="632" y="309"/>
                        </a:lnTo>
                        <a:lnTo>
                          <a:pt x="625" y="317"/>
                        </a:lnTo>
                        <a:lnTo>
                          <a:pt x="610" y="317"/>
                        </a:lnTo>
                        <a:lnTo>
                          <a:pt x="600" y="317"/>
                        </a:lnTo>
                        <a:lnTo>
                          <a:pt x="589" y="324"/>
                        </a:lnTo>
                        <a:lnTo>
                          <a:pt x="589" y="334"/>
                        </a:lnTo>
                        <a:lnTo>
                          <a:pt x="582" y="340"/>
                        </a:lnTo>
                        <a:lnTo>
                          <a:pt x="569" y="340"/>
                        </a:lnTo>
                        <a:lnTo>
                          <a:pt x="552" y="340"/>
                        </a:lnTo>
                        <a:lnTo>
                          <a:pt x="552" y="329"/>
                        </a:lnTo>
                        <a:lnTo>
                          <a:pt x="547" y="329"/>
                        </a:lnTo>
                        <a:lnTo>
                          <a:pt x="536" y="329"/>
                        </a:lnTo>
                        <a:lnTo>
                          <a:pt x="532" y="337"/>
                        </a:lnTo>
                        <a:lnTo>
                          <a:pt x="521" y="337"/>
                        </a:lnTo>
                        <a:lnTo>
                          <a:pt x="519" y="342"/>
                        </a:lnTo>
                        <a:lnTo>
                          <a:pt x="521" y="355"/>
                        </a:lnTo>
                        <a:lnTo>
                          <a:pt x="526" y="362"/>
                        </a:lnTo>
                        <a:lnTo>
                          <a:pt x="531" y="362"/>
                        </a:lnTo>
                        <a:lnTo>
                          <a:pt x="544" y="362"/>
                        </a:lnTo>
                        <a:lnTo>
                          <a:pt x="547" y="362"/>
                        </a:lnTo>
                        <a:lnTo>
                          <a:pt x="547" y="377"/>
                        </a:lnTo>
                        <a:lnTo>
                          <a:pt x="537" y="377"/>
                        </a:lnTo>
                        <a:lnTo>
                          <a:pt x="529" y="377"/>
                        </a:lnTo>
                        <a:lnTo>
                          <a:pt x="521" y="369"/>
                        </a:lnTo>
                        <a:lnTo>
                          <a:pt x="511" y="369"/>
                        </a:lnTo>
                        <a:lnTo>
                          <a:pt x="501" y="369"/>
                        </a:lnTo>
                        <a:lnTo>
                          <a:pt x="501" y="362"/>
                        </a:lnTo>
                        <a:lnTo>
                          <a:pt x="501" y="347"/>
                        </a:lnTo>
                        <a:lnTo>
                          <a:pt x="489" y="342"/>
                        </a:lnTo>
                        <a:lnTo>
                          <a:pt x="482" y="349"/>
                        </a:lnTo>
                        <a:lnTo>
                          <a:pt x="471" y="355"/>
                        </a:lnTo>
                        <a:lnTo>
                          <a:pt x="466" y="369"/>
                        </a:lnTo>
                        <a:lnTo>
                          <a:pt x="471" y="387"/>
                        </a:lnTo>
                        <a:lnTo>
                          <a:pt x="466" y="392"/>
                        </a:lnTo>
                        <a:lnTo>
                          <a:pt x="454" y="393"/>
                        </a:lnTo>
                        <a:lnTo>
                          <a:pt x="434" y="387"/>
                        </a:lnTo>
                        <a:lnTo>
                          <a:pt x="423" y="392"/>
                        </a:lnTo>
                        <a:lnTo>
                          <a:pt x="418" y="398"/>
                        </a:lnTo>
                        <a:lnTo>
                          <a:pt x="416" y="397"/>
                        </a:lnTo>
                        <a:lnTo>
                          <a:pt x="401" y="403"/>
                        </a:lnTo>
                        <a:lnTo>
                          <a:pt x="374" y="408"/>
                        </a:lnTo>
                        <a:lnTo>
                          <a:pt x="364" y="417"/>
                        </a:lnTo>
                        <a:lnTo>
                          <a:pt x="364" y="432"/>
                        </a:lnTo>
                        <a:lnTo>
                          <a:pt x="359" y="442"/>
                        </a:lnTo>
                        <a:lnTo>
                          <a:pt x="358" y="460"/>
                        </a:lnTo>
                        <a:lnTo>
                          <a:pt x="334" y="460"/>
                        </a:lnTo>
                        <a:lnTo>
                          <a:pt x="311" y="468"/>
                        </a:lnTo>
                        <a:lnTo>
                          <a:pt x="306" y="483"/>
                        </a:lnTo>
                        <a:lnTo>
                          <a:pt x="293" y="493"/>
                        </a:lnTo>
                        <a:lnTo>
                          <a:pt x="283" y="483"/>
                        </a:lnTo>
                        <a:lnTo>
                          <a:pt x="243" y="483"/>
                        </a:lnTo>
                        <a:lnTo>
                          <a:pt x="223" y="490"/>
                        </a:lnTo>
                        <a:lnTo>
                          <a:pt x="223" y="503"/>
                        </a:lnTo>
                        <a:lnTo>
                          <a:pt x="207" y="515"/>
                        </a:lnTo>
                        <a:lnTo>
                          <a:pt x="193" y="515"/>
                        </a:lnTo>
                        <a:lnTo>
                          <a:pt x="173" y="510"/>
                        </a:lnTo>
                        <a:lnTo>
                          <a:pt x="153" y="510"/>
                        </a:lnTo>
                        <a:lnTo>
                          <a:pt x="143" y="515"/>
                        </a:lnTo>
                        <a:lnTo>
                          <a:pt x="128" y="496"/>
                        </a:lnTo>
                        <a:lnTo>
                          <a:pt x="108" y="485"/>
                        </a:lnTo>
                        <a:lnTo>
                          <a:pt x="90" y="483"/>
                        </a:lnTo>
                        <a:lnTo>
                          <a:pt x="64" y="480"/>
                        </a:lnTo>
                        <a:lnTo>
                          <a:pt x="49" y="485"/>
                        </a:lnTo>
                        <a:lnTo>
                          <a:pt x="54" y="493"/>
                        </a:lnTo>
                        <a:lnTo>
                          <a:pt x="42" y="500"/>
                        </a:lnTo>
                        <a:lnTo>
                          <a:pt x="44" y="513"/>
                        </a:lnTo>
                        <a:lnTo>
                          <a:pt x="52" y="526"/>
                        </a:lnTo>
                        <a:lnTo>
                          <a:pt x="44" y="525"/>
                        </a:lnTo>
                        <a:lnTo>
                          <a:pt x="40" y="530"/>
                        </a:lnTo>
                        <a:lnTo>
                          <a:pt x="40" y="545"/>
                        </a:lnTo>
                        <a:lnTo>
                          <a:pt x="32" y="546"/>
                        </a:lnTo>
                        <a:lnTo>
                          <a:pt x="30" y="551"/>
                        </a:lnTo>
                        <a:lnTo>
                          <a:pt x="35" y="556"/>
                        </a:lnTo>
                        <a:lnTo>
                          <a:pt x="42" y="566"/>
                        </a:lnTo>
                        <a:lnTo>
                          <a:pt x="44" y="575"/>
                        </a:lnTo>
                        <a:lnTo>
                          <a:pt x="55" y="583"/>
                        </a:lnTo>
                        <a:lnTo>
                          <a:pt x="57" y="601"/>
                        </a:lnTo>
                        <a:lnTo>
                          <a:pt x="55" y="616"/>
                        </a:lnTo>
                        <a:lnTo>
                          <a:pt x="49" y="623"/>
                        </a:lnTo>
                        <a:lnTo>
                          <a:pt x="40" y="623"/>
                        </a:lnTo>
                        <a:lnTo>
                          <a:pt x="40" y="614"/>
                        </a:lnTo>
                        <a:lnTo>
                          <a:pt x="34" y="618"/>
                        </a:lnTo>
                        <a:lnTo>
                          <a:pt x="24" y="618"/>
                        </a:lnTo>
                        <a:lnTo>
                          <a:pt x="17" y="618"/>
                        </a:lnTo>
                        <a:lnTo>
                          <a:pt x="12" y="611"/>
                        </a:lnTo>
                        <a:lnTo>
                          <a:pt x="7" y="611"/>
                        </a:lnTo>
                        <a:lnTo>
                          <a:pt x="4" y="621"/>
                        </a:lnTo>
                        <a:lnTo>
                          <a:pt x="0" y="624"/>
                        </a:lnTo>
                        <a:lnTo>
                          <a:pt x="5" y="626"/>
                        </a:lnTo>
                        <a:lnTo>
                          <a:pt x="15" y="626"/>
                        </a:lnTo>
                        <a:lnTo>
                          <a:pt x="17" y="633"/>
                        </a:lnTo>
                        <a:lnTo>
                          <a:pt x="15" y="643"/>
                        </a:lnTo>
                        <a:lnTo>
                          <a:pt x="14" y="651"/>
                        </a:lnTo>
                        <a:lnTo>
                          <a:pt x="7" y="653"/>
                        </a:lnTo>
                        <a:lnTo>
                          <a:pt x="4" y="664"/>
                        </a:lnTo>
                        <a:lnTo>
                          <a:pt x="0" y="674"/>
                        </a:lnTo>
                        <a:lnTo>
                          <a:pt x="2" y="684"/>
                        </a:lnTo>
                        <a:lnTo>
                          <a:pt x="10" y="691"/>
                        </a:lnTo>
                        <a:lnTo>
                          <a:pt x="17" y="698"/>
                        </a:lnTo>
                        <a:lnTo>
                          <a:pt x="24" y="691"/>
                        </a:lnTo>
                        <a:lnTo>
                          <a:pt x="29" y="698"/>
                        </a:lnTo>
                        <a:lnTo>
                          <a:pt x="27" y="704"/>
                        </a:lnTo>
                        <a:lnTo>
                          <a:pt x="20" y="709"/>
                        </a:lnTo>
                        <a:lnTo>
                          <a:pt x="15" y="712"/>
                        </a:lnTo>
                        <a:lnTo>
                          <a:pt x="19" y="721"/>
                        </a:lnTo>
                        <a:lnTo>
                          <a:pt x="24" y="722"/>
                        </a:lnTo>
                        <a:lnTo>
                          <a:pt x="24" y="729"/>
                        </a:lnTo>
                        <a:lnTo>
                          <a:pt x="32" y="731"/>
                        </a:lnTo>
                        <a:lnTo>
                          <a:pt x="40" y="732"/>
                        </a:lnTo>
                        <a:lnTo>
                          <a:pt x="49" y="734"/>
                        </a:lnTo>
                        <a:lnTo>
                          <a:pt x="50" y="727"/>
                        </a:lnTo>
                        <a:lnTo>
                          <a:pt x="50" y="721"/>
                        </a:lnTo>
                        <a:lnTo>
                          <a:pt x="54" y="716"/>
                        </a:lnTo>
                        <a:lnTo>
                          <a:pt x="64" y="721"/>
                        </a:lnTo>
                        <a:lnTo>
                          <a:pt x="74" y="721"/>
                        </a:lnTo>
                        <a:lnTo>
                          <a:pt x="74" y="726"/>
                        </a:lnTo>
                        <a:lnTo>
                          <a:pt x="85" y="732"/>
                        </a:lnTo>
                        <a:lnTo>
                          <a:pt x="82" y="739"/>
                        </a:lnTo>
                        <a:lnTo>
                          <a:pt x="92" y="739"/>
                        </a:lnTo>
                        <a:lnTo>
                          <a:pt x="89" y="731"/>
                        </a:lnTo>
                        <a:lnTo>
                          <a:pt x="85" y="726"/>
                        </a:lnTo>
                        <a:lnTo>
                          <a:pt x="87" y="717"/>
                        </a:lnTo>
                        <a:lnTo>
                          <a:pt x="92" y="719"/>
                        </a:lnTo>
                        <a:lnTo>
                          <a:pt x="103" y="732"/>
                        </a:lnTo>
                        <a:lnTo>
                          <a:pt x="107" y="742"/>
                        </a:lnTo>
                        <a:lnTo>
                          <a:pt x="102" y="746"/>
                        </a:lnTo>
                        <a:lnTo>
                          <a:pt x="90" y="742"/>
                        </a:lnTo>
                        <a:lnTo>
                          <a:pt x="82" y="752"/>
                        </a:lnTo>
                        <a:lnTo>
                          <a:pt x="87" y="754"/>
                        </a:lnTo>
                        <a:lnTo>
                          <a:pt x="77" y="766"/>
                        </a:lnTo>
                        <a:lnTo>
                          <a:pt x="70" y="764"/>
                        </a:lnTo>
                        <a:lnTo>
                          <a:pt x="55" y="766"/>
                        </a:lnTo>
                        <a:lnTo>
                          <a:pt x="42" y="761"/>
                        </a:lnTo>
                        <a:lnTo>
                          <a:pt x="34" y="761"/>
                        </a:lnTo>
                        <a:lnTo>
                          <a:pt x="35" y="747"/>
                        </a:lnTo>
                        <a:lnTo>
                          <a:pt x="30" y="741"/>
                        </a:lnTo>
                        <a:lnTo>
                          <a:pt x="22" y="741"/>
                        </a:lnTo>
                        <a:lnTo>
                          <a:pt x="12" y="746"/>
                        </a:lnTo>
                        <a:lnTo>
                          <a:pt x="20" y="749"/>
                        </a:lnTo>
                        <a:lnTo>
                          <a:pt x="25" y="757"/>
                        </a:lnTo>
                        <a:lnTo>
                          <a:pt x="20" y="764"/>
                        </a:lnTo>
                        <a:lnTo>
                          <a:pt x="29" y="767"/>
                        </a:lnTo>
                        <a:lnTo>
                          <a:pt x="37" y="782"/>
                        </a:lnTo>
                        <a:lnTo>
                          <a:pt x="25" y="794"/>
                        </a:lnTo>
                        <a:lnTo>
                          <a:pt x="27" y="804"/>
                        </a:lnTo>
                        <a:lnTo>
                          <a:pt x="35" y="802"/>
                        </a:lnTo>
                        <a:lnTo>
                          <a:pt x="40" y="806"/>
                        </a:lnTo>
                        <a:lnTo>
                          <a:pt x="45" y="799"/>
                        </a:lnTo>
                        <a:lnTo>
                          <a:pt x="50" y="804"/>
                        </a:lnTo>
                        <a:lnTo>
                          <a:pt x="55" y="797"/>
                        </a:lnTo>
                        <a:lnTo>
                          <a:pt x="50" y="789"/>
                        </a:lnTo>
                        <a:lnTo>
                          <a:pt x="54" y="779"/>
                        </a:lnTo>
                        <a:lnTo>
                          <a:pt x="60" y="787"/>
                        </a:lnTo>
                        <a:lnTo>
                          <a:pt x="62" y="782"/>
                        </a:lnTo>
                        <a:lnTo>
                          <a:pt x="69" y="791"/>
                        </a:lnTo>
                        <a:lnTo>
                          <a:pt x="77" y="789"/>
                        </a:lnTo>
                        <a:lnTo>
                          <a:pt x="82" y="781"/>
                        </a:lnTo>
                        <a:lnTo>
                          <a:pt x="82" y="774"/>
                        </a:lnTo>
                        <a:lnTo>
                          <a:pt x="84" y="767"/>
                        </a:lnTo>
                        <a:lnTo>
                          <a:pt x="94" y="772"/>
                        </a:lnTo>
                        <a:lnTo>
                          <a:pt x="92" y="781"/>
                        </a:lnTo>
                        <a:lnTo>
                          <a:pt x="84" y="784"/>
                        </a:lnTo>
                        <a:lnTo>
                          <a:pt x="82" y="791"/>
                        </a:lnTo>
                        <a:lnTo>
                          <a:pt x="89" y="789"/>
                        </a:lnTo>
                        <a:lnTo>
                          <a:pt x="90" y="796"/>
                        </a:lnTo>
                        <a:lnTo>
                          <a:pt x="95" y="801"/>
                        </a:lnTo>
                        <a:lnTo>
                          <a:pt x="89" y="811"/>
                        </a:lnTo>
                        <a:lnTo>
                          <a:pt x="100" y="812"/>
                        </a:lnTo>
                        <a:lnTo>
                          <a:pt x="103" y="804"/>
                        </a:lnTo>
                        <a:lnTo>
                          <a:pt x="108" y="811"/>
                        </a:lnTo>
                        <a:lnTo>
                          <a:pt x="122" y="806"/>
                        </a:lnTo>
                        <a:lnTo>
                          <a:pt x="123" y="801"/>
                        </a:lnTo>
                        <a:lnTo>
                          <a:pt x="140" y="794"/>
                        </a:lnTo>
                        <a:lnTo>
                          <a:pt x="148" y="786"/>
                        </a:lnTo>
                        <a:lnTo>
                          <a:pt x="143" y="784"/>
                        </a:lnTo>
                        <a:lnTo>
                          <a:pt x="148" y="776"/>
                        </a:lnTo>
                        <a:lnTo>
                          <a:pt x="157" y="782"/>
                        </a:lnTo>
                        <a:lnTo>
                          <a:pt x="167" y="776"/>
                        </a:lnTo>
                        <a:lnTo>
                          <a:pt x="165" y="787"/>
                        </a:lnTo>
                        <a:lnTo>
                          <a:pt x="160" y="796"/>
                        </a:lnTo>
                        <a:lnTo>
                          <a:pt x="170" y="794"/>
                        </a:lnTo>
                        <a:lnTo>
                          <a:pt x="177" y="787"/>
                        </a:lnTo>
                        <a:lnTo>
                          <a:pt x="187" y="787"/>
                        </a:lnTo>
                        <a:lnTo>
                          <a:pt x="193" y="797"/>
                        </a:lnTo>
                        <a:lnTo>
                          <a:pt x="187" y="807"/>
                        </a:lnTo>
                        <a:lnTo>
                          <a:pt x="187" y="814"/>
                        </a:lnTo>
                        <a:lnTo>
                          <a:pt x="180" y="817"/>
                        </a:lnTo>
                        <a:lnTo>
                          <a:pt x="195" y="822"/>
                        </a:lnTo>
                        <a:lnTo>
                          <a:pt x="203" y="827"/>
                        </a:lnTo>
                        <a:lnTo>
                          <a:pt x="200" y="835"/>
                        </a:lnTo>
                        <a:lnTo>
                          <a:pt x="215" y="829"/>
                        </a:lnTo>
                        <a:lnTo>
                          <a:pt x="226" y="832"/>
                        </a:lnTo>
                        <a:lnTo>
                          <a:pt x="228" y="837"/>
                        </a:lnTo>
                        <a:lnTo>
                          <a:pt x="226" y="860"/>
                        </a:lnTo>
                        <a:lnTo>
                          <a:pt x="226" y="869"/>
                        </a:lnTo>
                        <a:lnTo>
                          <a:pt x="236" y="870"/>
                        </a:lnTo>
                        <a:lnTo>
                          <a:pt x="241" y="869"/>
                        </a:lnTo>
                        <a:lnTo>
                          <a:pt x="245" y="877"/>
                        </a:lnTo>
                        <a:lnTo>
                          <a:pt x="255" y="872"/>
                        </a:lnTo>
                        <a:lnTo>
                          <a:pt x="256" y="880"/>
                        </a:lnTo>
                        <a:lnTo>
                          <a:pt x="251" y="887"/>
                        </a:lnTo>
                        <a:lnTo>
                          <a:pt x="253" y="894"/>
                        </a:lnTo>
                        <a:lnTo>
                          <a:pt x="250" y="902"/>
                        </a:lnTo>
                        <a:lnTo>
                          <a:pt x="240" y="909"/>
                        </a:lnTo>
                        <a:lnTo>
                          <a:pt x="238" y="920"/>
                        </a:lnTo>
                        <a:lnTo>
                          <a:pt x="231" y="922"/>
                        </a:lnTo>
                        <a:lnTo>
                          <a:pt x="241" y="932"/>
                        </a:lnTo>
                        <a:lnTo>
                          <a:pt x="230" y="930"/>
                        </a:lnTo>
                        <a:lnTo>
                          <a:pt x="221" y="922"/>
                        </a:lnTo>
                        <a:lnTo>
                          <a:pt x="218" y="928"/>
                        </a:lnTo>
                        <a:lnTo>
                          <a:pt x="208" y="942"/>
                        </a:lnTo>
                        <a:lnTo>
                          <a:pt x="207" y="950"/>
                        </a:lnTo>
                        <a:lnTo>
                          <a:pt x="210" y="955"/>
                        </a:lnTo>
                        <a:lnTo>
                          <a:pt x="223" y="965"/>
                        </a:lnTo>
                        <a:lnTo>
                          <a:pt x="231" y="970"/>
                        </a:lnTo>
                        <a:lnTo>
                          <a:pt x="238" y="963"/>
                        </a:lnTo>
                        <a:lnTo>
                          <a:pt x="240" y="953"/>
                        </a:lnTo>
                        <a:lnTo>
                          <a:pt x="250" y="945"/>
                        </a:lnTo>
                        <a:lnTo>
                          <a:pt x="255" y="935"/>
                        </a:lnTo>
                        <a:lnTo>
                          <a:pt x="261" y="920"/>
                        </a:lnTo>
                        <a:lnTo>
                          <a:pt x="258" y="914"/>
                        </a:lnTo>
                        <a:lnTo>
                          <a:pt x="278" y="904"/>
                        </a:lnTo>
                        <a:lnTo>
                          <a:pt x="291" y="900"/>
                        </a:lnTo>
                        <a:lnTo>
                          <a:pt x="300" y="902"/>
                        </a:lnTo>
                        <a:lnTo>
                          <a:pt x="305" y="910"/>
                        </a:lnTo>
                        <a:lnTo>
                          <a:pt x="306" y="902"/>
                        </a:lnTo>
                        <a:lnTo>
                          <a:pt x="316" y="905"/>
                        </a:lnTo>
                        <a:lnTo>
                          <a:pt x="321" y="910"/>
                        </a:lnTo>
                        <a:lnTo>
                          <a:pt x="330" y="909"/>
                        </a:lnTo>
                        <a:lnTo>
                          <a:pt x="334" y="910"/>
                        </a:lnTo>
                        <a:lnTo>
                          <a:pt x="344" y="905"/>
                        </a:lnTo>
                        <a:lnTo>
                          <a:pt x="344" y="899"/>
                        </a:lnTo>
                        <a:lnTo>
                          <a:pt x="348" y="892"/>
                        </a:lnTo>
                        <a:lnTo>
                          <a:pt x="354" y="895"/>
                        </a:lnTo>
                        <a:lnTo>
                          <a:pt x="371" y="895"/>
                        </a:lnTo>
                        <a:lnTo>
                          <a:pt x="371" y="887"/>
                        </a:lnTo>
                        <a:lnTo>
                          <a:pt x="378" y="887"/>
                        </a:lnTo>
                        <a:lnTo>
                          <a:pt x="381" y="882"/>
                        </a:lnTo>
                        <a:lnTo>
                          <a:pt x="378" y="879"/>
                        </a:lnTo>
                        <a:lnTo>
                          <a:pt x="378" y="872"/>
                        </a:lnTo>
                        <a:lnTo>
                          <a:pt x="373" y="872"/>
                        </a:lnTo>
                        <a:lnTo>
                          <a:pt x="373" y="867"/>
                        </a:lnTo>
                        <a:lnTo>
                          <a:pt x="384" y="865"/>
                        </a:lnTo>
                        <a:lnTo>
                          <a:pt x="396" y="867"/>
                        </a:lnTo>
                        <a:lnTo>
                          <a:pt x="396" y="874"/>
                        </a:lnTo>
                        <a:lnTo>
                          <a:pt x="399" y="877"/>
                        </a:lnTo>
                        <a:lnTo>
                          <a:pt x="406" y="874"/>
                        </a:lnTo>
                        <a:lnTo>
                          <a:pt x="416" y="874"/>
                        </a:lnTo>
                        <a:lnTo>
                          <a:pt x="416" y="879"/>
                        </a:lnTo>
                        <a:lnTo>
                          <a:pt x="426" y="885"/>
                        </a:lnTo>
                        <a:lnTo>
                          <a:pt x="426" y="880"/>
                        </a:lnTo>
                        <a:lnTo>
                          <a:pt x="421" y="875"/>
                        </a:lnTo>
                        <a:lnTo>
                          <a:pt x="421" y="869"/>
                        </a:lnTo>
                        <a:lnTo>
                          <a:pt x="428" y="869"/>
                        </a:lnTo>
                        <a:lnTo>
                          <a:pt x="438" y="870"/>
                        </a:lnTo>
                        <a:lnTo>
                          <a:pt x="452" y="862"/>
                        </a:lnTo>
                        <a:lnTo>
                          <a:pt x="452" y="855"/>
                        </a:lnTo>
                        <a:lnTo>
                          <a:pt x="466" y="847"/>
                        </a:lnTo>
                        <a:lnTo>
                          <a:pt x="466" y="832"/>
                        </a:lnTo>
                        <a:lnTo>
                          <a:pt x="472" y="817"/>
                        </a:lnTo>
                        <a:lnTo>
                          <a:pt x="477" y="824"/>
                        </a:lnTo>
                        <a:lnTo>
                          <a:pt x="482" y="822"/>
                        </a:lnTo>
                        <a:lnTo>
                          <a:pt x="481" y="817"/>
                        </a:lnTo>
                        <a:lnTo>
                          <a:pt x="487" y="822"/>
                        </a:lnTo>
                        <a:lnTo>
                          <a:pt x="491" y="830"/>
                        </a:lnTo>
                        <a:lnTo>
                          <a:pt x="496" y="839"/>
                        </a:lnTo>
                        <a:lnTo>
                          <a:pt x="502" y="850"/>
                        </a:lnTo>
                        <a:lnTo>
                          <a:pt x="501" y="840"/>
                        </a:lnTo>
                        <a:lnTo>
                          <a:pt x="492" y="827"/>
                        </a:lnTo>
                        <a:lnTo>
                          <a:pt x="492" y="817"/>
                        </a:lnTo>
                        <a:lnTo>
                          <a:pt x="496" y="801"/>
                        </a:lnTo>
                        <a:lnTo>
                          <a:pt x="491" y="794"/>
                        </a:lnTo>
                        <a:lnTo>
                          <a:pt x="491" y="786"/>
                        </a:lnTo>
                        <a:lnTo>
                          <a:pt x="477" y="764"/>
                        </a:lnTo>
                        <a:lnTo>
                          <a:pt x="477" y="741"/>
                        </a:lnTo>
                        <a:lnTo>
                          <a:pt x="471" y="741"/>
                        </a:lnTo>
                        <a:lnTo>
                          <a:pt x="464" y="746"/>
                        </a:lnTo>
                        <a:lnTo>
                          <a:pt x="464" y="741"/>
                        </a:lnTo>
                        <a:lnTo>
                          <a:pt x="471" y="732"/>
                        </a:lnTo>
                        <a:lnTo>
                          <a:pt x="474" y="736"/>
                        </a:lnTo>
                        <a:lnTo>
                          <a:pt x="479" y="726"/>
                        </a:lnTo>
                        <a:lnTo>
                          <a:pt x="482" y="721"/>
                        </a:lnTo>
                        <a:lnTo>
                          <a:pt x="482" y="704"/>
                        </a:lnTo>
                        <a:lnTo>
                          <a:pt x="484" y="686"/>
                        </a:lnTo>
                        <a:lnTo>
                          <a:pt x="479" y="676"/>
                        </a:lnTo>
                        <a:lnTo>
                          <a:pt x="477" y="668"/>
                        </a:lnTo>
                        <a:lnTo>
                          <a:pt x="471" y="663"/>
                        </a:lnTo>
                        <a:lnTo>
                          <a:pt x="471" y="646"/>
                        </a:lnTo>
                        <a:lnTo>
                          <a:pt x="466" y="634"/>
                        </a:lnTo>
                        <a:lnTo>
                          <a:pt x="466" y="614"/>
                        </a:lnTo>
                        <a:lnTo>
                          <a:pt x="467" y="603"/>
                        </a:lnTo>
                        <a:lnTo>
                          <a:pt x="466" y="596"/>
                        </a:lnTo>
                        <a:lnTo>
                          <a:pt x="472" y="595"/>
                        </a:lnTo>
                        <a:lnTo>
                          <a:pt x="471" y="583"/>
                        </a:lnTo>
                        <a:lnTo>
                          <a:pt x="482" y="565"/>
                        </a:lnTo>
                        <a:lnTo>
                          <a:pt x="491" y="556"/>
                        </a:lnTo>
                        <a:lnTo>
                          <a:pt x="486" y="553"/>
                        </a:lnTo>
                        <a:lnTo>
                          <a:pt x="492" y="548"/>
                        </a:lnTo>
                        <a:lnTo>
                          <a:pt x="496" y="535"/>
                        </a:lnTo>
                        <a:lnTo>
                          <a:pt x="502" y="520"/>
                        </a:lnTo>
                        <a:lnTo>
                          <a:pt x="529" y="505"/>
                        </a:lnTo>
                        <a:lnTo>
                          <a:pt x="541" y="496"/>
                        </a:lnTo>
                        <a:lnTo>
                          <a:pt x="544" y="500"/>
                        </a:lnTo>
                        <a:lnTo>
                          <a:pt x="554" y="498"/>
                        </a:lnTo>
                        <a:lnTo>
                          <a:pt x="557" y="495"/>
                        </a:lnTo>
                        <a:lnTo>
                          <a:pt x="569" y="500"/>
                        </a:lnTo>
                        <a:lnTo>
                          <a:pt x="574" y="506"/>
                        </a:lnTo>
                        <a:lnTo>
                          <a:pt x="572" y="516"/>
                        </a:lnTo>
                        <a:lnTo>
                          <a:pt x="572" y="521"/>
                        </a:lnTo>
                        <a:lnTo>
                          <a:pt x="587" y="520"/>
                        </a:lnTo>
                        <a:lnTo>
                          <a:pt x="602" y="515"/>
                        </a:lnTo>
                        <a:lnTo>
                          <a:pt x="599" y="505"/>
                        </a:lnTo>
                        <a:lnTo>
                          <a:pt x="600" y="500"/>
                        </a:lnTo>
                        <a:lnTo>
                          <a:pt x="614" y="488"/>
                        </a:lnTo>
                        <a:lnTo>
                          <a:pt x="622" y="483"/>
                        </a:lnTo>
                        <a:lnTo>
                          <a:pt x="620" y="472"/>
                        </a:lnTo>
                        <a:lnTo>
                          <a:pt x="627" y="463"/>
                        </a:lnTo>
                        <a:lnTo>
                          <a:pt x="629" y="450"/>
                        </a:lnTo>
                        <a:lnTo>
                          <a:pt x="637" y="435"/>
                        </a:lnTo>
                        <a:lnTo>
                          <a:pt x="635" y="433"/>
                        </a:lnTo>
                        <a:lnTo>
                          <a:pt x="644" y="427"/>
                        </a:lnTo>
                        <a:lnTo>
                          <a:pt x="652" y="423"/>
                        </a:lnTo>
                        <a:lnTo>
                          <a:pt x="659" y="422"/>
                        </a:lnTo>
                        <a:lnTo>
                          <a:pt x="659" y="427"/>
                        </a:lnTo>
                        <a:lnTo>
                          <a:pt x="672" y="425"/>
                        </a:lnTo>
                        <a:lnTo>
                          <a:pt x="695" y="428"/>
                        </a:lnTo>
                        <a:lnTo>
                          <a:pt x="703" y="428"/>
                        </a:lnTo>
                        <a:lnTo>
                          <a:pt x="748" y="408"/>
                        </a:lnTo>
                        <a:lnTo>
                          <a:pt x="772" y="397"/>
                        </a:lnTo>
                        <a:lnTo>
                          <a:pt x="778" y="395"/>
                        </a:lnTo>
                        <a:lnTo>
                          <a:pt x="785" y="387"/>
                        </a:lnTo>
                        <a:lnTo>
                          <a:pt x="782" y="377"/>
                        </a:lnTo>
                        <a:lnTo>
                          <a:pt x="787" y="372"/>
                        </a:lnTo>
                        <a:lnTo>
                          <a:pt x="782" y="369"/>
                        </a:lnTo>
                        <a:lnTo>
                          <a:pt x="790" y="357"/>
                        </a:lnTo>
                        <a:lnTo>
                          <a:pt x="791" y="339"/>
                        </a:lnTo>
                        <a:lnTo>
                          <a:pt x="785" y="335"/>
                        </a:lnTo>
                        <a:lnTo>
                          <a:pt x="788" y="345"/>
                        </a:lnTo>
                        <a:lnTo>
                          <a:pt x="783" y="350"/>
                        </a:lnTo>
                        <a:lnTo>
                          <a:pt x="773" y="349"/>
                        </a:lnTo>
                        <a:lnTo>
                          <a:pt x="770" y="344"/>
                        </a:lnTo>
                        <a:lnTo>
                          <a:pt x="777" y="335"/>
                        </a:lnTo>
                        <a:lnTo>
                          <a:pt x="775" y="330"/>
                        </a:lnTo>
                        <a:lnTo>
                          <a:pt x="796" y="307"/>
                        </a:lnTo>
                        <a:lnTo>
                          <a:pt x="830" y="282"/>
                        </a:lnTo>
                        <a:lnTo>
                          <a:pt x="848" y="272"/>
                        </a:lnTo>
                        <a:lnTo>
                          <a:pt x="890" y="249"/>
                        </a:lnTo>
                        <a:lnTo>
                          <a:pt x="900" y="246"/>
                        </a:lnTo>
                        <a:lnTo>
                          <a:pt x="918" y="229"/>
                        </a:lnTo>
                        <a:lnTo>
                          <a:pt x="928" y="212"/>
                        </a:lnTo>
                        <a:lnTo>
                          <a:pt x="931" y="201"/>
                        </a:lnTo>
                        <a:lnTo>
                          <a:pt x="959" y="176"/>
                        </a:lnTo>
                        <a:lnTo>
                          <a:pt x="1019" y="141"/>
                        </a:lnTo>
                        <a:lnTo>
                          <a:pt x="1026" y="134"/>
                        </a:lnTo>
                        <a:lnTo>
                          <a:pt x="1026" y="128"/>
                        </a:lnTo>
                        <a:lnTo>
                          <a:pt x="1052" y="99"/>
                        </a:lnTo>
                        <a:lnTo>
                          <a:pt x="1077" y="73"/>
                        </a:lnTo>
                        <a:lnTo>
                          <a:pt x="1087" y="56"/>
                        </a:lnTo>
                        <a:lnTo>
                          <a:pt x="1089" y="51"/>
                        </a:lnTo>
                        <a:lnTo>
                          <a:pt x="1097" y="46"/>
                        </a:lnTo>
                        <a:lnTo>
                          <a:pt x="1114" y="21"/>
                        </a:lnTo>
                        <a:lnTo>
                          <a:pt x="1124" y="0"/>
                        </a:lnTo>
                        <a:lnTo>
                          <a:pt x="1109" y="11"/>
                        </a:lnTo>
                        <a:close/>
                      </a:path>
                    </a:pathLst>
                  </a:custGeom>
                  <a:solidFill>
                    <a:srgbClr val="77B8E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a:latin typeface="Proxima Nova A" panose="02000506030000020004" pitchFamily="2" charset="0"/>
                    </a:endParaRPr>
                  </a:p>
                </p:txBody>
              </p:sp>
              <p:sp>
                <p:nvSpPr>
                  <p:cNvPr id="172" name="Freeform 1120">
                    <a:extLst>
                      <a:ext uri="{FF2B5EF4-FFF2-40B4-BE49-F238E27FC236}">
                        <a16:creationId xmlns:a16="http://schemas.microsoft.com/office/drawing/2014/main" id="{DD42BA9A-2B6E-4277-ADD6-447C4538007F}"/>
                      </a:ext>
                    </a:extLst>
                  </p:cNvPr>
                  <p:cNvSpPr>
                    <a:spLocks/>
                  </p:cNvSpPr>
                  <p:nvPr/>
                </p:nvSpPr>
                <p:spPr bwMode="auto">
                  <a:xfrm>
                    <a:off x="4344883" y="3311375"/>
                    <a:ext cx="759013" cy="1259961"/>
                  </a:xfrm>
                  <a:custGeom>
                    <a:avLst/>
                    <a:gdLst>
                      <a:gd name="T0" fmla="*/ 286 w 550"/>
                      <a:gd name="T1" fmla="*/ 489 h 913"/>
                      <a:gd name="T2" fmla="*/ 306 w 550"/>
                      <a:gd name="T3" fmla="*/ 447 h 913"/>
                      <a:gd name="T4" fmla="*/ 324 w 550"/>
                      <a:gd name="T5" fmla="*/ 419 h 913"/>
                      <a:gd name="T6" fmla="*/ 394 w 550"/>
                      <a:gd name="T7" fmla="*/ 423 h 913"/>
                      <a:gd name="T8" fmla="*/ 414 w 550"/>
                      <a:gd name="T9" fmla="*/ 388 h 913"/>
                      <a:gd name="T10" fmla="*/ 424 w 550"/>
                      <a:gd name="T11" fmla="*/ 349 h 913"/>
                      <a:gd name="T12" fmla="*/ 449 w 550"/>
                      <a:gd name="T13" fmla="*/ 311 h 913"/>
                      <a:gd name="T14" fmla="*/ 452 w 550"/>
                      <a:gd name="T15" fmla="*/ 271 h 913"/>
                      <a:gd name="T16" fmla="*/ 507 w 550"/>
                      <a:gd name="T17" fmla="*/ 240 h 913"/>
                      <a:gd name="T18" fmla="*/ 538 w 550"/>
                      <a:gd name="T19" fmla="*/ 180 h 913"/>
                      <a:gd name="T20" fmla="*/ 528 w 550"/>
                      <a:gd name="T21" fmla="*/ 157 h 913"/>
                      <a:gd name="T22" fmla="*/ 502 w 550"/>
                      <a:gd name="T23" fmla="*/ 127 h 913"/>
                      <a:gd name="T24" fmla="*/ 495 w 550"/>
                      <a:gd name="T25" fmla="*/ 85 h 913"/>
                      <a:gd name="T26" fmla="*/ 489 w 550"/>
                      <a:gd name="T27" fmla="*/ 67 h 913"/>
                      <a:gd name="T28" fmla="*/ 437 w 550"/>
                      <a:gd name="T29" fmla="*/ 22 h 913"/>
                      <a:gd name="T30" fmla="*/ 389 w 550"/>
                      <a:gd name="T31" fmla="*/ 25 h 913"/>
                      <a:gd name="T32" fmla="*/ 327 w 550"/>
                      <a:gd name="T33" fmla="*/ 25 h 913"/>
                      <a:gd name="T34" fmla="*/ 284 w 550"/>
                      <a:gd name="T35" fmla="*/ 42 h 913"/>
                      <a:gd name="T36" fmla="*/ 241 w 550"/>
                      <a:gd name="T37" fmla="*/ 42 h 913"/>
                      <a:gd name="T38" fmla="*/ 208 w 550"/>
                      <a:gd name="T39" fmla="*/ 45 h 913"/>
                      <a:gd name="T40" fmla="*/ 186 w 550"/>
                      <a:gd name="T41" fmla="*/ 50 h 913"/>
                      <a:gd name="T42" fmla="*/ 194 w 550"/>
                      <a:gd name="T43" fmla="*/ 84 h 913"/>
                      <a:gd name="T44" fmla="*/ 236 w 550"/>
                      <a:gd name="T45" fmla="*/ 107 h 913"/>
                      <a:gd name="T46" fmla="*/ 248 w 550"/>
                      <a:gd name="T47" fmla="*/ 145 h 913"/>
                      <a:gd name="T48" fmla="*/ 223 w 550"/>
                      <a:gd name="T49" fmla="*/ 175 h 913"/>
                      <a:gd name="T50" fmla="*/ 155 w 550"/>
                      <a:gd name="T51" fmla="*/ 243 h 913"/>
                      <a:gd name="T52" fmla="*/ 115 w 550"/>
                      <a:gd name="T53" fmla="*/ 263 h 913"/>
                      <a:gd name="T54" fmla="*/ 81 w 550"/>
                      <a:gd name="T55" fmla="*/ 306 h 913"/>
                      <a:gd name="T56" fmla="*/ 66 w 550"/>
                      <a:gd name="T57" fmla="*/ 383 h 913"/>
                      <a:gd name="T58" fmla="*/ 27 w 550"/>
                      <a:gd name="T59" fmla="*/ 452 h 913"/>
                      <a:gd name="T60" fmla="*/ 38 w 550"/>
                      <a:gd name="T61" fmla="*/ 499 h 913"/>
                      <a:gd name="T62" fmla="*/ 47 w 550"/>
                      <a:gd name="T63" fmla="*/ 529 h 913"/>
                      <a:gd name="T64" fmla="*/ 23 w 550"/>
                      <a:gd name="T65" fmla="*/ 567 h 913"/>
                      <a:gd name="T66" fmla="*/ 42 w 550"/>
                      <a:gd name="T67" fmla="*/ 590 h 913"/>
                      <a:gd name="T68" fmla="*/ 33 w 550"/>
                      <a:gd name="T69" fmla="*/ 610 h 913"/>
                      <a:gd name="T70" fmla="*/ 33 w 550"/>
                      <a:gd name="T71" fmla="*/ 620 h 913"/>
                      <a:gd name="T72" fmla="*/ 63 w 550"/>
                      <a:gd name="T73" fmla="*/ 648 h 913"/>
                      <a:gd name="T74" fmla="*/ 85 w 550"/>
                      <a:gd name="T75" fmla="*/ 685 h 913"/>
                      <a:gd name="T76" fmla="*/ 7 w 550"/>
                      <a:gd name="T77" fmla="*/ 737 h 913"/>
                      <a:gd name="T78" fmla="*/ 10 w 550"/>
                      <a:gd name="T79" fmla="*/ 780 h 913"/>
                      <a:gd name="T80" fmla="*/ 68 w 550"/>
                      <a:gd name="T81" fmla="*/ 821 h 913"/>
                      <a:gd name="T82" fmla="*/ 80 w 550"/>
                      <a:gd name="T83" fmla="*/ 851 h 913"/>
                      <a:gd name="T84" fmla="*/ 98 w 550"/>
                      <a:gd name="T85" fmla="*/ 858 h 913"/>
                      <a:gd name="T86" fmla="*/ 111 w 550"/>
                      <a:gd name="T87" fmla="*/ 913 h 913"/>
                      <a:gd name="T88" fmla="*/ 165 w 550"/>
                      <a:gd name="T89" fmla="*/ 906 h 913"/>
                      <a:gd name="T90" fmla="*/ 176 w 550"/>
                      <a:gd name="T91" fmla="*/ 840 h 913"/>
                      <a:gd name="T92" fmla="*/ 229 w 550"/>
                      <a:gd name="T93" fmla="*/ 796 h 913"/>
                      <a:gd name="T94" fmla="*/ 274 w 550"/>
                      <a:gd name="T95" fmla="*/ 735 h 913"/>
                      <a:gd name="T96" fmla="*/ 244 w 550"/>
                      <a:gd name="T97" fmla="*/ 630 h 913"/>
                      <a:gd name="T98" fmla="*/ 221 w 550"/>
                      <a:gd name="T99" fmla="*/ 587 h 913"/>
                      <a:gd name="T100" fmla="*/ 286 w 550"/>
                      <a:gd name="T101" fmla="*/ 609 h 913"/>
                      <a:gd name="T102" fmla="*/ 337 w 550"/>
                      <a:gd name="T103" fmla="*/ 610 h 913"/>
                      <a:gd name="T104" fmla="*/ 296 w 550"/>
                      <a:gd name="T105" fmla="*/ 545 h 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50" h="913">
                        <a:moveTo>
                          <a:pt x="289" y="537"/>
                        </a:moveTo>
                        <a:lnTo>
                          <a:pt x="293" y="524"/>
                        </a:lnTo>
                        <a:lnTo>
                          <a:pt x="283" y="514"/>
                        </a:lnTo>
                        <a:lnTo>
                          <a:pt x="283" y="507"/>
                        </a:lnTo>
                        <a:lnTo>
                          <a:pt x="286" y="501"/>
                        </a:lnTo>
                        <a:lnTo>
                          <a:pt x="286" y="489"/>
                        </a:lnTo>
                        <a:lnTo>
                          <a:pt x="281" y="479"/>
                        </a:lnTo>
                        <a:lnTo>
                          <a:pt x="283" y="464"/>
                        </a:lnTo>
                        <a:lnTo>
                          <a:pt x="294" y="469"/>
                        </a:lnTo>
                        <a:lnTo>
                          <a:pt x="304" y="464"/>
                        </a:lnTo>
                        <a:lnTo>
                          <a:pt x="312" y="456"/>
                        </a:lnTo>
                        <a:lnTo>
                          <a:pt x="306" y="447"/>
                        </a:lnTo>
                        <a:lnTo>
                          <a:pt x="311" y="444"/>
                        </a:lnTo>
                        <a:lnTo>
                          <a:pt x="316" y="441"/>
                        </a:lnTo>
                        <a:lnTo>
                          <a:pt x="321" y="437"/>
                        </a:lnTo>
                        <a:lnTo>
                          <a:pt x="326" y="434"/>
                        </a:lnTo>
                        <a:lnTo>
                          <a:pt x="322" y="428"/>
                        </a:lnTo>
                        <a:lnTo>
                          <a:pt x="324" y="419"/>
                        </a:lnTo>
                        <a:lnTo>
                          <a:pt x="349" y="421"/>
                        </a:lnTo>
                        <a:lnTo>
                          <a:pt x="361" y="416"/>
                        </a:lnTo>
                        <a:lnTo>
                          <a:pt x="369" y="421"/>
                        </a:lnTo>
                        <a:lnTo>
                          <a:pt x="379" y="426"/>
                        </a:lnTo>
                        <a:lnTo>
                          <a:pt x="387" y="424"/>
                        </a:lnTo>
                        <a:lnTo>
                          <a:pt x="394" y="423"/>
                        </a:lnTo>
                        <a:lnTo>
                          <a:pt x="396" y="414"/>
                        </a:lnTo>
                        <a:lnTo>
                          <a:pt x="397" y="408"/>
                        </a:lnTo>
                        <a:lnTo>
                          <a:pt x="404" y="403"/>
                        </a:lnTo>
                        <a:lnTo>
                          <a:pt x="404" y="394"/>
                        </a:lnTo>
                        <a:lnTo>
                          <a:pt x="404" y="389"/>
                        </a:lnTo>
                        <a:lnTo>
                          <a:pt x="414" y="388"/>
                        </a:lnTo>
                        <a:lnTo>
                          <a:pt x="419" y="393"/>
                        </a:lnTo>
                        <a:lnTo>
                          <a:pt x="422" y="386"/>
                        </a:lnTo>
                        <a:lnTo>
                          <a:pt x="419" y="379"/>
                        </a:lnTo>
                        <a:lnTo>
                          <a:pt x="415" y="374"/>
                        </a:lnTo>
                        <a:lnTo>
                          <a:pt x="415" y="363"/>
                        </a:lnTo>
                        <a:lnTo>
                          <a:pt x="424" y="349"/>
                        </a:lnTo>
                        <a:lnTo>
                          <a:pt x="430" y="339"/>
                        </a:lnTo>
                        <a:lnTo>
                          <a:pt x="432" y="328"/>
                        </a:lnTo>
                        <a:lnTo>
                          <a:pt x="434" y="324"/>
                        </a:lnTo>
                        <a:lnTo>
                          <a:pt x="440" y="328"/>
                        </a:lnTo>
                        <a:lnTo>
                          <a:pt x="449" y="321"/>
                        </a:lnTo>
                        <a:lnTo>
                          <a:pt x="449" y="311"/>
                        </a:lnTo>
                        <a:lnTo>
                          <a:pt x="444" y="306"/>
                        </a:lnTo>
                        <a:lnTo>
                          <a:pt x="440" y="301"/>
                        </a:lnTo>
                        <a:lnTo>
                          <a:pt x="440" y="295"/>
                        </a:lnTo>
                        <a:lnTo>
                          <a:pt x="442" y="290"/>
                        </a:lnTo>
                        <a:lnTo>
                          <a:pt x="444" y="285"/>
                        </a:lnTo>
                        <a:lnTo>
                          <a:pt x="452" y="271"/>
                        </a:lnTo>
                        <a:lnTo>
                          <a:pt x="462" y="268"/>
                        </a:lnTo>
                        <a:lnTo>
                          <a:pt x="472" y="263"/>
                        </a:lnTo>
                        <a:lnTo>
                          <a:pt x="479" y="253"/>
                        </a:lnTo>
                        <a:lnTo>
                          <a:pt x="489" y="253"/>
                        </a:lnTo>
                        <a:lnTo>
                          <a:pt x="500" y="246"/>
                        </a:lnTo>
                        <a:lnTo>
                          <a:pt x="507" y="240"/>
                        </a:lnTo>
                        <a:lnTo>
                          <a:pt x="507" y="233"/>
                        </a:lnTo>
                        <a:lnTo>
                          <a:pt x="504" y="225"/>
                        </a:lnTo>
                        <a:lnTo>
                          <a:pt x="499" y="220"/>
                        </a:lnTo>
                        <a:lnTo>
                          <a:pt x="504" y="213"/>
                        </a:lnTo>
                        <a:lnTo>
                          <a:pt x="533" y="195"/>
                        </a:lnTo>
                        <a:lnTo>
                          <a:pt x="538" y="180"/>
                        </a:lnTo>
                        <a:lnTo>
                          <a:pt x="545" y="177"/>
                        </a:lnTo>
                        <a:lnTo>
                          <a:pt x="550" y="160"/>
                        </a:lnTo>
                        <a:lnTo>
                          <a:pt x="545" y="157"/>
                        </a:lnTo>
                        <a:lnTo>
                          <a:pt x="540" y="155"/>
                        </a:lnTo>
                        <a:lnTo>
                          <a:pt x="533" y="158"/>
                        </a:lnTo>
                        <a:lnTo>
                          <a:pt x="528" y="157"/>
                        </a:lnTo>
                        <a:lnTo>
                          <a:pt x="522" y="148"/>
                        </a:lnTo>
                        <a:lnTo>
                          <a:pt x="522" y="155"/>
                        </a:lnTo>
                        <a:lnTo>
                          <a:pt x="517" y="157"/>
                        </a:lnTo>
                        <a:lnTo>
                          <a:pt x="517" y="143"/>
                        </a:lnTo>
                        <a:lnTo>
                          <a:pt x="505" y="137"/>
                        </a:lnTo>
                        <a:lnTo>
                          <a:pt x="502" y="127"/>
                        </a:lnTo>
                        <a:lnTo>
                          <a:pt x="509" y="112"/>
                        </a:lnTo>
                        <a:lnTo>
                          <a:pt x="507" y="99"/>
                        </a:lnTo>
                        <a:lnTo>
                          <a:pt x="490" y="105"/>
                        </a:lnTo>
                        <a:lnTo>
                          <a:pt x="489" y="99"/>
                        </a:lnTo>
                        <a:lnTo>
                          <a:pt x="494" y="94"/>
                        </a:lnTo>
                        <a:lnTo>
                          <a:pt x="495" y="85"/>
                        </a:lnTo>
                        <a:lnTo>
                          <a:pt x="497" y="80"/>
                        </a:lnTo>
                        <a:lnTo>
                          <a:pt x="504" y="75"/>
                        </a:lnTo>
                        <a:lnTo>
                          <a:pt x="504" y="67"/>
                        </a:lnTo>
                        <a:lnTo>
                          <a:pt x="499" y="60"/>
                        </a:lnTo>
                        <a:lnTo>
                          <a:pt x="492" y="62"/>
                        </a:lnTo>
                        <a:lnTo>
                          <a:pt x="489" y="67"/>
                        </a:lnTo>
                        <a:lnTo>
                          <a:pt x="477" y="70"/>
                        </a:lnTo>
                        <a:lnTo>
                          <a:pt x="467" y="65"/>
                        </a:lnTo>
                        <a:lnTo>
                          <a:pt x="462" y="49"/>
                        </a:lnTo>
                        <a:lnTo>
                          <a:pt x="454" y="35"/>
                        </a:lnTo>
                        <a:lnTo>
                          <a:pt x="442" y="30"/>
                        </a:lnTo>
                        <a:lnTo>
                          <a:pt x="437" y="22"/>
                        </a:lnTo>
                        <a:lnTo>
                          <a:pt x="429" y="14"/>
                        </a:lnTo>
                        <a:lnTo>
                          <a:pt x="419" y="2"/>
                        </a:lnTo>
                        <a:lnTo>
                          <a:pt x="404" y="0"/>
                        </a:lnTo>
                        <a:lnTo>
                          <a:pt x="401" y="9"/>
                        </a:lnTo>
                        <a:lnTo>
                          <a:pt x="394" y="15"/>
                        </a:lnTo>
                        <a:lnTo>
                          <a:pt x="389" y="25"/>
                        </a:lnTo>
                        <a:lnTo>
                          <a:pt x="379" y="32"/>
                        </a:lnTo>
                        <a:lnTo>
                          <a:pt x="369" y="32"/>
                        </a:lnTo>
                        <a:lnTo>
                          <a:pt x="351" y="34"/>
                        </a:lnTo>
                        <a:lnTo>
                          <a:pt x="342" y="25"/>
                        </a:lnTo>
                        <a:lnTo>
                          <a:pt x="337" y="19"/>
                        </a:lnTo>
                        <a:lnTo>
                          <a:pt x="327" y="25"/>
                        </a:lnTo>
                        <a:lnTo>
                          <a:pt x="319" y="27"/>
                        </a:lnTo>
                        <a:lnTo>
                          <a:pt x="316" y="34"/>
                        </a:lnTo>
                        <a:lnTo>
                          <a:pt x="311" y="39"/>
                        </a:lnTo>
                        <a:lnTo>
                          <a:pt x="304" y="45"/>
                        </a:lnTo>
                        <a:lnTo>
                          <a:pt x="296" y="44"/>
                        </a:lnTo>
                        <a:lnTo>
                          <a:pt x="284" y="42"/>
                        </a:lnTo>
                        <a:lnTo>
                          <a:pt x="278" y="40"/>
                        </a:lnTo>
                        <a:lnTo>
                          <a:pt x="273" y="44"/>
                        </a:lnTo>
                        <a:lnTo>
                          <a:pt x="259" y="37"/>
                        </a:lnTo>
                        <a:lnTo>
                          <a:pt x="254" y="44"/>
                        </a:lnTo>
                        <a:lnTo>
                          <a:pt x="251" y="44"/>
                        </a:lnTo>
                        <a:lnTo>
                          <a:pt x="241" y="42"/>
                        </a:lnTo>
                        <a:lnTo>
                          <a:pt x="236" y="37"/>
                        </a:lnTo>
                        <a:lnTo>
                          <a:pt x="228" y="37"/>
                        </a:lnTo>
                        <a:lnTo>
                          <a:pt x="221" y="32"/>
                        </a:lnTo>
                        <a:lnTo>
                          <a:pt x="218" y="40"/>
                        </a:lnTo>
                        <a:lnTo>
                          <a:pt x="214" y="45"/>
                        </a:lnTo>
                        <a:lnTo>
                          <a:pt x="208" y="45"/>
                        </a:lnTo>
                        <a:lnTo>
                          <a:pt x="201" y="44"/>
                        </a:lnTo>
                        <a:lnTo>
                          <a:pt x="191" y="32"/>
                        </a:lnTo>
                        <a:lnTo>
                          <a:pt x="181" y="30"/>
                        </a:lnTo>
                        <a:lnTo>
                          <a:pt x="176" y="35"/>
                        </a:lnTo>
                        <a:lnTo>
                          <a:pt x="184" y="42"/>
                        </a:lnTo>
                        <a:lnTo>
                          <a:pt x="186" y="50"/>
                        </a:lnTo>
                        <a:lnTo>
                          <a:pt x="193" y="57"/>
                        </a:lnTo>
                        <a:lnTo>
                          <a:pt x="189" y="62"/>
                        </a:lnTo>
                        <a:lnTo>
                          <a:pt x="178" y="79"/>
                        </a:lnTo>
                        <a:lnTo>
                          <a:pt x="180" y="89"/>
                        </a:lnTo>
                        <a:lnTo>
                          <a:pt x="191" y="90"/>
                        </a:lnTo>
                        <a:lnTo>
                          <a:pt x="194" y="84"/>
                        </a:lnTo>
                        <a:lnTo>
                          <a:pt x="199" y="80"/>
                        </a:lnTo>
                        <a:lnTo>
                          <a:pt x="206" y="87"/>
                        </a:lnTo>
                        <a:lnTo>
                          <a:pt x="219" y="92"/>
                        </a:lnTo>
                        <a:lnTo>
                          <a:pt x="223" y="82"/>
                        </a:lnTo>
                        <a:lnTo>
                          <a:pt x="226" y="95"/>
                        </a:lnTo>
                        <a:lnTo>
                          <a:pt x="236" y="107"/>
                        </a:lnTo>
                        <a:lnTo>
                          <a:pt x="246" y="105"/>
                        </a:lnTo>
                        <a:lnTo>
                          <a:pt x="259" y="117"/>
                        </a:lnTo>
                        <a:lnTo>
                          <a:pt x="251" y="122"/>
                        </a:lnTo>
                        <a:lnTo>
                          <a:pt x="251" y="132"/>
                        </a:lnTo>
                        <a:lnTo>
                          <a:pt x="253" y="140"/>
                        </a:lnTo>
                        <a:lnTo>
                          <a:pt x="248" y="145"/>
                        </a:lnTo>
                        <a:lnTo>
                          <a:pt x="241" y="143"/>
                        </a:lnTo>
                        <a:lnTo>
                          <a:pt x="238" y="152"/>
                        </a:lnTo>
                        <a:lnTo>
                          <a:pt x="233" y="148"/>
                        </a:lnTo>
                        <a:lnTo>
                          <a:pt x="224" y="155"/>
                        </a:lnTo>
                        <a:lnTo>
                          <a:pt x="226" y="162"/>
                        </a:lnTo>
                        <a:lnTo>
                          <a:pt x="223" y="175"/>
                        </a:lnTo>
                        <a:lnTo>
                          <a:pt x="204" y="178"/>
                        </a:lnTo>
                        <a:lnTo>
                          <a:pt x="206" y="192"/>
                        </a:lnTo>
                        <a:lnTo>
                          <a:pt x="194" y="202"/>
                        </a:lnTo>
                        <a:lnTo>
                          <a:pt x="189" y="223"/>
                        </a:lnTo>
                        <a:lnTo>
                          <a:pt x="161" y="233"/>
                        </a:lnTo>
                        <a:lnTo>
                          <a:pt x="155" y="243"/>
                        </a:lnTo>
                        <a:lnTo>
                          <a:pt x="146" y="228"/>
                        </a:lnTo>
                        <a:lnTo>
                          <a:pt x="141" y="235"/>
                        </a:lnTo>
                        <a:lnTo>
                          <a:pt x="130" y="236"/>
                        </a:lnTo>
                        <a:lnTo>
                          <a:pt x="120" y="236"/>
                        </a:lnTo>
                        <a:lnTo>
                          <a:pt x="115" y="245"/>
                        </a:lnTo>
                        <a:lnTo>
                          <a:pt x="115" y="263"/>
                        </a:lnTo>
                        <a:lnTo>
                          <a:pt x="103" y="273"/>
                        </a:lnTo>
                        <a:lnTo>
                          <a:pt x="98" y="295"/>
                        </a:lnTo>
                        <a:lnTo>
                          <a:pt x="90" y="286"/>
                        </a:lnTo>
                        <a:lnTo>
                          <a:pt x="86" y="293"/>
                        </a:lnTo>
                        <a:lnTo>
                          <a:pt x="86" y="300"/>
                        </a:lnTo>
                        <a:lnTo>
                          <a:pt x="81" y="306"/>
                        </a:lnTo>
                        <a:lnTo>
                          <a:pt x="80" y="311"/>
                        </a:lnTo>
                        <a:lnTo>
                          <a:pt x="85" y="326"/>
                        </a:lnTo>
                        <a:lnTo>
                          <a:pt x="78" y="338"/>
                        </a:lnTo>
                        <a:lnTo>
                          <a:pt x="68" y="341"/>
                        </a:lnTo>
                        <a:lnTo>
                          <a:pt x="66" y="359"/>
                        </a:lnTo>
                        <a:lnTo>
                          <a:pt x="66" y="383"/>
                        </a:lnTo>
                        <a:lnTo>
                          <a:pt x="60" y="398"/>
                        </a:lnTo>
                        <a:lnTo>
                          <a:pt x="60" y="408"/>
                        </a:lnTo>
                        <a:lnTo>
                          <a:pt x="30" y="428"/>
                        </a:lnTo>
                        <a:lnTo>
                          <a:pt x="30" y="437"/>
                        </a:lnTo>
                        <a:lnTo>
                          <a:pt x="33" y="444"/>
                        </a:lnTo>
                        <a:lnTo>
                          <a:pt x="27" y="452"/>
                        </a:lnTo>
                        <a:lnTo>
                          <a:pt x="35" y="459"/>
                        </a:lnTo>
                        <a:lnTo>
                          <a:pt x="40" y="457"/>
                        </a:lnTo>
                        <a:lnTo>
                          <a:pt x="43" y="474"/>
                        </a:lnTo>
                        <a:lnTo>
                          <a:pt x="43" y="491"/>
                        </a:lnTo>
                        <a:lnTo>
                          <a:pt x="47" y="494"/>
                        </a:lnTo>
                        <a:lnTo>
                          <a:pt x="38" y="499"/>
                        </a:lnTo>
                        <a:lnTo>
                          <a:pt x="30" y="502"/>
                        </a:lnTo>
                        <a:lnTo>
                          <a:pt x="35" y="507"/>
                        </a:lnTo>
                        <a:lnTo>
                          <a:pt x="42" y="507"/>
                        </a:lnTo>
                        <a:lnTo>
                          <a:pt x="48" y="507"/>
                        </a:lnTo>
                        <a:lnTo>
                          <a:pt x="48" y="521"/>
                        </a:lnTo>
                        <a:lnTo>
                          <a:pt x="47" y="529"/>
                        </a:lnTo>
                        <a:lnTo>
                          <a:pt x="50" y="542"/>
                        </a:lnTo>
                        <a:lnTo>
                          <a:pt x="48" y="547"/>
                        </a:lnTo>
                        <a:lnTo>
                          <a:pt x="33" y="552"/>
                        </a:lnTo>
                        <a:lnTo>
                          <a:pt x="23" y="554"/>
                        </a:lnTo>
                        <a:lnTo>
                          <a:pt x="18" y="557"/>
                        </a:lnTo>
                        <a:lnTo>
                          <a:pt x="23" y="567"/>
                        </a:lnTo>
                        <a:lnTo>
                          <a:pt x="20" y="572"/>
                        </a:lnTo>
                        <a:lnTo>
                          <a:pt x="22" y="575"/>
                        </a:lnTo>
                        <a:lnTo>
                          <a:pt x="27" y="575"/>
                        </a:lnTo>
                        <a:lnTo>
                          <a:pt x="37" y="572"/>
                        </a:lnTo>
                        <a:lnTo>
                          <a:pt x="43" y="580"/>
                        </a:lnTo>
                        <a:lnTo>
                          <a:pt x="42" y="590"/>
                        </a:lnTo>
                        <a:lnTo>
                          <a:pt x="42" y="599"/>
                        </a:lnTo>
                        <a:lnTo>
                          <a:pt x="37" y="605"/>
                        </a:lnTo>
                        <a:lnTo>
                          <a:pt x="32" y="600"/>
                        </a:lnTo>
                        <a:lnTo>
                          <a:pt x="22" y="602"/>
                        </a:lnTo>
                        <a:lnTo>
                          <a:pt x="22" y="609"/>
                        </a:lnTo>
                        <a:lnTo>
                          <a:pt x="33" y="610"/>
                        </a:lnTo>
                        <a:lnTo>
                          <a:pt x="37" y="612"/>
                        </a:lnTo>
                        <a:lnTo>
                          <a:pt x="28" y="619"/>
                        </a:lnTo>
                        <a:lnTo>
                          <a:pt x="22" y="620"/>
                        </a:lnTo>
                        <a:lnTo>
                          <a:pt x="22" y="625"/>
                        </a:lnTo>
                        <a:lnTo>
                          <a:pt x="32" y="625"/>
                        </a:lnTo>
                        <a:lnTo>
                          <a:pt x="33" y="620"/>
                        </a:lnTo>
                        <a:lnTo>
                          <a:pt x="40" y="619"/>
                        </a:lnTo>
                        <a:lnTo>
                          <a:pt x="43" y="624"/>
                        </a:lnTo>
                        <a:lnTo>
                          <a:pt x="48" y="632"/>
                        </a:lnTo>
                        <a:lnTo>
                          <a:pt x="58" y="639"/>
                        </a:lnTo>
                        <a:lnTo>
                          <a:pt x="57" y="647"/>
                        </a:lnTo>
                        <a:lnTo>
                          <a:pt x="63" y="648"/>
                        </a:lnTo>
                        <a:lnTo>
                          <a:pt x="73" y="655"/>
                        </a:lnTo>
                        <a:lnTo>
                          <a:pt x="85" y="662"/>
                        </a:lnTo>
                        <a:lnTo>
                          <a:pt x="88" y="668"/>
                        </a:lnTo>
                        <a:lnTo>
                          <a:pt x="80" y="675"/>
                        </a:lnTo>
                        <a:lnTo>
                          <a:pt x="78" y="682"/>
                        </a:lnTo>
                        <a:lnTo>
                          <a:pt x="85" y="685"/>
                        </a:lnTo>
                        <a:lnTo>
                          <a:pt x="63" y="698"/>
                        </a:lnTo>
                        <a:lnTo>
                          <a:pt x="53" y="688"/>
                        </a:lnTo>
                        <a:lnTo>
                          <a:pt x="43" y="685"/>
                        </a:lnTo>
                        <a:lnTo>
                          <a:pt x="32" y="692"/>
                        </a:lnTo>
                        <a:lnTo>
                          <a:pt x="15" y="715"/>
                        </a:lnTo>
                        <a:lnTo>
                          <a:pt x="7" y="737"/>
                        </a:lnTo>
                        <a:lnTo>
                          <a:pt x="3" y="745"/>
                        </a:lnTo>
                        <a:lnTo>
                          <a:pt x="8" y="755"/>
                        </a:lnTo>
                        <a:lnTo>
                          <a:pt x="12" y="766"/>
                        </a:lnTo>
                        <a:lnTo>
                          <a:pt x="2" y="770"/>
                        </a:lnTo>
                        <a:lnTo>
                          <a:pt x="0" y="778"/>
                        </a:lnTo>
                        <a:lnTo>
                          <a:pt x="10" y="780"/>
                        </a:lnTo>
                        <a:lnTo>
                          <a:pt x="12" y="790"/>
                        </a:lnTo>
                        <a:lnTo>
                          <a:pt x="18" y="793"/>
                        </a:lnTo>
                        <a:lnTo>
                          <a:pt x="27" y="795"/>
                        </a:lnTo>
                        <a:lnTo>
                          <a:pt x="35" y="791"/>
                        </a:lnTo>
                        <a:lnTo>
                          <a:pt x="50" y="801"/>
                        </a:lnTo>
                        <a:lnTo>
                          <a:pt x="68" y="821"/>
                        </a:lnTo>
                        <a:lnTo>
                          <a:pt x="71" y="836"/>
                        </a:lnTo>
                        <a:lnTo>
                          <a:pt x="78" y="841"/>
                        </a:lnTo>
                        <a:lnTo>
                          <a:pt x="73" y="850"/>
                        </a:lnTo>
                        <a:lnTo>
                          <a:pt x="71" y="856"/>
                        </a:lnTo>
                        <a:lnTo>
                          <a:pt x="76" y="858"/>
                        </a:lnTo>
                        <a:lnTo>
                          <a:pt x="80" y="851"/>
                        </a:lnTo>
                        <a:lnTo>
                          <a:pt x="83" y="845"/>
                        </a:lnTo>
                        <a:lnTo>
                          <a:pt x="88" y="846"/>
                        </a:lnTo>
                        <a:lnTo>
                          <a:pt x="88" y="851"/>
                        </a:lnTo>
                        <a:lnTo>
                          <a:pt x="86" y="856"/>
                        </a:lnTo>
                        <a:lnTo>
                          <a:pt x="90" y="860"/>
                        </a:lnTo>
                        <a:lnTo>
                          <a:pt x="98" y="858"/>
                        </a:lnTo>
                        <a:lnTo>
                          <a:pt x="105" y="860"/>
                        </a:lnTo>
                        <a:lnTo>
                          <a:pt x="100" y="869"/>
                        </a:lnTo>
                        <a:lnTo>
                          <a:pt x="105" y="881"/>
                        </a:lnTo>
                        <a:lnTo>
                          <a:pt x="108" y="891"/>
                        </a:lnTo>
                        <a:lnTo>
                          <a:pt x="105" y="906"/>
                        </a:lnTo>
                        <a:lnTo>
                          <a:pt x="111" y="913"/>
                        </a:lnTo>
                        <a:lnTo>
                          <a:pt x="118" y="909"/>
                        </a:lnTo>
                        <a:lnTo>
                          <a:pt x="125" y="901"/>
                        </a:lnTo>
                        <a:lnTo>
                          <a:pt x="136" y="904"/>
                        </a:lnTo>
                        <a:lnTo>
                          <a:pt x="146" y="908"/>
                        </a:lnTo>
                        <a:lnTo>
                          <a:pt x="160" y="908"/>
                        </a:lnTo>
                        <a:lnTo>
                          <a:pt x="165" y="906"/>
                        </a:lnTo>
                        <a:lnTo>
                          <a:pt x="165" y="898"/>
                        </a:lnTo>
                        <a:lnTo>
                          <a:pt x="166" y="884"/>
                        </a:lnTo>
                        <a:lnTo>
                          <a:pt x="168" y="871"/>
                        </a:lnTo>
                        <a:lnTo>
                          <a:pt x="180" y="864"/>
                        </a:lnTo>
                        <a:lnTo>
                          <a:pt x="181" y="850"/>
                        </a:lnTo>
                        <a:lnTo>
                          <a:pt x="176" y="840"/>
                        </a:lnTo>
                        <a:lnTo>
                          <a:pt x="183" y="831"/>
                        </a:lnTo>
                        <a:lnTo>
                          <a:pt x="196" y="828"/>
                        </a:lnTo>
                        <a:lnTo>
                          <a:pt x="208" y="826"/>
                        </a:lnTo>
                        <a:lnTo>
                          <a:pt x="209" y="821"/>
                        </a:lnTo>
                        <a:lnTo>
                          <a:pt x="221" y="808"/>
                        </a:lnTo>
                        <a:lnTo>
                          <a:pt x="229" y="796"/>
                        </a:lnTo>
                        <a:lnTo>
                          <a:pt x="241" y="793"/>
                        </a:lnTo>
                        <a:lnTo>
                          <a:pt x="228" y="785"/>
                        </a:lnTo>
                        <a:lnTo>
                          <a:pt x="241" y="775"/>
                        </a:lnTo>
                        <a:lnTo>
                          <a:pt x="254" y="771"/>
                        </a:lnTo>
                        <a:lnTo>
                          <a:pt x="264" y="753"/>
                        </a:lnTo>
                        <a:lnTo>
                          <a:pt x="274" y="735"/>
                        </a:lnTo>
                        <a:lnTo>
                          <a:pt x="263" y="708"/>
                        </a:lnTo>
                        <a:lnTo>
                          <a:pt x="263" y="670"/>
                        </a:lnTo>
                        <a:lnTo>
                          <a:pt x="254" y="667"/>
                        </a:lnTo>
                        <a:lnTo>
                          <a:pt x="249" y="657"/>
                        </a:lnTo>
                        <a:lnTo>
                          <a:pt x="244" y="652"/>
                        </a:lnTo>
                        <a:lnTo>
                          <a:pt x="244" y="630"/>
                        </a:lnTo>
                        <a:lnTo>
                          <a:pt x="243" y="619"/>
                        </a:lnTo>
                        <a:lnTo>
                          <a:pt x="236" y="619"/>
                        </a:lnTo>
                        <a:lnTo>
                          <a:pt x="234" y="607"/>
                        </a:lnTo>
                        <a:lnTo>
                          <a:pt x="226" y="607"/>
                        </a:lnTo>
                        <a:lnTo>
                          <a:pt x="219" y="600"/>
                        </a:lnTo>
                        <a:lnTo>
                          <a:pt x="221" y="587"/>
                        </a:lnTo>
                        <a:lnTo>
                          <a:pt x="229" y="574"/>
                        </a:lnTo>
                        <a:lnTo>
                          <a:pt x="241" y="579"/>
                        </a:lnTo>
                        <a:lnTo>
                          <a:pt x="269" y="589"/>
                        </a:lnTo>
                        <a:lnTo>
                          <a:pt x="278" y="592"/>
                        </a:lnTo>
                        <a:lnTo>
                          <a:pt x="279" y="604"/>
                        </a:lnTo>
                        <a:lnTo>
                          <a:pt x="286" y="609"/>
                        </a:lnTo>
                        <a:lnTo>
                          <a:pt x="293" y="602"/>
                        </a:lnTo>
                        <a:lnTo>
                          <a:pt x="311" y="602"/>
                        </a:lnTo>
                        <a:lnTo>
                          <a:pt x="321" y="607"/>
                        </a:lnTo>
                        <a:lnTo>
                          <a:pt x="319" y="620"/>
                        </a:lnTo>
                        <a:lnTo>
                          <a:pt x="329" y="619"/>
                        </a:lnTo>
                        <a:lnTo>
                          <a:pt x="337" y="610"/>
                        </a:lnTo>
                        <a:lnTo>
                          <a:pt x="337" y="590"/>
                        </a:lnTo>
                        <a:lnTo>
                          <a:pt x="321" y="589"/>
                        </a:lnTo>
                        <a:lnTo>
                          <a:pt x="304" y="585"/>
                        </a:lnTo>
                        <a:lnTo>
                          <a:pt x="293" y="579"/>
                        </a:lnTo>
                        <a:lnTo>
                          <a:pt x="289" y="565"/>
                        </a:lnTo>
                        <a:lnTo>
                          <a:pt x="296" y="545"/>
                        </a:lnTo>
                        <a:lnTo>
                          <a:pt x="289" y="537"/>
                        </a:lnTo>
                        <a:lnTo>
                          <a:pt x="289" y="537"/>
                        </a:lnTo>
                        <a:lnTo>
                          <a:pt x="289" y="537"/>
                        </a:lnTo>
                        <a:close/>
                      </a:path>
                    </a:pathLst>
                  </a:custGeom>
                  <a:solidFill>
                    <a:srgbClr val="77B8E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a:latin typeface="Proxima Nova A" panose="02000506030000020004" pitchFamily="2" charset="0"/>
                    </a:endParaRPr>
                  </a:p>
                </p:txBody>
              </p:sp>
              <p:sp>
                <p:nvSpPr>
                  <p:cNvPr id="173" name="Freeform 1124">
                    <a:extLst>
                      <a:ext uri="{FF2B5EF4-FFF2-40B4-BE49-F238E27FC236}">
                        <a16:creationId xmlns:a16="http://schemas.microsoft.com/office/drawing/2014/main" id="{8F2A8A63-DCD8-4408-B852-38083FBC2CBD}"/>
                      </a:ext>
                    </a:extLst>
                  </p:cNvPr>
                  <p:cNvSpPr>
                    <a:spLocks/>
                  </p:cNvSpPr>
                  <p:nvPr/>
                </p:nvSpPr>
                <p:spPr bwMode="auto">
                  <a:xfrm>
                    <a:off x="3079402" y="4945322"/>
                    <a:ext cx="118682" cy="180783"/>
                  </a:xfrm>
                  <a:custGeom>
                    <a:avLst/>
                    <a:gdLst>
                      <a:gd name="T0" fmla="*/ 56 w 86"/>
                      <a:gd name="T1" fmla="*/ 131 h 131"/>
                      <a:gd name="T2" fmla="*/ 63 w 86"/>
                      <a:gd name="T3" fmla="*/ 126 h 131"/>
                      <a:gd name="T4" fmla="*/ 69 w 86"/>
                      <a:gd name="T5" fmla="*/ 124 h 131"/>
                      <a:gd name="T6" fmla="*/ 74 w 86"/>
                      <a:gd name="T7" fmla="*/ 117 h 131"/>
                      <a:gd name="T8" fmla="*/ 76 w 86"/>
                      <a:gd name="T9" fmla="*/ 108 h 131"/>
                      <a:gd name="T10" fmla="*/ 76 w 86"/>
                      <a:gd name="T11" fmla="*/ 101 h 131"/>
                      <a:gd name="T12" fmla="*/ 81 w 86"/>
                      <a:gd name="T13" fmla="*/ 96 h 131"/>
                      <a:gd name="T14" fmla="*/ 81 w 86"/>
                      <a:gd name="T15" fmla="*/ 89 h 131"/>
                      <a:gd name="T16" fmla="*/ 76 w 86"/>
                      <a:gd name="T17" fmla="*/ 84 h 131"/>
                      <a:gd name="T18" fmla="*/ 71 w 86"/>
                      <a:gd name="T19" fmla="*/ 83 h 131"/>
                      <a:gd name="T20" fmla="*/ 78 w 86"/>
                      <a:gd name="T21" fmla="*/ 78 h 131"/>
                      <a:gd name="T22" fmla="*/ 84 w 86"/>
                      <a:gd name="T23" fmla="*/ 78 h 131"/>
                      <a:gd name="T24" fmla="*/ 86 w 86"/>
                      <a:gd name="T25" fmla="*/ 71 h 131"/>
                      <a:gd name="T26" fmla="*/ 83 w 86"/>
                      <a:gd name="T27" fmla="*/ 64 h 131"/>
                      <a:gd name="T28" fmla="*/ 78 w 86"/>
                      <a:gd name="T29" fmla="*/ 61 h 131"/>
                      <a:gd name="T30" fmla="*/ 76 w 86"/>
                      <a:gd name="T31" fmla="*/ 53 h 131"/>
                      <a:gd name="T32" fmla="*/ 74 w 86"/>
                      <a:gd name="T33" fmla="*/ 44 h 131"/>
                      <a:gd name="T34" fmla="*/ 78 w 86"/>
                      <a:gd name="T35" fmla="*/ 36 h 131"/>
                      <a:gd name="T36" fmla="*/ 79 w 86"/>
                      <a:gd name="T37" fmla="*/ 26 h 131"/>
                      <a:gd name="T38" fmla="*/ 76 w 86"/>
                      <a:gd name="T39" fmla="*/ 23 h 131"/>
                      <a:gd name="T40" fmla="*/ 65 w 86"/>
                      <a:gd name="T41" fmla="*/ 24 h 131"/>
                      <a:gd name="T42" fmla="*/ 56 w 86"/>
                      <a:gd name="T43" fmla="*/ 24 h 131"/>
                      <a:gd name="T44" fmla="*/ 46 w 86"/>
                      <a:gd name="T45" fmla="*/ 29 h 131"/>
                      <a:gd name="T46" fmla="*/ 35 w 86"/>
                      <a:gd name="T47" fmla="*/ 28 h 131"/>
                      <a:gd name="T48" fmla="*/ 35 w 86"/>
                      <a:gd name="T49" fmla="*/ 11 h 131"/>
                      <a:gd name="T50" fmla="*/ 30 w 86"/>
                      <a:gd name="T51" fmla="*/ 8 h 131"/>
                      <a:gd name="T52" fmla="*/ 21 w 86"/>
                      <a:gd name="T53" fmla="*/ 6 h 131"/>
                      <a:gd name="T54" fmla="*/ 21 w 86"/>
                      <a:gd name="T55" fmla="*/ 0 h 131"/>
                      <a:gd name="T56" fmla="*/ 16 w 86"/>
                      <a:gd name="T57" fmla="*/ 0 h 131"/>
                      <a:gd name="T58" fmla="*/ 8 w 86"/>
                      <a:gd name="T59" fmla="*/ 4 h 131"/>
                      <a:gd name="T60" fmla="*/ 0 w 86"/>
                      <a:gd name="T61" fmla="*/ 13 h 131"/>
                      <a:gd name="T62" fmla="*/ 5 w 86"/>
                      <a:gd name="T63" fmla="*/ 19 h 131"/>
                      <a:gd name="T64" fmla="*/ 6 w 86"/>
                      <a:gd name="T65" fmla="*/ 38 h 131"/>
                      <a:gd name="T66" fmla="*/ 11 w 86"/>
                      <a:gd name="T67" fmla="*/ 48 h 131"/>
                      <a:gd name="T68" fmla="*/ 16 w 86"/>
                      <a:gd name="T69" fmla="*/ 51 h 131"/>
                      <a:gd name="T70" fmla="*/ 20 w 86"/>
                      <a:gd name="T71" fmla="*/ 56 h 131"/>
                      <a:gd name="T72" fmla="*/ 11 w 86"/>
                      <a:gd name="T73" fmla="*/ 56 h 131"/>
                      <a:gd name="T74" fmla="*/ 13 w 86"/>
                      <a:gd name="T75" fmla="*/ 63 h 131"/>
                      <a:gd name="T76" fmla="*/ 21 w 86"/>
                      <a:gd name="T77" fmla="*/ 66 h 131"/>
                      <a:gd name="T78" fmla="*/ 26 w 86"/>
                      <a:gd name="T79" fmla="*/ 71 h 131"/>
                      <a:gd name="T80" fmla="*/ 30 w 86"/>
                      <a:gd name="T81" fmla="*/ 84 h 131"/>
                      <a:gd name="T82" fmla="*/ 31 w 86"/>
                      <a:gd name="T83" fmla="*/ 96 h 131"/>
                      <a:gd name="T84" fmla="*/ 28 w 86"/>
                      <a:gd name="T85" fmla="*/ 103 h 131"/>
                      <a:gd name="T86" fmla="*/ 40 w 86"/>
                      <a:gd name="T87" fmla="*/ 116 h 131"/>
                      <a:gd name="T88" fmla="*/ 48 w 86"/>
                      <a:gd name="T89" fmla="*/ 126 h 131"/>
                      <a:gd name="T90" fmla="*/ 56 w 86"/>
                      <a:gd name="T91" fmla="*/ 131 h 131"/>
                      <a:gd name="T92" fmla="*/ 56 w 86"/>
                      <a:gd name="T93" fmla="*/ 131 h 131"/>
                      <a:gd name="T94" fmla="*/ 56 w 86"/>
                      <a:gd name="T9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6" h="131">
                        <a:moveTo>
                          <a:pt x="56" y="131"/>
                        </a:moveTo>
                        <a:lnTo>
                          <a:pt x="63" y="126"/>
                        </a:lnTo>
                        <a:lnTo>
                          <a:pt x="69" y="124"/>
                        </a:lnTo>
                        <a:lnTo>
                          <a:pt x="74" y="117"/>
                        </a:lnTo>
                        <a:lnTo>
                          <a:pt x="76" y="108"/>
                        </a:lnTo>
                        <a:lnTo>
                          <a:pt x="76" y="101"/>
                        </a:lnTo>
                        <a:lnTo>
                          <a:pt x="81" y="96"/>
                        </a:lnTo>
                        <a:lnTo>
                          <a:pt x="81" y="89"/>
                        </a:lnTo>
                        <a:lnTo>
                          <a:pt x="76" y="84"/>
                        </a:lnTo>
                        <a:lnTo>
                          <a:pt x="71" y="83"/>
                        </a:lnTo>
                        <a:lnTo>
                          <a:pt x="78" y="78"/>
                        </a:lnTo>
                        <a:lnTo>
                          <a:pt x="84" y="78"/>
                        </a:lnTo>
                        <a:lnTo>
                          <a:pt x="86" y="71"/>
                        </a:lnTo>
                        <a:lnTo>
                          <a:pt x="83" y="64"/>
                        </a:lnTo>
                        <a:lnTo>
                          <a:pt x="78" y="61"/>
                        </a:lnTo>
                        <a:lnTo>
                          <a:pt x="76" y="53"/>
                        </a:lnTo>
                        <a:lnTo>
                          <a:pt x="74" y="44"/>
                        </a:lnTo>
                        <a:lnTo>
                          <a:pt x="78" y="36"/>
                        </a:lnTo>
                        <a:lnTo>
                          <a:pt x="79" y="26"/>
                        </a:lnTo>
                        <a:lnTo>
                          <a:pt x="76" y="23"/>
                        </a:lnTo>
                        <a:lnTo>
                          <a:pt x="65" y="24"/>
                        </a:lnTo>
                        <a:lnTo>
                          <a:pt x="56" y="24"/>
                        </a:lnTo>
                        <a:lnTo>
                          <a:pt x="46" y="29"/>
                        </a:lnTo>
                        <a:lnTo>
                          <a:pt x="35" y="28"/>
                        </a:lnTo>
                        <a:lnTo>
                          <a:pt x="35" y="11"/>
                        </a:lnTo>
                        <a:lnTo>
                          <a:pt x="30" y="8"/>
                        </a:lnTo>
                        <a:lnTo>
                          <a:pt x="21" y="6"/>
                        </a:lnTo>
                        <a:lnTo>
                          <a:pt x="21" y="0"/>
                        </a:lnTo>
                        <a:lnTo>
                          <a:pt x="16" y="0"/>
                        </a:lnTo>
                        <a:lnTo>
                          <a:pt x="8" y="4"/>
                        </a:lnTo>
                        <a:lnTo>
                          <a:pt x="0" y="13"/>
                        </a:lnTo>
                        <a:lnTo>
                          <a:pt x="5" y="19"/>
                        </a:lnTo>
                        <a:lnTo>
                          <a:pt x="6" y="38"/>
                        </a:lnTo>
                        <a:lnTo>
                          <a:pt x="11" y="48"/>
                        </a:lnTo>
                        <a:lnTo>
                          <a:pt x="16" y="51"/>
                        </a:lnTo>
                        <a:lnTo>
                          <a:pt x="20" y="56"/>
                        </a:lnTo>
                        <a:lnTo>
                          <a:pt x="11" y="56"/>
                        </a:lnTo>
                        <a:lnTo>
                          <a:pt x="13" y="63"/>
                        </a:lnTo>
                        <a:lnTo>
                          <a:pt x="21" y="66"/>
                        </a:lnTo>
                        <a:lnTo>
                          <a:pt x="26" y="71"/>
                        </a:lnTo>
                        <a:lnTo>
                          <a:pt x="30" y="84"/>
                        </a:lnTo>
                        <a:lnTo>
                          <a:pt x="31" y="96"/>
                        </a:lnTo>
                        <a:lnTo>
                          <a:pt x="28" y="103"/>
                        </a:lnTo>
                        <a:lnTo>
                          <a:pt x="40" y="116"/>
                        </a:lnTo>
                        <a:lnTo>
                          <a:pt x="48" y="126"/>
                        </a:lnTo>
                        <a:lnTo>
                          <a:pt x="56" y="131"/>
                        </a:lnTo>
                        <a:lnTo>
                          <a:pt x="56" y="131"/>
                        </a:lnTo>
                        <a:lnTo>
                          <a:pt x="56" y="131"/>
                        </a:lnTo>
                        <a:close/>
                      </a:path>
                    </a:pathLst>
                  </a:custGeom>
                  <a:solidFill>
                    <a:srgbClr val="B79F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a:latin typeface="Proxima Nova A" panose="02000506030000020004" pitchFamily="2" charset="0"/>
                    </a:endParaRPr>
                  </a:p>
                </p:txBody>
              </p:sp>
              <p:sp>
                <p:nvSpPr>
                  <p:cNvPr id="174" name="Freeform 1131">
                    <a:extLst>
                      <a:ext uri="{FF2B5EF4-FFF2-40B4-BE49-F238E27FC236}">
                        <a16:creationId xmlns:a16="http://schemas.microsoft.com/office/drawing/2014/main" id="{01491A38-7536-4B81-9FF6-E1EDDCDDEF8D}"/>
                      </a:ext>
                    </a:extLst>
                  </p:cNvPr>
                  <p:cNvSpPr>
                    <a:spLocks/>
                  </p:cNvSpPr>
                  <p:nvPr/>
                </p:nvSpPr>
                <p:spPr bwMode="auto">
                  <a:xfrm>
                    <a:off x="3744573" y="2363300"/>
                    <a:ext cx="91082" cy="86941"/>
                  </a:xfrm>
                  <a:custGeom>
                    <a:avLst/>
                    <a:gdLst>
                      <a:gd name="T0" fmla="*/ 58 w 66"/>
                      <a:gd name="T1" fmla="*/ 54 h 63"/>
                      <a:gd name="T2" fmla="*/ 63 w 66"/>
                      <a:gd name="T3" fmla="*/ 43 h 63"/>
                      <a:gd name="T4" fmla="*/ 66 w 66"/>
                      <a:gd name="T5" fmla="*/ 33 h 63"/>
                      <a:gd name="T6" fmla="*/ 63 w 66"/>
                      <a:gd name="T7" fmla="*/ 25 h 63"/>
                      <a:gd name="T8" fmla="*/ 56 w 66"/>
                      <a:gd name="T9" fmla="*/ 23 h 63"/>
                      <a:gd name="T10" fmla="*/ 53 w 66"/>
                      <a:gd name="T11" fmla="*/ 16 h 63"/>
                      <a:gd name="T12" fmla="*/ 46 w 66"/>
                      <a:gd name="T13" fmla="*/ 15 h 63"/>
                      <a:gd name="T14" fmla="*/ 44 w 66"/>
                      <a:gd name="T15" fmla="*/ 10 h 63"/>
                      <a:gd name="T16" fmla="*/ 41 w 66"/>
                      <a:gd name="T17" fmla="*/ 3 h 63"/>
                      <a:gd name="T18" fmla="*/ 38 w 66"/>
                      <a:gd name="T19" fmla="*/ 0 h 63"/>
                      <a:gd name="T20" fmla="*/ 28 w 66"/>
                      <a:gd name="T21" fmla="*/ 0 h 63"/>
                      <a:gd name="T22" fmla="*/ 25 w 66"/>
                      <a:gd name="T23" fmla="*/ 5 h 63"/>
                      <a:gd name="T24" fmla="*/ 16 w 66"/>
                      <a:gd name="T25" fmla="*/ 5 h 63"/>
                      <a:gd name="T26" fmla="*/ 11 w 66"/>
                      <a:gd name="T27" fmla="*/ 6 h 63"/>
                      <a:gd name="T28" fmla="*/ 13 w 66"/>
                      <a:gd name="T29" fmla="*/ 21 h 63"/>
                      <a:gd name="T30" fmla="*/ 13 w 66"/>
                      <a:gd name="T31" fmla="*/ 30 h 63"/>
                      <a:gd name="T32" fmla="*/ 3 w 66"/>
                      <a:gd name="T33" fmla="*/ 38 h 63"/>
                      <a:gd name="T34" fmla="*/ 0 w 66"/>
                      <a:gd name="T35" fmla="*/ 44 h 63"/>
                      <a:gd name="T36" fmla="*/ 1 w 66"/>
                      <a:gd name="T37" fmla="*/ 53 h 63"/>
                      <a:gd name="T38" fmla="*/ 8 w 66"/>
                      <a:gd name="T39" fmla="*/ 53 h 63"/>
                      <a:gd name="T40" fmla="*/ 23 w 66"/>
                      <a:gd name="T41" fmla="*/ 51 h 63"/>
                      <a:gd name="T42" fmla="*/ 30 w 66"/>
                      <a:gd name="T43" fmla="*/ 53 h 63"/>
                      <a:gd name="T44" fmla="*/ 38 w 66"/>
                      <a:gd name="T45" fmla="*/ 63 h 63"/>
                      <a:gd name="T46" fmla="*/ 48 w 66"/>
                      <a:gd name="T47" fmla="*/ 61 h 63"/>
                      <a:gd name="T48" fmla="*/ 49 w 66"/>
                      <a:gd name="T49" fmla="*/ 54 h 63"/>
                      <a:gd name="T50" fmla="*/ 58 w 66"/>
                      <a:gd name="T51" fmla="*/ 54 h 63"/>
                      <a:gd name="T52" fmla="*/ 58 w 66"/>
                      <a:gd name="T53" fmla="*/ 54 h 63"/>
                      <a:gd name="T54" fmla="*/ 58 w 66"/>
                      <a:gd name="T55" fmla="*/ 5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6" h="63">
                        <a:moveTo>
                          <a:pt x="58" y="54"/>
                        </a:moveTo>
                        <a:lnTo>
                          <a:pt x="63" y="43"/>
                        </a:lnTo>
                        <a:lnTo>
                          <a:pt x="66" y="33"/>
                        </a:lnTo>
                        <a:lnTo>
                          <a:pt x="63" y="25"/>
                        </a:lnTo>
                        <a:lnTo>
                          <a:pt x="56" y="23"/>
                        </a:lnTo>
                        <a:lnTo>
                          <a:pt x="53" y="16"/>
                        </a:lnTo>
                        <a:lnTo>
                          <a:pt x="46" y="15"/>
                        </a:lnTo>
                        <a:lnTo>
                          <a:pt x="44" y="10"/>
                        </a:lnTo>
                        <a:lnTo>
                          <a:pt x="41" y="3"/>
                        </a:lnTo>
                        <a:lnTo>
                          <a:pt x="38" y="0"/>
                        </a:lnTo>
                        <a:lnTo>
                          <a:pt x="28" y="0"/>
                        </a:lnTo>
                        <a:lnTo>
                          <a:pt x="25" y="5"/>
                        </a:lnTo>
                        <a:lnTo>
                          <a:pt x="16" y="5"/>
                        </a:lnTo>
                        <a:lnTo>
                          <a:pt x="11" y="6"/>
                        </a:lnTo>
                        <a:lnTo>
                          <a:pt x="13" y="21"/>
                        </a:lnTo>
                        <a:lnTo>
                          <a:pt x="13" y="30"/>
                        </a:lnTo>
                        <a:lnTo>
                          <a:pt x="3" y="38"/>
                        </a:lnTo>
                        <a:lnTo>
                          <a:pt x="0" y="44"/>
                        </a:lnTo>
                        <a:lnTo>
                          <a:pt x="1" y="53"/>
                        </a:lnTo>
                        <a:lnTo>
                          <a:pt x="8" y="53"/>
                        </a:lnTo>
                        <a:lnTo>
                          <a:pt x="23" y="51"/>
                        </a:lnTo>
                        <a:lnTo>
                          <a:pt x="30" y="53"/>
                        </a:lnTo>
                        <a:lnTo>
                          <a:pt x="38" y="63"/>
                        </a:lnTo>
                        <a:lnTo>
                          <a:pt x="48" y="61"/>
                        </a:lnTo>
                        <a:lnTo>
                          <a:pt x="49" y="54"/>
                        </a:lnTo>
                        <a:lnTo>
                          <a:pt x="58" y="54"/>
                        </a:lnTo>
                        <a:lnTo>
                          <a:pt x="58" y="54"/>
                        </a:lnTo>
                        <a:lnTo>
                          <a:pt x="58" y="54"/>
                        </a:lnTo>
                        <a:close/>
                      </a:path>
                    </a:pathLst>
                  </a:custGeom>
                  <a:solidFill>
                    <a:srgbClr val="77B8E4"/>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a:latin typeface="Proxima Nova A" panose="02000506030000020004" pitchFamily="2" charset="0"/>
                    </a:endParaRPr>
                  </a:p>
                </p:txBody>
              </p:sp>
              <p:sp>
                <p:nvSpPr>
                  <p:cNvPr id="175" name="Freeform 1147">
                    <a:extLst>
                      <a:ext uri="{FF2B5EF4-FFF2-40B4-BE49-F238E27FC236}">
                        <a16:creationId xmlns:a16="http://schemas.microsoft.com/office/drawing/2014/main" id="{91A5D89E-C517-4C02-9DB4-3D6D803E9EAA}"/>
                      </a:ext>
                    </a:extLst>
                  </p:cNvPr>
                  <p:cNvSpPr>
                    <a:spLocks/>
                  </p:cNvSpPr>
                  <p:nvPr/>
                </p:nvSpPr>
                <p:spPr bwMode="auto">
                  <a:xfrm>
                    <a:off x="2973141" y="4034507"/>
                    <a:ext cx="57961" cy="49681"/>
                  </a:xfrm>
                  <a:custGeom>
                    <a:avLst/>
                    <a:gdLst>
                      <a:gd name="T0" fmla="*/ 33 w 42"/>
                      <a:gd name="T1" fmla="*/ 13 h 36"/>
                      <a:gd name="T2" fmla="*/ 38 w 42"/>
                      <a:gd name="T3" fmla="*/ 15 h 36"/>
                      <a:gd name="T4" fmla="*/ 38 w 42"/>
                      <a:gd name="T5" fmla="*/ 23 h 36"/>
                      <a:gd name="T6" fmla="*/ 42 w 42"/>
                      <a:gd name="T7" fmla="*/ 30 h 36"/>
                      <a:gd name="T8" fmla="*/ 38 w 42"/>
                      <a:gd name="T9" fmla="*/ 36 h 36"/>
                      <a:gd name="T10" fmla="*/ 33 w 42"/>
                      <a:gd name="T11" fmla="*/ 35 h 36"/>
                      <a:gd name="T12" fmla="*/ 29 w 42"/>
                      <a:gd name="T13" fmla="*/ 33 h 36"/>
                      <a:gd name="T14" fmla="*/ 22 w 42"/>
                      <a:gd name="T15" fmla="*/ 31 h 36"/>
                      <a:gd name="T16" fmla="*/ 19 w 42"/>
                      <a:gd name="T17" fmla="*/ 36 h 36"/>
                      <a:gd name="T18" fmla="*/ 15 w 42"/>
                      <a:gd name="T19" fmla="*/ 26 h 36"/>
                      <a:gd name="T20" fmla="*/ 10 w 42"/>
                      <a:gd name="T21" fmla="*/ 26 h 36"/>
                      <a:gd name="T22" fmla="*/ 7 w 42"/>
                      <a:gd name="T23" fmla="*/ 23 h 36"/>
                      <a:gd name="T24" fmla="*/ 10 w 42"/>
                      <a:gd name="T25" fmla="*/ 16 h 36"/>
                      <a:gd name="T26" fmla="*/ 5 w 42"/>
                      <a:gd name="T27" fmla="*/ 13 h 36"/>
                      <a:gd name="T28" fmla="*/ 0 w 42"/>
                      <a:gd name="T29" fmla="*/ 12 h 36"/>
                      <a:gd name="T30" fmla="*/ 4 w 42"/>
                      <a:gd name="T31" fmla="*/ 5 h 36"/>
                      <a:gd name="T32" fmla="*/ 9 w 42"/>
                      <a:gd name="T33" fmla="*/ 0 h 36"/>
                      <a:gd name="T34" fmla="*/ 15 w 42"/>
                      <a:gd name="T35" fmla="*/ 0 h 36"/>
                      <a:gd name="T36" fmla="*/ 24 w 42"/>
                      <a:gd name="T37" fmla="*/ 3 h 36"/>
                      <a:gd name="T38" fmla="*/ 30 w 42"/>
                      <a:gd name="T39" fmla="*/ 3 h 36"/>
                      <a:gd name="T40" fmla="*/ 33 w 42"/>
                      <a:gd name="T41" fmla="*/ 8 h 36"/>
                      <a:gd name="T42" fmla="*/ 33 w 42"/>
                      <a:gd name="T43" fmla="*/ 13 h 36"/>
                      <a:gd name="T44" fmla="*/ 33 w 42"/>
                      <a:gd name="T45" fmla="*/ 13 h 36"/>
                      <a:gd name="T46" fmla="*/ 33 w 42"/>
                      <a:gd name="T47" fmla="*/ 1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36">
                        <a:moveTo>
                          <a:pt x="33" y="13"/>
                        </a:moveTo>
                        <a:lnTo>
                          <a:pt x="38" y="15"/>
                        </a:lnTo>
                        <a:lnTo>
                          <a:pt x="38" y="23"/>
                        </a:lnTo>
                        <a:lnTo>
                          <a:pt x="42" y="30"/>
                        </a:lnTo>
                        <a:lnTo>
                          <a:pt x="38" y="36"/>
                        </a:lnTo>
                        <a:lnTo>
                          <a:pt x="33" y="35"/>
                        </a:lnTo>
                        <a:lnTo>
                          <a:pt x="29" y="33"/>
                        </a:lnTo>
                        <a:lnTo>
                          <a:pt x="22" y="31"/>
                        </a:lnTo>
                        <a:lnTo>
                          <a:pt x="19" y="36"/>
                        </a:lnTo>
                        <a:lnTo>
                          <a:pt x="15" y="26"/>
                        </a:lnTo>
                        <a:lnTo>
                          <a:pt x="10" y="26"/>
                        </a:lnTo>
                        <a:lnTo>
                          <a:pt x="7" y="23"/>
                        </a:lnTo>
                        <a:lnTo>
                          <a:pt x="10" y="16"/>
                        </a:lnTo>
                        <a:lnTo>
                          <a:pt x="5" y="13"/>
                        </a:lnTo>
                        <a:lnTo>
                          <a:pt x="0" y="12"/>
                        </a:lnTo>
                        <a:lnTo>
                          <a:pt x="4" y="5"/>
                        </a:lnTo>
                        <a:lnTo>
                          <a:pt x="9" y="0"/>
                        </a:lnTo>
                        <a:lnTo>
                          <a:pt x="15" y="0"/>
                        </a:lnTo>
                        <a:lnTo>
                          <a:pt x="24" y="3"/>
                        </a:lnTo>
                        <a:lnTo>
                          <a:pt x="30" y="3"/>
                        </a:lnTo>
                        <a:lnTo>
                          <a:pt x="33" y="8"/>
                        </a:lnTo>
                        <a:lnTo>
                          <a:pt x="33" y="13"/>
                        </a:lnTo>
                        <a:lnTo>
                          <a:pt x="33" y="13"/>
                        </a:lnTo>
                        <a:lnTo>
                          <a:pt x="33" y="13"/>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a:latin typeface="Proxima Nova A" panose="02000506030000020004" pitchFamily="2" charset="0"/>
                    </a:endParaRPr>
                  </a:p>
                </p:txBody>
              </p:sp>
              <p:sp>
                <p:nvSpPr>
                  <p:cNvPr id="176" name="Freeform 1086">
                    <a:extLst>
                      <a:ext uri="{FF2B5EF4-FFF2-40B4-BE49-F238E27FC236}">
                        <a16:creationId xmlns:a16="http://schemas.microsoft.com/office/drawing/2014/main" id="{A0786834-78AD-461B-8A2D-9DFC3D00FFB0}"/>
                      </a:ext>
                    </a:extLst>
                  </p:cNvPr>
                  <p:cNvSpPr>
                    <a:spLocks/>
                  </p:cNvSpPr>
                  <p:nvPr/>
                </p:nvSpPr>
                <p:spPr bwMode="auto">
                  <a:xfrm>
                    <a:off x="5752507" y="3664661"/>
                    <a:ext cx="26220" cy="51061"/>
                  </a:xfrm>
                  <a:custGeom>
                    <a:avLst/>
                    <a:gdLst>
                      <a:gd name="T0" fmla="*/ 14 w 19"/>
                      <a:gd name="T1" fmla="*/ 35 h 37"/>
                      <a:gd name="T2" fmla="*/ 17 w 19"/>
                      <a:gd name="T3" fmla="*/ 25 h 37"/>
                      <a:gd name="T4" fmla="*/ 19 w 19"/>
                      <a:gd name="T5" fmla="*/ 15 h 37"/>
                      <a:gd name="T6" fmla="*/ 19 w 19"/>
                      <a:gd name="T7" fmla="*/ 9 h 37"/>
                      <a:gd name="T8" fmla="*/ 14 w 19"/>
                      <a:gd name="T9" fmla="*/ 0 h 37"/>
                      <a:gd name="T10" fmla="*/ 7 w 19"/>
                      <a:gd name="T11" fmla="*/ 12 h 37"/>
                      <a:gd name="T12" fmla="*/ 2 w 19"/>
                      <a:gd name="T13" fmla="*/ 27 h 37"/>
                      <a:gd name="T14" fmla="*/ 0 w 19"/>
                      <a:gd name="T15" fmla="*/ 30 h 37"/>
                      <a:gd name="T16" fmla="*/ 7 w 19"/>
                      <a:gd name="T17" fmla="*/ 37 h 37"/>
                      <a:gd name="T18" fmla="*/ 14 w 19"/>
                      <a:gd name="T19" fmla="*/ 35 h 37"/>
                      <a:gd name="T20" fmla="*/ 14 w 19"/>
                      <a:gd name="T21" fmla="*/ 35 h 37"/>
                      <a:gd name="T22" fmla="*/ 14 w 19"/>
                      <a:gd name="T23" fmla="*/ 35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7">
                        <a:moveTo>
                          <a:pt x="14" y="35"/>
                        </a:moveTo>
                        <a:lnTo>
                          <a:pt x="17" y="25"/>
                        </a:lnTo>
                        <a:lnTo>
                          <a:pt x="19" y="15"/>
                        </a:lnTo>
                        <a:lnTo>
                          <a:pt x="19" y="9"/>
                        </a:lnTo>
                        <a:lnTo>
                          <a:pt x="14" y="0"/>
                        </a:lnTo>
                        <a:lnTo>
                          <a:pt x="7" y="12"/>
                        </a:lnTo>
                        <a:lnTo>
                          <a:pt x="2" y="27"/>
                        </a:lnTo>
                        <a:lnTo>
                          <a:pt x="0" y="30"/>
                        </a:lnTo>
                        <a:lnTo>
                          <a:pt x="7" y="37"/>
                        </a:lnTo>
                        <a:lnTo>
                          <a:pt x="14" y="35"/>
                        </a:lnTo>
                        <a:lnTo>
                          <a:pt x="14" y="35"/>
                        </a:lnTo>
                        <a:lnTo>
                          <a:pt x="14" y="35"/>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a:latin typeface="Proxima Nova A" panose="02000506030000020004" pitchFamily="2" charset="0"/>
                    </a:endParaRPr>
                  </a:p>
                </p:txBody>
              </p:sp>
              <p:sp>
                <p:nvSpPr>
                  <p:cNvPr id="177" name="Freeform 1088">
                    <a:extLst>
                      <a:ext uri="{FF2B5EF4-FFF2-40B4-BE49-F238E27FC236}">
                        <a16:creationId xmlns:a16="http://schemas.microsoft.com/office/drawing/2014/main" id="{E26086E1-7E4C-4B89-9658-A8F51F553F25}"/>
                      </a:ext>
                    </a:extLst>
                  </p:cNvPr>
                  <p:cNvSpPr>
                    <a:spLocks/>
                  </p:cNvSpPr>
                  <p:nvPr/>
                </p:nvSpPr>
                <p:spPr bwMode="auto">
                  <a:xfrm>
                    <a:off x="5894649" y="3649481"/>
                    <a:ext cx="51061" cy="55201"/>
                  </a:xfrm>
                  <a:custGeom>
                    <a:avLst/>
                    <a:gdLst>
                      <a:gd name="T0" fmla="*/ 10 w 37"/>
                      <a:gd name="T1" fmla="*/ 35 h 40"/>
                      <a:gd name="T2" fmla="*/ 22 w 37"/>
                      <a:gd name="T3" fmla="*/ 40 h 40"/>
                      <a:gd name="T4" fmla="*/ 30 w 37"/>
                      <a:gd name="T5" fmla="*/ 40 h 40"/>
                      <a:gd name="T6" fmla="*/ 37 w 37"/>
                      <a:gd name="T7" fmla="*/ 35 h 40"/>
                      <a:gd name="T8" fmla="*/ 32 w 37"/>
                      <a:gd name="T9" fmla="*/ 26 h 40"/>
                      <a:gd name="T10" fmla="*/ 25 w 37"/>
                      <a:gd name="T11" fmla="*/ 20 h 40"/>
                      <a:gd name="T12" fmla="*/ 24 w 37"/>
                      <a:gd name="T13" fmla="*/ 15 h 40"/>
                      <a:gd name="T14" fmla="*/ 24 w 37"/>
                      <a:gd name="T15" fmla="*/ 8 h 40"/>
                      <a:gd name="T16" fmla="*/ 20 w 37"/>
                      <a:gd name="T17" fmla="*/ 1 h 40"/>
                      <a:gd name="T18" fmla="*/ 14 w 37"/>
                      <a:gd name="T19" fmla="*/ 0 h 40"/>
                      <a:gd name="T20" fmla="*/ 5 w 37"/>
                      <a:gd name="T21" fmla="*/ 0 h 40"/>
                      <a:gd name="T22" fmla="*/ 2 w 37"/>
                      <a:gd name="T23" fmla="*/ 5 h 40"/>
                      <a:gd name="T24" fmla="*/ 0 w 37"/>
                      <a:gd name="T25" fmla="*/ 13 h 40"/>
                      <a:gd name="T26" fmla="*/ 7 w 37"/>
                      <a:gd name="T27" fmla="*/ 20 h 40"/>
                      <a:gd name="T28" fmla="*/ 10 w 37"/>
                      <a:gd name="T29" fmla="*/ 35 h 40"/>
                      <a:gd name="T30" fmla="*/ 10 w 37"/>
                      <a:gd name="T31" fmla="*/ 35 h 40"/>
                      <a:gd name="T32" fmla="*/ 10 w 37"/>
                      <a:gd name="T33" fmla="*/ 3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40">
                        <a:moveTo>
                          <a:pt x="10" y="35"/>
                        </a:moveTo>
                        <a:lnTo>
                          <a:pt x="22" y="40"/>
                        </a:lnTo>
                        <a:lnTo>
                          <a:pt x="30" y="40"/>
                        </a:lnTo>
                        <a:lnTo>
                          <a:pt x="37" y="35"/>
                        </a:lnTo>
                        <a:lnTo>
                          <a:pt x="32" y="26"/>
                        </a:lnTo>
                        <a:lnTo>
                          <a:pt x="25" y="20"/>
                        </a:lnTo>
                        <a:lnTo>
                          <a:pt x="24" y="15"/>
                        </a:lnTo>
                        <a:lnTo>
                          <a:pt x="24" y="8"/>
                        </a:lnTo>
                        <a:lnTo>
                          <a:pt x="20" y="1"/>
                        </a:lnTo>
                        <a:lnTo>
                          <a:pt x="14" y="0"/>
                        </a:lnTo>
                        <a:lnTo>
                          <a:pt x="5" y="0"/>
                        </a:lnTo>
                        <a:lnTo>
                          <a:pt x="2" y="5"/>
                        </a:lnTo>
                        <a:lnTo>
                          <a:pt x="0" y="13"/>
                        </a:lnTo>
                        <a:lnTo>
                          <a:pt x="7" y="20"/>
                        </a:lnTo>
                        <a:lnTo>
                          <a:pt x="10" y="35"/>
                        </a:lnTo>
                        <a:lnTo>
                          <a:pt x="10" y="35"/>
                        </a:lnTo>
                        <a:lnTo>
                          <a:pt x="10" y="35"/>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a:latin typeface="Proxima Nova A" panose="02000506030000020004" pitchFamily="2" charset="0"/>
                    </a:endParaRPr>
                  </a:p>
                </p:txBody>
              </p:sp>
              <p:sp>
                <p:nvSpPr>
                  <p:cNvPr id="178" name="Freeform 1090">
                    <a:extLst>
                      <a:ext uri="{FF2B5EF4-FFF2-40B4-BE49-F238E27FC236}">
                        <a16:creationId xmlns:a16="http://schemas.microsoft.com/office/drawing/2014/main" id="{2BCBC934-FBA7-4864-9BB5-FF56DFA5F995}"/>
                      </a:ext>
                    </a:extLst>
                  </p:cNvPr>
                  <p:cNvSpPr>
                    <a:spLocks/>
                  </p:cNvSpPr>
                  <p:nvPr/>
                </p:nvSpPr>
                <p:spPr bwMode="auto">
                  <a:xfrm>
                    <a:off x="5831168" y="3660521"/>
                    <a:ext cx="27600" cy="69001"/>
                  </a:xfrm>
                  <a:custGeom>
                    <a:avLst/>
                    <a:gdLst>
                      <a:gd name="T0" fmla="*/ 7 w 20"/>
                      <a:gd name="T1" fmla="*/ 50 h 50"/>
                      <a:gd name="T2" fmla="*/ 15 w 20"/>
                      <a:gd name="T3" fmla="*/ 43 h 50"/>
                      <a:gd name="T4" fmla="*/ 15 w 20"/>
                      <a:gd name="T5" fmla="*/ 35 h 50"/>
                      <a:gd name="T6" fmla="*/ 15 w 20"/>
                      <a:gd name="T7" fmla="*/ 27 h 50"/>
                      <a:gd name="T8" fmla="*/ 20 w 20"/>
                      <a:gd name="T9" fmla="*/ 17 h 50"/>
                      <a:gd name="T10" fmla="*/ 10 w 20"/>
                      <a:gd name="T11" fmla="*/ 12 h 50"/>
                      <a:gd name="T12" fmla="*/ 8 w 20"/>
                      <a:gd name="T13" fmla="*/ 0 h 50"/>
                      <a:gd name="T14" fmla="*/ 5 w 20"/>
                      <a:gd name="T15" fmla="*/ 10 h 50"/>
                      <a:gd name="T16" fmla="*/ 3 w 20"/>
                      <a:gd name="T17" fmla="*/ 20 h 50"/>
                      <a:gd name="T18" fmla="*/ 3 w 20"/>
                      <a:gd name="T19" fmla="*/ 32 h 50"/>
                      <a:gd name="T20" fmla="*/ 3 w 20"/>
                      <a:gd name="T21" fmla="*/ 43 h 50"/>
                      <a:gd name="T22" fmla="*/ 0 w 20"/>
                      <a:gd name="T23" fmla="*/ 48 h 50"/>
                      <a:gd name="T24" fmla="*/ 7 w 20"/>
                      <a:gd name="T25" fmla="*/ 50 h 50"/>
                      <a:gd name="T26" fmla="*/ 7 w 20"/>
                      <a:gd name="T27" fmla="*/ 50 h 50"/>
                      <a:gd name="T28" fmla="*/ 7 w 20"/>
                      <a:gd name="T2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50">
                        <a:moveTo>
                          <a:pt x="7" y="50"/>
                        </a:moveTo>
                        <a:lnTo>
                          <a:pt x="15" y="43"/>
                        </a:lnTo>
                        <a:lnTo>
                          <a:pt x="15" y="35"/>
                        </a:lnTo>
                        <a:lnTo>
                          <a:pt x="15" y="27"/>
                        </a:lnTo>
                        <a:lnTo>
                          <a:pt x="20" y="17"/>
                        </a:lnTo>
                        <a:lnTo>
                          <a:pt x="10" y="12"/>
                        </a:lnTo>
                        <a:lnTo>
                          <a:pt x="8" y="0"/>
                        </a:lnTo>
                        <a:lnTo>
                          <a:pt x="5" y="10"/>
                        </a:lnTo>
                        <a:lnTo>
                          <a:pt x="3" y="20"/>
                        </a:lnTo>
                        <a:lnTo>
                          <a:pt x="3" y="32"/>
                        </a:lnTo>
                        <a:lnTo>
                          <a:pt x="3" y="43"/>
                        </a:lnTo>
                        <a:lnTo>
                          <a:pt x="0" y="48"/>
                        </a:lnTo>
                        <a:lnTo>
                          <a:pt x="7" y="50"/>
                        </a:lnTo>
                        <a:lnTo>
                          <a:pt x="7" y="50"/>
                        </a:lnTo>
                        <a:lnTo>
                          <a:pt x="7" y="5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a:latin typeface="Proxima Nova A" panose="02000506030000020004" pitchFamily="2" charset="0"/>
                    </a:endParaRPr>
                  </a:p>
                </p:txBody>
              </p:sp>
              <p:sp>
                <p:nvSpPr>
                  <p:cNvPr id="179" name="Freeform 1092">
                    <a:extLst>
                      <a:ext uri="{FF2B5EF4-FFF2-40B4-BE49-F238E27FC236}">
                        <a16:creationId xmlns:a16="http://schemas.microsoft.com/office/drawing/2014/main" id="{A7744782-882D-4043-ADA2-F918BBC0AED5}"/>
                      </a:ext>
                    </a:extLst>
                  </p:cNvPr>
                  <p:cNvSpPr>
                    <a:spLocks/>
                  </p:cNvSpPr>
                  <p:nvPr/>
                </p:nvSpPr>
                <p:spPr bwMode="auto">
                  <a:xfrm>
                    <a:off x="5780107" y="3688122"/>
                    <a:ext cx="23460" cy="45541"/>
                  </a:xfrm>
                  <a:custGeom>
                    <a:avLst/>
                    <a:gdLst>
                      <a:gd name="T0" fmla="*/ 7 w 17"/>
                      <a:gd name="T1" fmla="*/ 27 h 33"/>
                      <a:gd name="T2" fmla="*/ 2 w 17"/>
                      <a:gd name="T3" fmla="*/ 25 h 33"/>
                      <a:gd name="T4" fmla="*/ 0 w 17"/>
                      <a:gd name="T5" fmla="*/ 17 h 33"/>
                      <a:gd name="T6" fmla="*/ 0 w 17"/>
                      <a:gd name="T7" fmla="*/ 10 h 33"/>
                      <a:gd name="T8" fmla="*/ 4 w 17"/>
                      <a:gd name="T9" fmla="*/ 3 h 33"/>
                      <a:gd name="T10" fmla="*/ 7 w 17"/>
                      <a:gd name="T11" fmla="*/ 0 h 33"/>
                      <a:gd name="T12" fmla="*/ 12 w 17"/>
                      <a:gd name="T13" fmla="*/ 5 h 33"/>
                      <a:gd name="T14" fmla="*/ 15 w 17"/>
                      <a:gd name="T15" fmla="*/ 12 h 33"/>
                      <a:gd name="T16" fmla="*/ 12 w 17"/>
                      <a:gd name="T17" fmla="*/ 20 h 33"/>
                      <a:gd name="T18" fmla="*/ 17 w 17"/>
                      <a:gd name="T19" fmla="*/ 30 h 33"/>
                      <a:gd name="T20" fmla="*/ 15 w 17"/>
                      <a:gd name="T21" fmla="*/ 33 h 33"/>
                      <a:gd name="T22" fmla="*/ 9 w 17"/>
                      <a:gd name="T23" fmla="*/ 33 h 33"/>
                      <a:gd name="T24" fmla="*/ 7 w 17"/>
                      <a:gd name="T25" fmla="*/ 27 h 33"/>
                      <a:gd name="T26" fmla="*/ 7 w 17"/>
                      <a:gd name="T27" fmla="*/ 27 h 33"/>
                      <a:gd name="T28" fmla="*/ 7 w 17"/>
                      <a:gd name="T29" fmla="*/ 2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33">
                        <a:moveTo>
                          <a:pt x="7" y="27"/>
                        </a:moveTo>
                        <a:lnTo>
                          <a:pt x="2" y="25"/>
                        </a:lnTo>
                        <a:lnTo>
                          <a:pt x="0" y="17"/>
                        </a:lnTo>
                        <a:lnTo>
                          <a:pt x="0" y="10"/>
                        </a:lnTo>
                        <a:lnTo>
                          <a:pt x="4" y="3"/>
                        </a:lnTo>
                        <a:lnTo>
                          <a:pt x="7" y="0"/>
                        </a:lnTo>
                        <a:lnTo>
                          <a:pt x="12" y="5"/>
                        </a:lnTo>
                        <a:lnTo>
                          <a:pt x="15" y="12"/>
                        </a:lnTo>
                        <a:lnTo>
                          <a:pt x="12" y="20"/>
                        </a:lnTo>
                        <a:lnTo>
                          <a:pt x="17" y="30"/>
                        </a:lnTo>
                        <a:lnTo>
                          <a:pt x="15" y="33"/>
                        </a:lnTo>
                        <a:lnTo>
                          <a:pt x="9" y="33"/>
                        </a:lnTo>
                        <a:lnTo>
                          <a:pt x="7" y="27"/>
                        </a:lnTo>
                        <a:lnTo>
                          <a:pt x="7" y="27"/>
                        </a:lnTo>
                        <a:lnTo>
                          <a:pt x="7" y="27"/>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a:latin typeface="Proxima Nova A" panose="02000506030000020004" pitchFamily="2" charset="0"/>
                    </a:endParaRPr>
                  </a:p>
                </p:txBody>
              </p:sp>
              <p:sp>
                <p:nvSpPr>
                  <p:cNvPr id="180" name="Freeform 1094">
                    <a:extLst>
                      <a:ext uri="{FF2B5EF4-FFF2-40B4-BE49-F238E27FC236}">
                        <a16:creationId xmlns:a16="http://schemas.microsoft.com/office/drawing/2014/main" id="{A5596B11-2B81-40CC-8592-664AD91887B5}"/>
                      </a:ext>
                    </a:extLst>
                  </p:cNvPr>
                  <p:cNvSpPr>
                    <a:spLocks/>
                  </p:cNvSpPr>
                  <p:nvPr/>
                </p:nvSpPr>
                <p:spPr bwMode="auto">
                  <a:xfrm>
                    <a:off x="5867048" y="3653621"/>
                    <a:ext cx="33121" cy="66241"/>
                  </a:xfrm>
                  <a:custGeom>
                    <a:avLst/>
                    <a:gdLst>
                      <a:gd name="T0" fmla="*/ 24 w 24"/>
                      <a:gd name="T1" fmla="*/ 38 h 48"/>
                      <a:gd name="T2" fmla="*/ 24 w 24"/>
                      <a:gd name="T3" fmla="*/ 32 h 48"/>
                      <a:gd name="T4" fmla="*/ 22 w 24"/>
                      <a:gd name="T5" fmla="*/ 23 h 48"/>
                      <a:gd name="T6" fmla="*/ 17 w 24"/>
                      <a:gd name="T7" fmla="*/ 15 h 48"/>
                      <a:gd name="T8" fmla="*/ 17 w 24"/>
                      <a:gd name="T9" fmla="*/ 3 h 48"/>
                      <a:gd name="T10" fmla="*/ 7 w 24"/>
                      <a:gd name="T11" fmla="*/ 0 h 48"/>
                      <a:gd name="T12" fmla="*/ 0 w 24"/>
                      <a:gd name="T13" fmla="*/ 8 h 48"/>
                      <a:gd name="T14" fmla="*/ 5 w 24"/>
                      <a:gd name="T15" fmla="*/ 18 h 48"/>
                      <a:gd name="T16" fmla="*/ 0 w 24"/>
                      <a:gd name="T17" fmla="*/ 25 h 48"/>
                      <a:gd name="T18" fmla="*/ 0 w 24"/>
                      <a:gd name="T19" fmla="*/ 37 h 48"/>
                      <a:gd name="T20" fmla="*/ 4 w 24"/>
                      <a:gd name="T21" fmla="*/ 47 h 48"/>
                      <a:gd name="T22" fmla="*/ 9 w 24"/>
                      <a:gd name="T23" fmla="*/ 48 h 48"/>
                      <a:gd name="T24" fmla="*/ 15 w 24"/>
                      <a:gd name="T25" fmla="*/ 48 h 48"/>
                      <a:gd name="T26" fmla="*/ 15 w 24"/>
                      <a:gd name="T27" fmla="*/ 43 h 48"/>
                      <a:gd name="T28" fmla="*/ 10 w 24"/>
                      <a:gd name="T29" fmla="*/ 40 h 48"/>
                      <a:gd name="T30" fmla="*/ 14 w 24"/>
                      <a:gd name="T31" fmla="*/ 37 h 48"/>
                      <a:gd name="T32" fmla="*/ 20 w 24"/>
                      <a:gd name="T33" fmla="*/ 42 h 48"/>
                      <a:gd name="T34" fmla="*/ 24 w 24"/>
                      <a:gd name="T35" fmla="*/ 38 h 48"/>
                      <a:gd name="T36" fmla="*/ 24 w 24"/>
                      <a:gd name="T37" fmla="*/ 38 h 48"/>
                      <a:gd name="T38" fmla="*/ 24 w 24"/>
                      <a:gd name="T39" fmla="*/ 3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 h="48">
                        <a:moveTo>
                          <a:pt x="24" y="38"/>
                        </a:moveTo>
                        <a:lnTo>
                          <a:pt x="24" y="32"/>
                        </a:lnTo>
                        <a:lnTo>
                          <a:pt x="22" y="23"/>
                        </a:lnTo>
                        <a:lnTo>
                          <a:pt x="17" y="15"/>
                        </a:lnTo>
                        <a:lnTo>
                          <a:pt x="17" y="3"/>
                        </a:lnTo>
                        <a:lnTo>
                          <a:pt x="7" y="0"/>
                        </a:lnTo>
                        <a:lnTo>
                          <a:pt x="0" y="8"/>
                        </a:lnTo>
                        <a:lnTo>
                          <a:pt x="5" y="18"/>
                        </a:lnTo>
                        <a:lnTo>
                          <a:pt x="0" y="25"/>
                        </a:lnTo>
                        <a:lnTo>
                          <a:pt x="0" y="37"/>
                        </a:lnTo>
                        <a:lnTo>
                          <a:pt x="4" y="47"/>
                        </a:lnTo>
                        <a:lnTo>
                          <a:pt x="9" y="48"/>
                        </a:lnTo>
                        <a:lnTo>
                          <a:pt x="15" y="48"/>
                        </a:lnTo>
                        <a:lnTo>
                          <a:pt x="15" y="43"/>
                        </a:lnTo>
                        <a:lnTo>
                          <a:pt x="10" y="40"/>
                        </a:lnTo>
                        <a:lnTo>
                          <a:pt x="14" y="37"/>
                        </a:lnTo>
                        <a:lnTo>
                          <a:pt x="20" y="42"/>
                        </a:lnTo>
                        <a:lnTo>
                          <a:pt x="24" y="38"/>
                        </a:lnTo>
                        <a:lnTo>
                          <a:pt x="24" y="38"/>
                        </a:lnTo>
                        <a:lnTo>
                          <a:pt x="24" y="3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a:latin typeface="Proxima Nova A" panose="02000506030000020004" pitchFamily="2" charset="0"/>
                    </a:endParaRPr>
                  </a:p>
                </p:txBody>
              </p:sp>
              <p:sp>
                <p:nvSpPr>
                  <p:cNvPr id="181" name="Freeform 1100">
                    <a:extLst>
                      <a:ext uri="{FF2B5EF4-FFF2-40B4-BE49-F238E27FC236}">
                        <a16:creationId xmlns:a16="http://schemas.microsoft.com/office/drawing/2014/main" id="{57574A6F-88D5-412E-9469-16BD7DAD1A11}"/>
                      </a:ext>
                    </a:extLst>
                  </p:cNvPr>
                  <p:cNvSpPr>
                    <a:spLocks/>
                  </p:cNvSpPr>
                  <p:nvPr/>
                </p:nvSpPr>
                <p:spPr bwMode="auto">
                  <a:xfrm>
                    <a:off x="5814608" y="3681222"/>
                    <a:ext cx="19320" cy="45541"/>
                  </a:xfrm>
                  <a:custGeom>
                    <a:avLst/>
                    <a:gdLst>
                      <a:gd name="T0" fmla="*/ 4 w 14"/>
                      <a:gd name="T1" fmla="*/ 33 h 33"/>
                      <a:gd name="T2" fmla="*/ 4 w 14"/>
                      <a:gd name="T3" fmla="*/ 33 h 33"/>
                      <a:gd name="T4" fmla="*/ 9 w 14"/>
                      <a:gd name="T5" fmla="*/ 30 h 33"/>
                      <a:gd name="T6" fmla="*/ 9 w 14"/>
                      <a:gd name="T7" fmla="*/ 30 h 33"/>
                      <a:gd name="T8" fmla="*/ 12 w 14"/>
                      <a:gd name="T9" fmla="*/ 23 h 33"/>
                      <a:gd name="T10" fmla="*/ 12 w 14"/>
                      <a:gd name="T11" fmla="*/ 23 h 33"/>
                      <a:gd name="T12" fmla="*/ 12 w 14"/>
                      <a:gd name="T13" fmla="*/ 12 h 33"/>
                      <a:gd name="T14" fmla="*/ 12 w 14"/>
                      <a:gd name="T15" fmla="*/ 7 h 33"/>
                      <a:gd name="T16" fmla="*/ 14 w 14"/>
                      <a:gd name="T17" fmla="*/ 2 h 33"/>
                      <a:gd name="T18" fmla="*/ 14 w 14"/>
                      <a:gd name="T19" fmla="*/ 2 h 33"/>
                      <a:gd name="T20" fmla="*/ 12 w 14"/>
                      <a:gd name="T21" fmla="*/ 0 h 33"/>
                      <a:gd name="T22" fmla="*/ 9 w 14"/>
                      <a:gd name="T23" fmla="*/ 0 h 33"/>
                      <a:gd name="T24" fmla="*/ 5 w 14"/>
                      <a:gd name="T25" fmla="*/ 3 h 33"/>
                      <a:gd name="T26" fmla="*/ 5 w 14"/>
                      <a:gd name="T27" fmla="*/ 3 h 33"/>
                      <a:gd name="T28" fmla="*/ 4 w 14"/>
                      <a:gd name="T29" fmla="*/ 7 h 33"/>
                      <a:gd name="T30" fmla="*/ 4 w 14"/>
                      <a:gd name="T31" fmla="*/ 12 h 33"/>
                      <a:gd name="T32" fmla="*/ 4 w 14"/>
                      <a:gd name="T33" fmla="*/ 12 h 33"/>
                      <a:gd name="T34" fmla="*/ 4 w 14"/>
                      <a:gd name="T35" fmla="*/ 18 h 33"/>
                      <a:gd name="T36" fmla="*/ 2 w 14"/>
                      <a:gd name="T37" fmla="*/ 22 h 33"/>
                      <a:gd name="T38" fmla="*/ 0 w 14"/>
                      <a:gd name="T39" fmla="*/ 23 h 33"/>
                      <a:gd name="T40" fmla="*/ 0 w 14"/>
                      <a:gd name="T41" fmla="*/ 23 h 33"/>
                      <a:gd name="T42" fmla="*/ 0 w 14"/>
                      <a:gd name="T43" fmla="*/ 30 h 33"/>
                      <a:gd name="T44" fmla="*/ 2 w 14"/>
                      <a:gd name="T45" fmla="*/ 33 h 33"/>
                      <a:gd name="T46" fmla="*/ 4 w 14"/>
                      <a:gd name="T47" fmla="*/ 33 h 33"/>
                      <a:gd name="T48" fmla="*/ 4 w 14"/>
                      <a:gd name="T49"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 h="33">
                        <a:moveTo>
                          <a:pt x="4" y="33"/>
                        </a:moveTo>
                        <a:lnTo>
                          <a:pt x="4" y="33"/>
                        </a:lnTo>
                        <a:lnTo>
                          <a:pt x="9" y="30"/>
                        </a:lnTo>
                        <a:lnTo>
                          <a:pt x="9" y="30"/>
                        </a:lnTo>
                        <a:lnTo>
                          <a:pt x="12" y="23"/>
                        </a:lnTo>
                        <a:lnTo>
                          <a:pt x="12" y="23"/>
                        </a:lnTo>
                        <a:lnTo>
                          <a:pt x="12" y="12"/>
                        </a:lnTo>
                        <a:lnTo>
                          <a:pt x="12" y="7"/>
                        </a:lnTo>
                        <a:lnTo>
                          <a:pt x="14" y="2"/>
                        </a:lnTo>
                        <a:lnTo>
                          <a:pt x="14" y="2"/>
                        </a:lnTo>
                        <a:lnTo>
                          <a:pt x="12" y="0"/>
                        </a:lnTo>
                        <a:lnTo>
                          <a:pt x="9" y="0"/>
                        </a:lnTo>
                        <a:lnTo>
                          <a:pt x="5" y="3"/>
                        </a:lnTo>
                        <a:lnTo>
                          <a:pt x="5" y="3"/>
                        </a:lnTo>
                        <a:lnTo>
                          <a:pt x="4" y="7"/>
                        </a:lnTo>
                        <a:lnTo>
                          <a:pt x="4" y="12"/>
                        </a:lnTo>
                        <a:lnTo>
                          <a:pt x="4" y="12"/>
                        </a:lnTo>
                        <a:lnTo>
                          <a:pt x="4" y="18"/>
                        </a:lnTo>
                        <a:lnTo>
                          <a:pt x="2" y="22"/>
                        </a:lnTo>
                        <a:lnTo>
                          <a:pt x="0" y="23"/>
                        </a:lnTo>
                        <a:lnTo>
                          <a:pt x="0" y="23"/>
                        </a:lnTo>
                        <a:lnTo>
                          <a:pt x="0" y="30"/>
                        </a:lnTo>
                        <a:lnTo>
                          <a:pt x="2" y="33"/>
                        </a:lnTo>
                        <a:lnTo>
                          <a:pt x="4" y="33"/>
                        </a:lnTo>
                        <a:lnTo>
                          <a:pt x="4" y="33"/>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a:latin typeface="Proxima Nova A" panose="02000506030000020004" pitchFamily="2" charset="0"/>
                    </a:endParaRPr>
                  </a:p>
                </p:txBody>
              </p:sp>
              <p:sp>
                <p:nvSpPr>
                  <p:cNvPr id="182" name="Freeform 1139">
                    <a:extLst>
                      <a:ext uri="{FF2B5EF4-FFF2-40B4-BE49-F238E27FC236}">
                        <a16:creationId xmlns:a16="http://schemas.microsoft.com/office/drawing/2014/main" id="{91D5EDBA-977E-4AB5-9112-8D5405A4EDD3}"/>
                      </a:ext>
                    </a:extLst>
                  </p:cNvPr>
                  <p:cNvSpPr>
                    <a:spLocks/>
                  </p:cNvSpPr>
                  <p:nvPr/>
                </p:nvSpPr>
                <p:spPr bwMode="auto">
                  <a:xfrm>
                    <a:off x="4718869" y="4756259"/>
                    <a:ext cx="31741" cy="19320"/>
                  </a:xfrm>
                  <a:custGeom>
                    <a:avLst/>
                    <a:gdLst>
                      <a:gd name="T0" fmla="*/ 23 w 23"/>
                      <a:gd name="T1" fmla="*/ 12 h 14"/>
                      <a:gd name="T2" fmla="*/ 23 w 23"/>
                      <a:gd name="T3" fmla="*/ 12 h 14"/>
                      <a:gd name="T4" fmla="*/ 8 w 23"/>
                      <a:gd name="T5" fmla="*/ 14 h 14"/>
                      <a:gd name="T6" fmla="*/ 8 w 23"/>
                      <a:gd name="T7" fmla="*/ 14 h 14"/>
                      <a:gd name="T8" fmla="*/ 5 w 23"/>
                      <a:gd name="T9" fmla="*/ 14 h 14"/>
                      <a:gd name="T10" fmla="*/ 3 w 23"/>
                      <a:gd name="T11" fmla="*/ 14 h 14"/>
                      <a:gd name="T12" fmla="*/ 0 w 23"/>
                      <a:gd name="T13" fmla="*/ 9 h 14"/>
                      <a:gd name="T14" fmla="*/ 0 w 23"/>
                      <a:gd name="T15" fmla="*/ 9 h 14"/>
                      <a:gd name="T16" fmla="*/ 0 w 23"/>
                      <a:gd name="T17" fmla="*/ 4 h 14"/>
                      <a:gd name="T18" fmla="*/ 0 w 23"/>
                      <a:gd name="T19" fmla="*/ 2 h 14"/>
                      <a:gd name="T20" fmla="*/ 3 w 23"/>
                      <a:gd name="T21" fmla="*/ 0 h 14"/>
                      <a:gd name="T22" fmla="*/ 10 w 23"/>
                      <a:gd name="T23" fmla="*/ 2 h 14"/>
                      <a:gd name="T24" fmla="*/ 10 w 23"/>
                      <a:gd name="T25" fmla="*/ 2 h 14"/>
                      <a:gd name="T26" fmla="*/ 18 w 23"/>
                      <a:gd name="T27" fmla="*/ 7 h 14"/>
                      <a:gd name="T28" fmla="*/ 18 w 23"/>
                      <a:gd name="T29" fmla="*/ 7 h 14"/>
                      <a:gd name="T30" fmla="*/ 20 w 23"/>
                      <a:gd name="T31" fmla="*/ 10 h 14"/>
                      <a:gd name="T32" fmla="*/ 20 w 23"/>
                      <a:gd name="T33" fmla="*/ 12 h 14"/>
                      <a:gd name="T34" fmla="*/ 23 w 23"/>
                      <a:gd name="T35" fmla="*/ 12 h 14"/>
                      <a:gd name="T36" fmla="*/ 23 w 23"/>
                      <a:gd name="T37"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14">
                        <a:moveTo>
                          <a:pt x="23" y="12"/>
                        </a:moveTo>
                        <a:lnTo>
                          <a:pt x="23" y="12"/>
                        </a:lnTo>
                        <a:lnTo>
                          <a:pt x="8" y="14"/>
                        </a:lnTo>
                        <a:lnTo>
                          <a:pt x="8" y="14"/>
                        </a:lnTo>
                        <a:lnTo>
                          <a:pt x="5" y="14"/>
                        </a:lnTo>
                        <a:lnTo>
                          <a:pt x="3" y="14"/>
                        </a:lnTo>
                        <a:lnTo>
                          <a:pt x="0" y="9"/>
                        </a:lnTo>
                        <a:lnTo>
                          <a:pt x="0" y="9"/>
                        </a:lnTo>
                        <a:lnTo>
                          <a:pt x="0" y="4"/>
                        </a:lnTo>
                        <a:lnTo>
                          <a:pt x="0" y="2"/>
                        </a:lnTo>
                        <a:lnTo>
                          <a:pt x="3" y="0"/>
                        </a:lnTo>
                        <a:lnTo>
                          <a:pt x="10" y="2"/>
                        </a:lnTo>
                        <a:lnTo>
                          <a:pt x="10" y="2"/>
                        </a:lnTo>
                        <a:lnTo>
                          <a:pt x="18" y="7"/>
                        </a:lnTo>
                        <a:lnTo>
                          <a:pt x="18" y="7"/>
                        </a:lnTo>
                        <a:lnTo>
                          <a:pt x="20" y="10"/>
                        </a:lnTo>
                        <a:lnTo>
                          <a:pt x="20" y="12"/>
                        </a:lnTo>
                        <a:lnTo>
                          <a:pt x="23" y="12"/>
                        </a:lnTo>
                        <a:lnTo>
                          <a:pt x="23" y="1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a:latin typeface="Proxima Nova A" panose="02000506030000020004" pitchFamily="2" charset="0"/>
                    </a:endParaRPr>
                  </a:p>
                </p:txBody>
              </p:sp>
              <p:sp>
                <p:nvSpPr>
                  <p:cNvPr id="183" name="Freeform 1141">
                    <a:extLst>
                      <a:ext uri="{FF2B5EF4-FFF2-40B4-BE49-F238E27FC236}">
                        <a16:creationId xmlns:a16="http://schemas.microsoft.com/office/drawing/2014/main" id="{2C5DD30D-3D09-4A4C-8F11-A49AE294F214}"/>
                      </a:ext>
                    </a:extLst>
                  </p:cNvPr>
                  <p:cNvSpPr>
                    <a:spLocks/>
                  </p:cNvSpPr>
                  <p:nvPr/>
                </p:nvSpPr>
                <p:spPr bwMode="auto">
                  <a:xfrm>
                    <a:off x="4220681" y="5709855"/>
                    <a:ext cx="53821" cy="57961"/>
                  </a:xfrm>
                  <a:custGeom>
                    <a:avLst/>
                    <a:gdLst>
                      <a:gd name="T0" fmla="*/ 17 w 39"/>
                      <a:gd name="T1" fmla="*/ 40 h 42"/>
                      <a:gd name="T2" fmla="*/ 17 w 39"/>
                      <a:gd name="T3" fmla="*/ 40 h 42"/>
                      <a:gd name="T4" fmla="*/ 17 w 39"/>
                      <a:gd name="T5" fmla="*/ 37 h 42"/>
                      <a:gd name="T6" fmla="*/ 19 w 39"/>
                      <a:gd name="T7" fmla="*/ 34 h 42"/>
                      <a:gd name="T8" fmla="*/ 19 w 39"/>
                      <a:gd name="T9" fmla="*/ 34 h 42"/>
                      <a:gd name="T10" fmla="*/ 15 w 39"/>
                      <a:gd name="T11" fmla="*/ 29 h 42"/>
                      <a:gd name="T12" fmla="*/ 12 w 39"/>
                      <a:gd name="T13" fmla="*/ 29 h 42"/>
                      <a:gd name="T14" fmla="*/ 10 w 39"/>
                      <a:gd name="T15" fmla="*/ 30 h 42"/>
                      <a:gd name="T16" fmla="*/ 12 w 39"/>
                      <a:gd name="T17" fmla="*/ 35 h 42"/>
                      <a:gd name="T18" fmla="*/ 12 w 39"/>
                      <a:gd name="T19" fmla="*/ 35 h 42"/>
                      <a:gd name="T20" fmla="*/ 10 w 39"/>
                      <a:gd name="T21" fmla="*/ 37 h 42"/>
                      <a:gd name="T22" fmla="*/ 7 w 39"/>
                      <a:gd name="T23" fmla="*/ 39 h 42"/>
                      <a:gd name="T24" fmla="*/ 4 w 39"/>
                      <a:gd name="T25" fmla="*/ 37 h 42"/>
                      <a:gd name="T26" fmla="*/ 0 w 39"/>
                      <a:gd name="T27" fmla="*/ 34 h 42"/>
                      <a:gd name="T28" fmla="*/ 0 w 39"/>
                      <a:gd name="T29" fmla="*/ 34 h 42"/>
                      <a:gd name="T30" fmla="*/ 2 w 39"/>
                      <a:gd name="T31" fmla="*/ 29 h 42"/>
                      <a:gd name="T32" fmla="*/ 5 w 39"/>
                      <a:gd name="T33" fmla="*/ 24 h 42"/>
                      <a:gd name="T34" fmla="*/ 5 w 39"/>
                      <a:gd name="T35" fmla="*/ 24 h 42"/>
                      <a:gd name="T36" fmla="*/ 2 w 39"/>
                      <a:gd name="T37" fmla="*/ 17 h 42"/>
                      <a:gd name="T38" fmla="*/ 2 w 39"/>
                      <a:gd name="T39" fmla="*/ 17 h 42"/>
                      <a:gd name="T40" fmla="*/ 0 w 39"/>
                      <a:gd name="T41" fmla="*/ 10 h 42"/>
                      <a:gd name="T42" fmla="*/ 0 w 39"/>
                      <a:gd name="T43" fmla="*/ 7 h 42"/>
                      <a:gd name="T44" fmla="*/ 4 w 39"/>
                      <a:gd name="T45" fmla="*/ 4 h 42"/>
                      <a:gd name="T46" fmla="*/ 4 w 39"/>
                      <a:gd name="T47" fmla="*/ 4 h 42"/>
                      <a:gd name="T48" fmla="*/ 7 w 39"/>
                      <a:gd name="T49" fmla="*/ 7 h 42"/>
                      <a:gd name="T50" fmla="*/ 7 w 39"/>
                      <a:gd name="T51" fmla="*/ 10 h 42"/>
                      <a:gd name="T52" fmla="*/ 7 w 39"/>
                      <a:gd name="T53" fmla="*/ 10 h 42"/>
                      <a:gd name="T54" fmla="*/ 10 w 39"/>
                      <a:gd name="T55" fmla="*/ 9 h 42"/>
                      <a:gd name="T56" fmla="*/ 12 w 39"/>
                      <a:gd name="T57" fmla="*/ 7 h 42"/>
                      <a:gd name="T58" fmla="*/ 12 w 39"/>
                      <a:gd name="T59" fmla="*/ 7 h 42"/>
                      <a:gd name="T60" fmla="*/ 17 w 39"/>
                      <a:gd name="T61" fmla="*/ 7 h 42"/>
                      <a:gd name="T62" fmla="*/ 20 w 39"/>
                      <a:gd name="T63" fmla="*/ 7 h 42"/>
                      <a:gd name="T64" fmla="*/ 20 w 39"/>
                      <a:gd name="T65" fmla="*/ 7 h 42"/>
                      <a:gd name="T66" fmla="*/ 29 w 39"/>
                      <a:gd name="T67" fmla="*/ 4 h 42"/>
                      <a:gd name="T68" fmla="*/ 29 w 39"/>
                      <a:gd name="T69" fmla="*/ 4 h 42"/>
                      <a:gd name="T70" fmla="*/ 30 w 39"/>
                      <a:gd name="T71" fmla="*/ 2 h 42"/>
                      <a:gd name="T72" fmla="*/ 34 w 39"/>
                      <a:gd name="T73" fmla="*/ 0 h 42"/>
                      <a:gd name="T74" fmla="*/ 37 w 39"/>
                      <a:gd name="T75" fmla="*/ 0 h 42"/>
                      <a:gd name="T76" fmla="*/ 39 w 39"/>
                      <a:gd name="T77" fmla="*/ 4 h 42"/>
                      <a:gd name="T78" fmla="*/ 32 w 39"/>
                      <a:gd name="T79" fmla="*/ 25 h 42"/>
                      <a:gd name="T80" fmla="*/ 29 w 39"/>
                      <a:gd name="T81" fmla="*/ 40 h 42"/>
                      <a:gd name="T82" fmla="*/ 29 w 39"/>
                      <a:gd name="T83" fmla="*/ 40 h 42"/>
                      <a:gd name="T84" fmla="*/ 25 w 39"/>
                      <a:gd name="T85" fmla="*/ 42 h 42"/>
                      <a:gd name="T86" fmla="*/ 22 w 39"/>
                      <a:gd name="T87" fmla="*/ 42 h 42"/>
                      <a:gd name="T88" fmla="*/ 17 w 39"/>
                      <a:gd name="T89" fmla="*/ 40 h 42"/>
                      <a:gd name="T90" fmla="*/ 17 w 39"/>
                      <a:gd name="T91" fmla="*/ 4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 h="42">
                        <a:moveTo>
                          <a:pt x="17" y="40"/>
                        </a:moveTo>
                        <a:lnTo>
                          <a:pt x="17" y="40"/>
                        </a:lnTo>
                        <a:lnTo>
                          <a:pt x="17" y="37"/>
                        </a:lnTo>
                        <a:lnTo>
                          <a:pt x="19" y="34"/>
                        </a:lnTo>
                        <a:lnTo>
                          <a:pt x="19" y="34"/>
                        </a:lnTo>
                        <a:lnTo>
                          <a:pt x="15" y="29"/>
                        </a:lnTo>
                        <a:lnTo>
                          <a:pt x="12" y="29"/>
                        </a:lnTo>
                        <a:lnTo>
                          <a:pt x="10" y="30"/>
                        </a:lnTo>
                        <a:lnTo>
                          <a:pt x="12" y="35"/>
                        </a:lnTo>
                        <a:lnTo>
                          <a:pt x="12" y="35"/>
                        </a:lnTo>
                        <a:lnTo>
                          <a:pt x="10" y="37"/>
                        </a:lnTo>
                        <a:lnTo>
                          <a:pt x="7" y="39"/>
                        </a:lnTo>
                        <a:lnTo>
                          <a:pt x="4" y="37"/>
                        </a:lnTo>
                        <a:lnTo>
                          <a:pt x="0" y="34"/>
                        </a:lnTo>
                        <a:lnTo>
                          <a:pt x="0" y="34"/>
                        </a:lnTo>
                        <a:lnTo>
                          <a:pt x="2" y="29"/>
                        </a:lnTo>
                        <a:lnTo>
                          <a:pt x="5" y="24"/>
                        </a:lnTo>
                        <a:lnTo>
                          <a:pt x="5" y="24"/>
                        </a:lnTo>
                        <a:lnTo>
                          <a:pt x="2" y="17"/>
                        </a:lnTo>
                        <a:lnTo>
                          <a:pt x="2" y="17"/>
                        </a:lnTo>
                        <a:lnTo>
                          <a:pt x="0" y="10"/>
                        </a:lnTo>
                        <a:lnTo>
                          <a:pt x="0" y="7"/>
                        </a:lnTo>
                        <a:lnTo>
                          <a:pt x="4" y="4"/>
                        </a:lnTo>
                        <a:lnTo>
                          <a:pt x="4" y="4"/>
                        </a:lnTo>
                        <a:lnTo>
                          <a:pt x="7" y="7"/>
                        </a:lnTo>
                        <a:lnTo>
                          <a:pt x="7" y="10"/>
                        </a:lnTo>
                        <a:lnTo>
                          <a:pt x="7" y="10"/>
                        </a:lnTo>
                        <a:lnTo>
                          <a:pt x="10" y="9"/>
                        </a:lnTo>
                        <a:lnTo>
                          <a:pt x="12" y="7"/>
                        </a:lnTo>
                        <a:lnTo>
                          <a:pt x="12" y="7"/>
                        </a:lnTo>
                        <a:lnTo>
                          <a:pt x="17" y="7"/>
                        </a:lnTo>
                        <a:lnTo>
                          <a:pt x="20" y="7"/>
                        </a:lnTo>
                        <a:lnTo>
                          <a:pt x="20" y="7"/>
                        </a:lnTo>
                        <a:lnTo>
                          <a:pt x="29" y="4"/>
                        </a:lnTo>
                        <a:lnTo>
                          <a:pt x="29" y="4"/>
                        </a:lnTo>
                        <a:lnTo>
                          <a:pt x="30" y="2"/>
                        </a:lnTo>
                        <a:lnTo>
                          <a:pt x="34" y="0"/>
                        </a:lnTo>
                        <a:lnTo>
                          <a:pt x="37" y="0"/>
                        </a:lnTo>
                        <a:lnTo>
                          <a:pt x="39" y="4"/>
                        </a:lnTo>
                        <a:lnTo>
                          <a:pt x="32" y="25"/>
                        </a:lnTo>
                        <a:lnTo>
                          <a:pt x="29" y="40"/>
                        </a:lnTo>
                        <a:lnTo>
                          <a:pt x="29" y="40"/>
                        </a:lnTo>
                        <a:lnTo>
                          <a:pt x="25" y="42"/>
                        </a:lnTo>
                        <a:lnTo>
                          <a:pt x="22" y="42"/>
                        </a:lnTo>
                        <a:lnTo>
                          <a:pt x="17" y="40"/>
                        </a:lnTo>
                        <a:lnTo>
                          <a:pt x="17" y="4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a:latin typeface="Proxima Nova A" panose="02000506030000020004" pitchFamily="2" charset="0"/>
                    </a:endParaRPr>
                  </a:p>
                </p:txBody>
              </p:sp>
              <p:sp>
                <p:nvSpPr>
                  <p:cNvPr id="184" name="Freeform 1143">
                    <a:extLst>
                      <a:ext uri="{FF2B5EF4-FFF2-40B4-BE49-F238E27FC236}">
                        <a16:creationId xmlns:a16="http://schemas.microsoft.com/office/drawing/2014/main" id="{72F30650-884A-4D7B-B308-B5A87205CF3C}"/>
                      </a:ext>
                    </a:extLst>
                  </p:cNvPr>
                  <p:cNvSpPr>
                    <a:spLocks/>
                  </p:cNvSpPr>
                  <p:nvPr/>
                </p:nvSpPr>
                <p:spPr bwMode="auto">
                  <a:xfrm>
                    <a:off x="4237242" y="5920998"/>
                    <a:ext cx="34501" cy="44161"/>
                  </a:xfrm>
                  <a:custGeom>
                    <a:avLst/>
                    <a:gdLst>
                      <a:gd name="T0" fmla="*/ 22 w 25"/>
                      <a:gd name="T1" fmla="*/ 32 h 32"/>
                      <a:gd name="T2" fmla="*/ 22 w 25"/>
                      <a:gd name="T3" fmla="*/ 32 h 32"/>
                      <a:gd name="T4" fmla="*/ 17 w 25"/>
                      <a:gd name="T5" fmla="*/ 24 h 32"/>
                      <a:gd name="T6" fmla="*/ 17 w 25"/>
                      <a:gd name="T7" fmla="*/ 24 h 32"/>
                      <a:gd name="T8" fmla="*/ 17 w 25"/>
                      <a:gd name="T9" fmla="*/ 19 h 32"/>
                      <a:gd name="T10" fmla="*/ 15 w 25"/>
                      <a:gd name="T11" fmla="*/ 19 h 32"/>
                      <a:gd name="T12" fmla="*/ 13 w 25"/>
                      <a:gd name="T13" fmla="*/ 17 h 32"/>
                      <a:gd name="T14" fmla="*/ 13 w 25"/>
                      <a:gd name="T15" fmla="*/ 17 h 32"/>
                      <a:gd name="T16" fmla="*/ 10 w 25"/>
                      <a:gd name="T17" fmla="*/ 15 h 32"/>
                      <a:gd name="T18" fmla="*/ 10 w 25"/>
                      <a:gd name="T19" fmla="*/ 15 h 32"/>
                      <a:gd name="T20" fmla="*/ 5 w 25"/>
                      <a:gd name="T21" fmla="*/ 12 h 32"/>
                      <a:gd name="T22" fmla="*/ 3 w 25"/>
                      <a:gd name="T23" fmla="*/ 10 h 32"/>
                      <a:gd name="T24" fmla="*/ 0 w 25"/>
                      <a:gd name="T25" fmla="*/ 10 h 32"/>
                      <a:gd name="T26" fmla="*/ 0 w 25"/>
                      <a:gd name="T27" fmla="*/ 10 h 32"/>
                      <a:gd name="T28" fmla="*/ 2 w 25"/>
                      <a:gd name="T29" fmla="*/ 7 h 32"/>
                      <a:gd name="T30" fmla="*/ 5 w 25"/>
                      <a:gd name="T31" fmla="*/ 5 h 32"/>
                      <a:gd name="T32" fmla="*/ 5 w 25"/>
                      <a:gd name="T33" fmla="*/ 5 h 32"/>
                      <a:gd name="T34" fmla="*/ 7 w 25"/>
                      <a:gd name="T35" fmla="*/ 2 h 32"/>
                      <a:gd name="T36" fmla="*/ 10 w 25"/>
                      <a:gd name="T37" fmla="*/ 0 h 32"/>
                      <a:gd name="T38" fmla="*/ 10 w 25"/>
                      <a:gd name="T39" fmla="*/ 0 h 32"/>
                      <a:gd name="T40" fmla="*/ 17 w 25"/>
                      <a:gd name="T41" fmla="*/ 0 h 32"/>
                      <a:gd name="T42" fmla="*/ 20 w 25"/>
                      <a:gd name="T43" fmla="*/ 0 h 32"/>
                      <a:gd name="T44" fmla="*/ 22 w 25"/>
                      <a:gd name="T45" fmla="*/ 0 h 32"/>
                      <a:gd name="T46" fmla="*/ 25 w 25"/>
                      <a:gd name="T47" fmla="*/ 14 h 32"/>
                      <a:gd name="T48" fmla="*/ 22 w 25"/>
                      <a:gd name="T49" fmla="*/ 32 h 32"/>
                      <a:gd name="T50" fmla="*/ 22 w 25"/>
                      <a:gd name="T51" fmla="*/ 32 h 32"/>
                      <a:gd name="T52" fmla="*/ 22 w 25"/>
                      <a:gd name="T5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32">
                        <a:moveTo>
                          <a:pt x="22" y="32"/>
                        </a:moveTo>
                        <a:lnTo>
                          <a:pt x="22" y="32"/>
                        </a:lnTo>
                        <a:lnTo>
                          <a:pt x="17" y="24"/>
                        </a:lnTo>
                        <a:lnTo>
                          <a:pt x="17" y="24"/>
                        </a:lnTo>
                        <a:lnTo>
                          <a:pt x="17" y="19"/>
                        </a:lnTo>
                        <a:lnTo>
                          <a:pt x="15" y="19"/>
                        </a:lnTo>
                        <a:lnTo>
                          <a:pt x="13" y="17"/>
                        </a:lnTo>
                        <a:lnTo>
                          <a:pt x="13" y="17"/>
                        </a:lnTo>
                        <a:lnTo>
                          <a:pt x="10" y="15"/>
                        </a:lnTo>
                        <a:lnTo>
                          <a:pt x="10" y="15"/>
                        </a:lnTo>
                        <a:lnTo>
                          <a:pt x="5" y="12"/>
                        </a:lnTo>
                        <a:lnTo>
                          <a:pt x="3" y="10"/>
                        </a:lnTo>
                        <a:lnTo>
                          <a:pt x="0" y="10"/>
                        </a:lnTo>
                        <a:lnTo>
                          <a:pt x="0" y="10"/>
                        </a:lnTo>
                        <a:lnTo>
                          <a:pt x="2" y="7"/>
                        </a:lnTo>
                        <a:lnTo>
                          <a:pt x="5" y="5"/>
                        </a:lnTo>
                        <a:lnTo>
                          <a:pt x="5" y="5"/>
                        </a:lnTo>
                        <a:lnTo>
                          <a:pt x="7" y="2"/>
                        </a:lnTo>
                        <a:lnTo>
                          <a:pt x="10" y="0"/>
                        </a:lnTo>
                        <a:lnTo>
                          <a:pt x="10" y="0"/>
                        </a:lnTo>
                        <a:lnTo>
                          <a:pt x="17" y="0"/>
                        </a:lnTo>
                        <a:lnTo>
                          <a:pt x="20" y="0"/>
                        </a:lnTo>
                        <a:lnTo>
                          <a:pt x="22" y="0"/>
                        </a:lnTo>
                        <a:lnTo>
                          <a:pt x="25" y="14"/>
                        </a:lnTo>
                        <a:lnTo>
                          <a:pt x="22" y="32"/>
                        </a:lnTo>
                        <a:lnTo>
                          <a:pt x="22" y="32"/>
                        </a:lnTo>
                        <a:lnTo>
                          <a:pt x="22" y="3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a:latin typeface="Proxima Nova A" panose="02000506030000020004" pitchFamily="2" charset="0"/>
                    </a:endParaRPr>
                  </a:p>
                </p:txBody>
              </p:sp>
              <p:sp>
                <p:nvSpPr>
                  <p:cNvPr id="185" name="Freeform 1151">
                    <a:extLst>
                      <a:ext uri="{FF2B5EF4-FFF2-40B4-BE49-F238E27FC236}">
                        <a16:creationId xmlns:a16="http://schemas.microsoft.com/office/drawing/2014/main" id="{A5751746-2D09-43BF-A3CC-5A33795712C1}"/>
                      </a:ext>
                    </a:extLst>
                  </p:cNvPr>
                  <p:cNvSpPr>
                    <a:spLocks/>
                  </p:cNvSpPr>
                  <p:nvPr/>
                </p:nvSpPr>
                <p:spPr bwMode="auto">
                  <a:xfrm>
                    <a:off x="5259838" y="4128349"/>
                    <a:ext cx="85561" cy="86941"/>
                  </a:xfrm>
                  <a:custGeom>
                    <a:avLst/>
                    <a:gdLst>
                      <a:gd name="T0" fmla="*/ 48 w 62"/>
                      <a:gd name="T1" fmla="*/ 25 h 63"/>
                      <a:gd name="T2" fmla="*/ 48 w 62"/>
                      <a:gd name="T3" fmla="*/ 25 h 63"/>
                      <a:gd name="T4" fmla="*/ 50 w 62"/>
                      <a:gd name="T5" fmla="*/ 23 h 63"/>
                      <a:gd name="T6" fmla="*/ 53 w 62"/>
                      <a:gd name="T7" fmla="*/ 22 h 63"/>
                      <a:gd name="T8" fmla="*/ 60 w 62"/>
                      <a:gd name="T9" fmla="*/ 18 h 63"/>
                      <a:gd name="T10" fmla="*/ 60 w 62"/>
                      <a:gd name="T11" fmla="*/ 18 h 63"/>
                      <a:gd name="T12" fmla="*/ 62 w 62"/>
                      <a:gd name="T13" fmla="*/ 13 h 63"/>
                      <a:gd name="T14" fmla="*/ 62 w 62"/>
                      <a:gd name="T15" fmla="*/ 8 h 63"/>
                      <a:gd name="T16" fmla="*/ 60 w 62"/>
                      <a:gd name="T17" fmla="*/ 3 h 63"/>
                      <a:gd name="T18" fmla="*/ 57 w 62"/>
                      <a:gd name="T19" fmla="*/ 2 h 63"/>
                      <a:gd name="T20" fmla="*/ 57 w 62"/>
                      <a:gd name="T21" fmla="*/ 2 h 63"/>
                      <a:gd name="T22" fmla="*/ 52 w 62"/>
                      <a:gd name="T23" fmla="*/ 0 h 63"/>
                      <a:gd name="T24" fmla="*/ 45 w 62"/>
                      <a:gd name="T25" fmla="*/ 0 h 63"/>
                      <a:gd name="T26" fmla="*/ 45 w 62"/>
                      <a:gd name="T27" fmla="*/ 0 h 63"/>
                      <a:gd name="T28" fmla="*/ 38 w 62"/>
                      <a:gd name="T29" fmla="*/ 5 h 63"/>
                      <a:gd name="T30" fmla="*/ 37 w 62"/>
                      <a:gd name="T31" fmla="*/ 8 h 63"/>
                      <a:gd name="T32" fmla="*/ 33 w 62"/>
                      <a:gd name="T33" fmla="*/ 10 h 63"/>
                      <a:gd name="T34" fmla="*/ 33 w 62"/>
                      <a:gd name="T35" fmla="*/ 10 h 63"/>
                      <a:gd name="T36" fmla="*/ 32 w 62"/>
                      <a:gd name="T37" fmla="*/ 12 h 63"/>
                      <a:gd name="T38" fmla="*/ 28 w 62"/>
                      <a:gd name="T39" fmla="*/ 15 h 63"/>
                      <a:gd name="T40" fmla="*/ 22 w 62"/>
                      <a:gd name="T41" fmla="*/ 17 h 63"/>
                      <a:gd name="T42" fmla="*/ 22 w 62"/>
                      <a:gd name="T43" fmla="*/ 17 h 63"/>
                      <a:gd name="T44" fmla="*/ 22 w 62"/>
                      <a:gd name="T45" fmla="*/ 20 h 63"/>
                      <a:gd name="T46" fmla="*/ 20 w 62"/>
                      <a:gd name="T47" fmla="*/ 22 h 63"/>
                      <a:gd name="T48" fmla="*/ 15 w 62"/>
                      <a:gd name="T49" fmla="*/ 22 h 63"/>
                      <a:gd name="T50" fmla="*/ 15 w 62"/>
                      <a:gd name="T51" fmla="*/ 22 h 63"/>
                      <a:gd name="T52" fmla="*/ 12 w 62"/>
                      <a:gd name="T53" fmla="*/ 25 h 63"/>
                      <a:gd name="T54" fmla="*/ 10 w 62"/>
                      <a:gd name="T55" fmla="*/ 28 h 63"/>
                      <a:gd name="T56" fmla="*/ 10 w 62"/>
                      <a:gd name="T57" fmla="*/ 28 h 63"/>
                      <a:gd name="T58" fmla="*/ 8 w 62"/>
                      <a:gd name="T59" fmla="*/ 38 h 63"/>
                      <a:gd name="T60" fmla="*/ 5 w 62"/>
                      <a:gd name="T61" fmla="*/ 43 h 63"/>
                      <a:gd name="T62" fmla="*/ 3 w 62"/>
                      <a:gd name="T63" fmla="*/ 47 h 63"/>
                      <a:gd name="T64" fmla="*/ 3 w 62"/>
                      <a:gd name="T65" fmla="*/ 47 h 63"/>
                      <a:gd name="T66" fmla="*/ 2 w 62"/>
                      <a:gd name="T67" fmla="*/ 52 h 63"/>
                      <a:gd name="T68" fmla="*/ 0 w 62"/>
                      <a:gd name="T69" fmla="*/ 56 h 63"/>
                      <a:gd name="T70" fmla="*/ 2 w 62"/>
                      <a:gd name="T71" fmla="*/ 60 h 63"/>
                      <a:gd name="T72" fmla="*/ 5 w 62"/>
                      <a:gd name="T73" fmla="*/ 63 h 63"/>
                      <a:gd name="T74" fmla="*/ 5 w 62"/>
                      <a:gd name="T75" fmla="*/ 63 h 63"/>
                      <a:gd name="T76" fmla="*/ 12 w 62"/>
                      <a:gd name="T77" fmla="*/ 63 h 63"/>
                      <a:gd name="T78" fmla="*/ 12 w 62"/>
                      <a:gd name="T79" fmla="*/ 63 h 63"/>
                      <a:gd name="T80" fmla="*/ 13 w 62"/>
                      <a:gd name="T81" fmla="*/ 53 h 63"/>
                      <a:gd name="T82" fmla="*/ 15 w 62"/>
                      <a:gd name="T83" fmla="*/ 45 h 63"/>
                      <a:gd name="T84" fmla="*/ 17 w 62"/>
                      <a:gd name="T85" fmla="*/ 42 h 63"/>
                      <a:gd name="T86" fmla="*/ 18 w 62"/>
                      <a:gd name="T87" fmla="*/ 40 h 63"/>
                      <a:gd name="T88" fmla="*/ 18 w 62"/>
                      <a:gd name="T89" fmla="*/ 40 h 63"/>
                      <a:gd name="T90" fmla="*/ 23 w 62"/>
                      <a:gd name="T91" fmla="*/ 40 h 63"/>
                      <a:gd name="T92" fmla="*/ 25 w 62"/>
                      <a:gd name="T93" fmla="*/ 42 h 63"/>
                      <a:gd name="T94" fmla="*/ 32 w 62"/>
                      <a:gd name="T95" fmla="*/ 45 h 63"/>
                      <a:gd name="T96" fmla="*/ 32 w 62"/>
                      <a:gd name="T97" fmla="*/ 45 h 63"/>
                      <a:gd name="T98" fmla="*/ 37 w 62"/>
                      <a:gd name="T99" fmla="*/ 43 h 63"/>
                      <a:gd name="T100" fmla="*/ 40 w 62"/>
                      <a:gd name="T101" fmla="*/ 42 h 63"/>
                      <a:gd name="T102" fmla="*/ 40 w 62"/>
                      <a:gd name="T103" fmla="*/ 42 h 63"/>
                      <a:gd name="T104" fmla="*/ 42 w 62"/>
                      <a:gd name="T105" fmla="*/ 37 h 63"/>
                      <a:gd name="T106" fmla="*/ 43 w 62"/>
                      <a:gd name="T107" fmla="*/ 35 h 63"/>
                      <a:gd name="T108" fmla="*/ 43 w 62"/>
                      <a:gd name="T109" fmla="*/ 35 h 63"/>
                      <a:gd name="T110" fmla="*/ 45 w 62"/>
                      <a:gd name="T111" fmla="*/ 28 h 63"/>
                      <a:gd name="T112" fmla="*/ 45 w 62"/>
                      <a:gd name="T113" fmla="*/ 28 h 63"/>
                      <a:gd name="T114" fmla="*/ 48 w 62"/>
                      <a:gd name="T115" fmla="*/ 25 h 63"/>
                      <a:gd name="T116" fmla="*/ 48 w 62"/>
                      <a:gd name="T117" fmla="*/ 2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 h="63">
                        <a:moveTo>
                          <a:pt x="48" y="25"/>
                        </a:moveTo>
                        <a:lnTo>
                          <a:pt x="48" y="25"/>
                        </a:lnTo>
                        <a:lnTo>
                          <a:pt x="50" y="23"/>
                        </a:lnTo>
                        <a:lnTo>
                          <a:pt x="53" y="22"/>
                        </a:lnTo>
                        <a:lnTo>
                          <a:pt x="60" y="18"/>
                        </a:lnTo>
                        <a:lnTo>
                          <a:pt x="60" y="18"/>
                        </a:lnTo>
                        <a:lnTo>
                          <a:pt x="62" y="13"/>
                        </a:lnTo>
                        <a:lnTo>
                          <a:pt x="62" y="8"/>
                        </a:lnTo>
                        <a:lnTo>
                          <a:pt x="60" y="3"/>
                        </a:lnTo>
                        <a:lnTo>
                          <a:pt x="57" y="2"/>
                        </a:lnTo>
                        <a:lnTo>
                          <a:pt x="57" y="2"/>
                        </a:lnTo>
                        <a:lnTo>
                          <a:pt x="52" y="0"/>
                        </a:lnTo>
                        <a:lnTo>
                          <a:pt x="45" y="0"/>
                        </a:lnTo>
                        <a:lnTo>
                          <a:pt x="45" y="0"/>
                        </a:lnTo>
                        <a:lnTo>
                          <a:pt x="38" y="5"/>
                        </a:lnTo>
                        <a:lnTo>
                          <a:pt x="37" y="8"/>
                        </a:lnTo>
                        <a:lnTo>
                          <a:pt x="33" y="10"/>
                        </a:lnTo>
                        <a:lnTo>
                          <a:pt x="33" y="10"/>
                        </a:lnTo>
                        <a:lnTo>
                          <a:pt x="32" y="12"/>
                        </a:lnTo>
                        <a:lnTo>
                          <a:pt x="28" y="15"/>
                        </a:lnTo>
                        <a:lnTo>
                          <a:pt x="22" y="17"/>
                        </a:lnTo>
                        <a:lnTo>
                          <a:pt x="22" y="17"/>
                        </a:lnTo>
                        <a:lnTo>
                          <a:pt x="22" y="20"/>
                        </a:lnTo>
                        <a:lnTo>
                          <a:pt x="20" y="22"/>
                        </a:lnTo>
                        <a:lnTo>
                          <a:pt x="15" y="22"/>
                        </a:lnTo>
                        <a:lnTo>
                          <a:pt x="15" y="22"/>
                        </a:lnTo>
                        <a:lnTo>
                          <a:pt x="12" y="25"/>
                        </a:lnTo>
                        <a:lnTo>
                          <a:pt x="10" y="28"/>
                        </a:lnTo>
                        <a:lnTo>
                          <a:pt x="10" y="28"/>
                        </a:lnTo>
                        <a:lnTo>
                          <a:pt x="8" y="38"/>
                        </a:lnTo>
                        <a:lnTo>
                          <a:pt x="5" y="43"/>
                        </a:lnTo>
                        <a:lnTo>
                          <a:pt x="3" y="47"/>
                        </a:lnTo>
                        <a:lnTo>
                          <a:pt x="3" y="47"/>
                        </a:lnTo>
                        <a:lnTo>
                          <a:pt x="2" y="52"/>
                        </a:lnTo>
                        <a:lnTo>
                          <a:pt x="0" y="56"/>
                        </a:lnTo>
                        <a:lnTo>
                          <a:pt x="2" y="60"/>
                        </a:lnTo>
                        <a:lnTo>
                          <a:pt x="5" y="63"/>
                        </a:lnTo>
                        <a:lnTo>
                          <a:pt x="5" y="63"/>
                        </a:lnTo>
                        <a:lnTo>
                          <a:pt x="12" y="63"/>
                        </a:lnTo>
                        <a:lnTo>
                          <a:pt x="12" y="63"/>
                        </a:lnTo>
                        <a:lnTo>
                          <a:pt x="13" y="53"/>
                        </a:lnTo>
                        <a:lnTo>
                          <a:pt x="15" y="45"/>
                        </a:lnTo>
                        <a:lnTo>
                          <a:pt x="17" y="42"/>
                        </a:lnTo>
                        <a:lnTo>
                          <a:pt x="18" y="40"/>
                        </a:lnTo>
                        <a:lnTo>
                          <a:pt x="18" y="40"/>
                        </a:lnTo>
                        <a:lnTo>
                          <a:pt x="23" y="40"/>
                        </a:lnTo>
                        <a:lnTo>
                          <a:pt x="25" y="42"/>
                        </a:lnTo>
                        <a:lnTo>
                          <a:pt x="32" y="45"/>
                        </a:lnTo>
                        <a:lnTo>
                          <a:pt x="32" y="45"/>
                        </a:lnTo>
                        <a:lnTo>
                          <a:pt x="37" y="43"/>
                        </a:lnTo>
                        <a:lnTo>
                          <a:pt x="40" y="42"/>
                        </a:lnTo>
                        <a:lnTo>
                          <a:pt x="40" y="42"/>
                        </a:lnTo>
                        <a:lnTo>
                          <a:pt x="42" y="37"/>
                        </a:lnTo>
                        <a:lnTo>
                          <a:pt x="43" y="35"/>
                        </a:lnTo>
                        <a:lnTo>
                          <a:pt x="43" y="35"/>
                        </a:lnTo>
                        <a:lnTo>
                          <a:pt x="45" y="28"/>
                        </a:lnTo>
                        <a:lnTo>
                          <a:pt x="45" y="28"/>
                        </a:lnTo>
                        <a:lnTo>
                          <a:pt x="48" y="25"/>
                        </a:lnTo>
                        <a:lnTo>
                          <a:pt x="48" y="25"/>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a:latin typeface="Proxima Nova A" panose="02000506030000020004" pitchFamily="2" charset="0"/>
                    </a:endParaRPr>
                  </a:p>
                </p:txBody>
              </p:sp>
              <p:grpSp>
                <p:nvGrpSpPr>
                  <p:cNvPr id="186" name="Andaman &amp; Nicobar Islands">
                    <a:extLst>
                      <a:ext uri="{FF2B5EF4-FFF2-40B4-BE49-F238E27FC236}">
                        <a16:creationId xmlns:a16="http://schemas.microsoft.com/office/drawing/2014/main" id="{2003C112-55A8-4D39-9E1C-BAED6B9298BD}"/>
                      </a:ext>
                    </a:extLst>
                  </p:cNvPr>
                  <p:cNvGrpSpPr>
                    <a:grpSpLocks noChangeAspect="1"/>
                  </p:cNvGrpSpPr>
                  <p:nvPr/>
                </p:nvGrpSpPr>
                <p:grpSpPr bwMode="auto">
                  <a:xfrm>
                    <a:off x="6720094" y="5275147"/>
                    <a:ext cx="447468" cy="1389769"/>
                    <a:chOff x="7888" y="7929"/>
                    <a:chExt cx="773" cy="2397"/>
                  </a:xfrm>
                  <a:grpFill/>
                </p:grpSpPr>
                <p:sp>
                  <p:nvSpPr>
                    <p:cNvPr id="214" name="Freeform 4">
                      <a:extLst>
                        <a:ext uri="{FF2B5EF4-FFF2-40B4-BE49-F238E27FC236}">
                          <a16:creationId xmlns:a16="http://schemas.microsoft.com/office/drawing/2014/main" id="{599187B2-18DA-486A-B399-3A48BC36DE8D}"/>
                        </a:ext>
                      </a:extLst>
                    </p:cNvPr>
                    <p:cNvSpPr>
                      <a:spLocks noChangeAspect="1"/>
                    </p:cNvSpPr>
                    <p:nvPr/>
                  </p:nvSpPr>
                  <p:spPr bwMode="auto">
                    <a:xfrm>
                      <a:off x="8519" y="7959"/>
                      <a:ext cx="20" cy="21"/>
                    </a:xfrm>
                    <a:custGeom>
                      <a:avLst/>
                      <a:gdLst/>
                      <a:ahLst/>
                      <a:cxnLst>
                        <a:cxn ang="0">
                          <a:pos x="13" y="17"/>
                        </a:cxn>
                        <a:cxn ang="0">
                          <a:pos x="12" y="0"/>
                        </a:cxn>
                        <a:cxn ang="0">
                          <a:pos x="4" y="21"/>
                        </a:cxn>
                        <a:cxn ang="0">
                          <a:pos x="13" y="17"/>
                        </a:cxn>
                      </a:cxnLst>
                      <a:rect l="0" t="0" r="r" b="b"/>
                      <a:pathLst>
                        <a:path w="20" h="21">
                          <a:moveTo>
                            <a:pt x="13" y="17"/>
                          </a:moveTo>
                          <a:cubicBezTo>
                            <a:pt x="18" y="9"/>
                            <a:pt x="20" y="6"/>
                            <a:pt x="12" y="0"/>
                          </a:cubicBezTo>
                          <a:cubicBezTo>
                            <a:pt x="0" y="5"/>
                            <a:pt x="3" y="7"/>
                            <a:pt x="4" y="21"/>
                          </a:cubicBezTo>
                          <a:cubicBezTo>
                            <a:pt x="18" y="19"/>
                            <a:pt x="17" y="13"/>
                            <a:pt x="13" y="17"/>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15" name="Freeform 5">
                      <a:extLst>
                        <a:ext uri="{FF2B5EF4-FFF2-40B4-BE49-F238E27FC236}">
                          <a16:creationId xmlns:a16="http://schemas.microsoft.com/office/drawing/2014/main" id="{69DA22E8-EA21-4B8A-9C43-47985F2E2F8D}"/>
                        </a:ext>
                      </a:extLst>
                    </p:cNvPr>
                    <p:cNvSpPr>
                      <a:spLocks noChangeAspect="1"/>
                    </p:cNvSpPr>
                    <p:nvPr/>
                  </p:nvSpPr>
                  <p:spPr bwMode="auto">
                    <a:xfrm>
                      <a:off x="8423" y="8385"/>
                      <a:ext cx="15" cy="15"/>
                    </a:xfrm>
                    <a:custGeom>
                      <a:avLst/>
                      <a:gdLst/>
                      <a:ahLst/>
                      <a:cxnLst>
                        <a:cxn ang="0">
                          <a:pos x="12" y="3"/>
                        </a:cxn>
                        <a:cxn ang="0">
                          <a:pos x="0" y="8"/>
                        </a:cxn>
                        <a:cxn ang="0">
                          <a:pos x="15" y="12"/>
                        </a:cxn>
                        <a:cxn ang="0">
                          <a:pos x="12" y="3"/>
                        </a:cxn>
                      </a:cxnLst>
                      <a:rect l="0" t="0" r="r" b="b"/>
                      <a:pathLst>
                        <a:path w="15" h="15">
                          <a:moveTo>
                            <a:pt x="12" y="3"/>
                          </a:moveTo>
                          <a:cubicBezTo>
                            <a:pt x="5" y="2"/>
                            <a:pt x="2" y="0"/>
                            <a:pt x="0" y="8"/>
                          </a:cubicBezTo>
                          <a:cubicBezTo>
                            <a:pt x="5" y="15"/>
                            <a:pt x="6" y="14"/>
                            <a:pt x="15" y="12"/>
                          </a:cubicBezTo>
                          <a:cubicBezTo>
                            <a:pt x="13" y="4"/>
                            <a:pt x="14" y="7"/>
                            <a:pt x="12" y="3"/>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16" name="Freeform 6">
                      <a:extLst>
                        <a:ext uri="{FF2B5EF4-FFF2-40B4-BE49-F238E27FC236}">
                          <a16:creationId xmlns:a16="http://schemas.microsoft.com/office/drawing/2014/main" id="{7F5A42BA-76C4-4C0D-8345-DBD3E8A33742}"/>
                        </a:ext>
                      </a:extLst>
                    </p:cNvPr>
                    <p:cNvSpPr>
                      <a:spLocks noChangeAspect="1"/>
                    </p:cNvSpPr>
                    <p:nvPr/>
                  </p:nvSpPr>
                  <p:spPr bwMode="auto">
                    <a:xfrm>
                      <a:off x="8048" y="7970"/>
                      <a:ext cx="97" cy="238"/>
                    </a:xfrm>
                    <a:custGeom>
                      <a:avLst/>
                      <a:gdLst/>
                      <a:ahLst/>
                      <a:cxnLst>
                        <a:cxn ang="0">
                          <a:pos x="81" y="178"/>
                        </a:cxn>
                        <a:cxn ang="0">
                          <a:pos x="81" y="151"/>
                        </a:cxn>
                        <a:cxn ang="0">
                          <a:pos x="84" y="138"/>
                        </a:cxn>
                        <a:cxn ang="0">
                          <a:pos x="85" y="124"/>
                        </a:cxn>
                        <a:cxn ang="0">
                          <a:pos x="87" y="108"/>
                        </a:cxn>
                        <a:cxn ang="0">
                          <a:pos x="72" y="99"/>
                        </a:cxn>
                        <a:cxn ang="0">
                          <a:pos x="66" y="90"/>
                        </a:cxn>
                        <a:cxn ang="0">
                          <a:pos x="49" y="85"/>
                        </a:cxn>
                        <a:cxn ang="0">
                          <a:pos x="55" y="75"/>
                        </a:cxn>
                        <a:cxn ang="0">
                          <a:pos x="72" y="78"/>
                        </a:cxn>
                        <a:cxn ang="0">
                          <a:pos x="88" y="87"/>
                        </a:cxn>
                        <a:cxn ang="0">
                          <a:pos x="97" y="76"/>
                        </a:cxn>
                        <a:cxn ang="0">
                          <a:pos x="87" y="66"/>
                        </a:cxn>
                        <a:cxn ang="0">
                          <a:pos x="81" y="58"/>
                        </a:cxn>
                        <a:cxn ang="0">
                          <a:pos x="69" y="48"/>
                        </a:cxn>
                        <a:cxn ang="0">
                          <a:pos x="73" y="27"/>
                        </a:cxn>
                        <a:cxn ang="0">
                          <a:pos x="73" y="12"/>
                        </a:cxn>
                        <a:cxn ang="0">
                          <a:pos x="60" y="0"/>
                        </a:cxn>
                        <a:cxn ang="0">
                          <a:pos x="51" y="9"/>
                        </a:cxn>
                        <a:cxn ang="0">
                          <a:pos x="37" y="13"/>
                        </a:cxn>
                        <a:cxn ang="0">
                          <a:pos x="33" y="30"/>
                        </a:cxn>
                        <a:cxn ang="0">
                          <a:pos x="15" y="42"/>
                        </a:cxn>
                        <a:cxn ang="0">
                          <a:pos x="15" y="57"/>
                        </a:cxn>
                        <a:cxn ang="0">
                          <a:pos x="4" y="67"/>
                        </a:cxn>
                        <a:cxn ang="0">
                          <a:pos x="10" y="75"/>
                        </a:cxn>
                        <a:cxn ang="0">
                          <a:pos x="13" y="85"/>
                        </a:cxn>
                        <a:cxn ang="0">
                          <a:pos x="6" y="93"/>
                        </a:cxn>
                        <a:cxn ang="0">
                          <a:pos x="0" y="105"/>
                        </a:cxn>
                        <a:cxn ang="0">
                          <a:pos x="12" y="108"/>
                        </a:cxn>
                        <a:cxn ang="0">
                          <a:pos x="24" y="115"/>
                        </a:cxn>
                        <a:cxn ang="0">
                          <a:pos x="9" y="132"/>
                        </a:cxn>
                        <a:cxn ang="0">
                          <a:pos x="4" y="145"/>
                        </a:cxn>
                        <a:cxn ang="0">
                          <a:pos x="18" y="162"/>
                        </a:cxn>
                        <a:cxn ang="0">
                          <a:pos x="10" y="174"/>
                        </a:cxn>
                        <a:cxn ang="0">
                          <a:pos x="3" y="195"/>
                        </a:cxn>
                        <a:cxn ang="0">
                          <a:pos x="13" y="202"/>
                        </a:cxn>
                        <a:cxn ang="0">
                          <a:pos x="6" y="219"/>
                        </a:cxn>
                        <a:cxn ang="0">
                          <a:pos x="6" y="231"/>
                        </a:cxn>
                        <a:cxn ang="0">
                          <a:pos x="16" y="238"/>
                        </a:cxn>
                        <a:cxn ang="0">
                          <a:pos x="27" y="234"/>
                        </a:cxn>
                        <a:cxn ang="0">
                          <a:pos x="34" y="225"/>
                        </a:cxn>
                        <a:cxn ang="0">
                          <a:pos x="40" y="210"/>
                        </a:cxn>
                        <a:cxn ang="0">
                          <a:pos x="49" y="216"/>
                        </a:cxn>
                        <a:cxn ang="0">
                          <a:pos x="55" y="208"/>
                        </a:cxn>
                        <a:cxn ang="0">
                          <a:pos x="42" y="198"/>
                        </a:cxn>
                        <a:cxn ang="0">
                          <a:pos x="37" y="187"/>
                        </a:cxn>
                        <a:cxn ang="0">
                          <a:pos x="48" y="180"/>
                        </a:cxn>
                        <a:cxn ang="0">
                          <a:pos x="70" y="189"/>
                        </a:cxn>
                        <a:cxn ang="0">
                          <a:pos x="81" y="178"/>
                        </a:cxn>
                      </a:cxnLst>
                      <a:rect l="0" t="0" r="r" b="b"/>
                      <a:pathLst>
                        <a:path w="97" h="238">
                          <a:moveTo>
                            <a:pt x="81" y="178"/>
                          </a:moveTo>
                          <a:lnTo>
                            <a:pt x="81" y="151"/>
                          </a:lnTo>
                          <a:lnTo>
                            <a:pt x="84" y="138"/>
                          </a:lnTo>
                          <a:lnTo>
                            <a:pt x="85" y="124"/>
                          </a:lnTo>
                          <a:lnTo>
                            <a:pt x="87" y="108"/>
                          </a:lnTo>
                          <a:lnTo>
                            <a:pt x="72" y="99"/>
                          </a:lnTo>
                          <a:lnTo>
                            <a:pt x="66" y="90"/>
                          </a:lnTo>
                          <a:lnTo>
                            <a:pt x="49" y="85"/>
                          </a:lnTo>
                          <a:lnTo>
                            <a:pt x="55" y="75"/>
                          </a:lnTo>
                          <a:lnTo>
                            <a:pt x="72" y="78"/>
                          </a:lnTo>
                          <a:lnTo>
                            <a:pt x="88" y="87"/>
                          </a:lnTo>
                          <a:lnTo>
                            <a:pt x="97" y="76"/>
                          </a:lnTo>
                          <a:lnTo>
                            <a:pt x="87" y="66"/>
                          </a:lnTo>
                          <a:lnTo>
                            <a:pt x="81" y="58"/>
                          </a:lnTo>
                          <a:lnTo>
                            <a:pt x="69" y="48"/>
                          </a:lnTo>
                          <a:lnTo>
                            <a:pt x="73" y="27"/>
                          </a:lnTo>
                          <a:lnTo>
                            <a:pt x="73" y="12"/>
                          </a:lnTo>
                          <a:lnTo>
                            <a:pt x="60" y="0"/>
                          </a:lnTo>
                          <a:lnTo>
                            <a:pt x="51" y="9"/>
                          </a:lnTo>
                          <a:lnTo>
                            <a:pt x="37" y="13"/>
                          </a:lnTo>
                          <a:lnTo>
                            <a:pt x="33" y="30"/>
                          </a:lnTo>
                          <a:lnTo>
                            <a:pt x="15" y="42"/>
                          </a:lnTo>
                          <a:lnTo>
                            <a:pt x="15" y="57"/>
                          </a:lnTo>
                          <a:lnTo>
                            <a:pt x="4" y="67"/>
                          </a:lnTo>
                          <a:lnTo>
                            <a:pt x="10" y="75"/>
                          </a:lnTo>
                          <a:lnTo>
                            <a:pt x="13" y="85"/>
                          </a:lnTo>
                          <a:lnTo>
                            <a:pt x="6" y="93"/>
                          </a:lnTo>
                          <a:lnTo>
                            <a:pt x="0" y="105"/>
                          </a:lnTo>
                          <a:lnTo>
                            <a:pt x="12" y="108"/>
                          </a:lnTo>
                          <a:lnTo>
                            <a:pt x="24" y="115"/>
                          </a:lnTo>
                          <a:lnTo>
                            <a:pt x="9" y="132"/>
                          </a:lnTo>
                          <a:lnTo>
                            <a:pt x="4" y="145"/>
                          </a:lnTo>
                          <a:lnTo>
                            <a:pt x="18" y="162"/>
                          </a:lnTo>
                          <a:lnTo>
                            <a:pt x="10" y="174"/>
                          </a:lnTo>
                          <a:lnTo>
                            <a:pt x="3" y="195"/>
                          </a:lnTo>
                          <a:lnTo>
                            <a:pt x="13" y="202"/>
                          </a:lnTo>
                          <a:lnTo>
                            <a:pt x="6" y="219"/>
                          </a:lnTo>
                          <a:lnTo>
                            <a:pt x="6" y="231"/>
                          </a:lnTo>
                          <a:lnTo>
                            <a:pt x="16" y="238"/>
                          </a:lnTo>
                          <a:lnTo>
                            <a:pt x="27" y="234"/>
                          </a:lnTo>
                          <a:lnTo>
                            <a:pt x="34" y="225"/>
                          </a:lnTo>
                          <a:lnTo>
                            <a:pt x="40" y="210"/>
                          </a:lnTo>
                          <a:lnTo>
                            <a:pt x="49" y="216"/>
                          </a:lnTo>
                          <a:lnTo>
                            <a:pt x="55" y="208"/>
                          </a:lnTo>
                          <a:lnTo>
                            <a:pt x="42" y="198"/>
                          </a:lnTo>
                          <a:lnTo>
                            <a:pt x="37" y="187"/>
                          </a:lnTo>
                          <a:lnTo>
                            <a:pt x="48" y="180"/>
                          </a:lnTo>
                          <a:lnTo>
                            <a:pt x="70" y="189"/>
                          </a:lnTo>
                          <a:lnTo>
                            <a:pt x="81" y="178"/>
                          </a:ln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17" name="Freeform 7">
                      <a:extLst>
                        <a:ext uri="{FF2B5EF4-FFF2-40B4-BE49-F238E27FC236}">
                          <a16:creationId xmlns:a16="http://schemas.microsoft.com/office/drawing/2014/main" id="{A04EA3A7-79AC-481F-B6C9-3D496E642946}"/>
                        </a:ext>
                      </a:extLst>
                    </p:cNvPr>
                    <p:cNvSpPr>
                      <a:spLocks noChangeAspect="1"/>
                    </p:cNvSpPr>
                    <p:nvPr/>
                  </p:nvSpPr>
                  <p:spPr bwMode="auto">
                    <a:xfrm>
                      <a:off x="8031" y="8193"/>
                      <a:ext cx="105" cy="230"/>
                    </a:xfrm>
                    <a:custGeom>
                      <a:avLst/>
                      <a:gdLst/>
                      <a:ahLst/>
                      <a:cxnLst>
                        <a:cxn ang="0">
                          <a:pos x="32" y="222"/>
                        </a:cxn>
                        <a:cxn ang="0">
                          <a:pos x="51" y="209"/>
                        </a:cxn>
                        <a:cxn ang="0">
                          <a:pos x="71" y="216"/>
                        </a:cxn>
                        <a:cxn ang="0">
                          <a:pos x="68" y="203"/>
                        </a:cxn>
                        <a:cxn ang="0">
                          <a:pos x="60" y="188"/>
                        </a:cxn>
                        <a:cxn ang="0">
                          <a:pos x="89" y="168"/>
                        </a:cxn>
                        <a:cxn ang="0">
                          <a:pos x="98" y="155"/>
                        </a:cxn>
                        <a:cxn ang="0">
                          <a:pos x="105" y="141"/>
                        </a:cxn>
                        <a:cxn ang="0">
                          <a:pos x="96" y="131"/>
                        </a:cxn>
                        <a:cxn ang="0">
                          <a:pos x="83" y="108"/>
                        </a:cxn>
                        <a:cxn ang="0">
                          <a:pos x="96" y="93"/>
                        </a:cxn>
                        <a:cxn ang="0">
                          <a:pos x="86" y="84"/>
                        </a:cxn>
                        <a:cxn ang="0">
                          <a:pos x="98" y="72"/>
                        </a:cxn>
                        <a:cxn ang="0">
                          <a:pos x="80" y="53"/>
                        </a:cxn>
                        <a:cxn ang="0">
                          <a:pos x="87" y="39"/>
                        </a:cxn>
                        <a:cxn ang="0">
                          <a:pos x="75" y="27"/>
                        </a:cxn>
                        <a:cxn ang="0">
                          <a:pos x="69" y="14"/>
                        </a:cxn>
                        <a:cxn ang="0">
                          <a:pos x="69" y="0"/>
                        </a:cxn>
                        <a:cxn ang="0">
                          <a:pos x="56" y="15"/>
                        </a:cxn>
                        <a:cxn ang="0">
                          <a:pos x="48" y="27"/>
                        </a:cxn>
                        <a:cxn ang="0">
                          <a:pos x="36" y="24"/>
                        </a:cxn>
                        <a:cxn ang="0">
                          <a:pos x="21" y="30"/>
                        </a:cxn>
                        <a:cxn ang="0">
                          <a:pos x="11" y="42"/>
                        </a:cxn>
                        <a:cxn ang="0">
                          <a:pos x="14" y="68"/>
                        </a:cxn>
                        <a:cxn ang="0">
                          <a:pos x="12" y="83"/>
                        </a:cxn>
                        <a:cxn ang="0">
                          <a:pos x="14" y="101"/>
                        </a:cxn>
                        <a:cxn ang="0">
                          <a:pos x="0" y="117"/>
                        </a:cxn>
                        <a:cxn ang="0">
                          <a:pos x="11" y="135"/>
                        </a:cxn>
                        <a:cxn ang="0">
                          <a:pos x="14" y="146"/>
                        </a:cxn>
                        <a:cxn ang="0">
                          <a:pos x="12" y="165"/>
                        </a:cxn>
                        <a:cxn ang="0">
                          <a:pos x="8" y="179"/>
                        </a:cxn>
                        <a:cxn ang="0">
                          <a:pos x="9" y="200"/>
                        </a:cxn>
                        <a:cxn ang="0">
                          <a:pos x="15" y="219"/>
                        </a:cxn>
                        <a:cxn ang="0">
                          <a:pos x="24" y="230"/>
                        </a:cxn>
                        <a:cxn ang="0">
                          <a:pos x="32" y="222"/>
                        </a:cxn>
                      </a:cxnLst>
                      <a:rect l="0" t="0" r="r" b="b"/>
                      <a:pathLst>
                        <a:path w="105" h="230">
                          <a:moveTo>
                            <a:pt x="32" y="222"/>
                          </a:moveTo>
                          <a:lnTo>
                            <a:pt x="51" y="209"/>
                          </a:lnTo>
                          <a:lnTo>
                            <a:pt x="71" y="216"/>
                          </a:lnTo>
                          <a:lnTo>
                            <a:pt x="68" y="203"/>
                          </a:lnTo>
                          <a:lnTo>
                            <a:pt x="60" y="188"/>
                          </a:lnTo>
                          <a:lnTo>
                            <a:pt x="89" y="168"/>
                          </a:lnTo>
                          <a:lnTo>
                            <a:pt x="98" y="155"/>
                          </a:lnTo>
                          <a:lnTo>
                            <a:pt x="105" y="141"/>
                          </a:lnTo>
                          <a:lnTo>
                            <a:pt x="96" y="131"/>
                          </a:lnTo>
                          <a:lnTo>
                            <a:pt x="83" y="108"/>
                          </a:lnTo>
                          <a:lnTo>
                            <a:pt x="96" y="93"/>
                          </a:lnTo>
                          <a:lnTo>
                            <a:pt x="86" y="84"/>
                          </a:lnTo>
                          <a:lnTo>
                            <a:pt x="98" y="72"/>
                          </a:lnTo>
                          <a:lnTo>
                            <a:pt x="80" y="53"/>
                          </a:lnTo>
                          <a:lnTo>
                            <a:pt x="87" y="39"/>
                          </a:lnTo>
                          <a:lnTo>
                            <a:pt x="75" y="27"/>
                          </a:lnTo>
                          <a:lnTo>
                            <a:pt x="69" y="14"/>
                          </a:lnTo>
                          <a:lnTo>
                            <a:pt x="69" y="0"/>
                          </a:lnTo>
                          <a:lnTo>
                            <a:pt x="56" y="15"/>
                          </a:lnTo>
                          <a:lnTo>
                            <a:pt x="48" y="27"/>
                          </a:lnTo>
                          <a:lnTo>
                            <a:pt x="36" y="24"/>
                          </a:lnTo>
                          <a:lnTo>
                            <a:pt x="21" y="30"/>
                          </a:lnTo>
                          <a:lnTo>
                            <a:pt x="11" y="42"/>
                          </a:lnTo>
                          <a:lnTo>
                            <a:pt x="14" y="68"/>
                          </a:lnTo>
                          <a:lnTo>
                            <a:pt x="12" y="83"/>
                          </a:lnTo>
                          <a:lnTo>
                            <a:pt x="14" y="101"/>
                          </a:lnTo>
                          <a:lnTo>
                            <a:pt x="0" y="117"/>
                          </a:lnTo>
                          <a:lnTo>
                            <a:pt x="11" y="135"/>
                          </a:lnTo>
                          <a:lnTo>
                            <a:pt x="14" y="146"/>
                          </a:lnTo>
                          <a:lnTo>
                            <a:pt x="12" y="165"/>
                          </a:lnTo>
                          <a:lnTo>
                            <a:pt x="8" y="179"/>
                          </a:lnTo>
                          <a:lnTo>
                            <a:pt x="9" y="200"/>
                          </a:lnTo>
                          <a:lnTo>
                            <a:pt x="15" y="219"/>
                          </a:lnTo>
                          <a:lnTo>
                            <a:pt x="24" y="230"/>
                          </a:lnTo>
                          <a:lnTo>
                            <a:pt x="32" y="222"/>
                          </a:ln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18" name="Freeform 8">
                      <a:extLst>
                        <a:ext uri="{FF2B5EF4-FFF2-40B4-BE49-F238E27FC236}">
                          <a16:creationId xmlns:a16="http://schemas.microsoft.com/office/drawing/2014/main" id="{C9CE5233-9C99-4B06-958B-17494CD7B619}"/>
                        </a:ext>
                      </a:extLst>
                    </p:cNvPr>
                    <p:cNvSpPr>
                      <a:spLocks noChangeAspect="1"/>
                    </p:cNvSpPr>
                    <p:nvPr/>
                  </p:nvSpPr>
                  <p:spPr bwMode="auto">
                    <a:xfrm>
                      <a:off x="7995" y="8442"/>
                      <a:ext cx="90" cy="261"/>
                    </a:xfrm>
                    <a:custGeom>
                      <a:avLst/>
                      <a:gdLst/>
                      <a:ahLst/>
                      <a:cxnLst>
                        <a:cxn ang="0">
                          <a:pos x="33" y="123"/>
                        </a:cxn>
                        <a:cxn ang="0">
                          <a:pos x="36" y="104"/>
                        </a:cxn>
                        <a:cxn ang="0">
                          <a:pos x="29" y="90"/>
                        </a:cxn>
                        <a:cxn ang="0">
                          <a:pos x="29" y="63"/>
                        </a:cxn>
                        <a:cxn ang="0">
                          <a:pos x="32" y="44"/>
                        </a:cxn>
                        <a:cxn ang="0">
                          <a:pos x="36" y="12"/>
                        </a:cxn>
                        <a:cxn ang="0">
                          <a:pos x="45" y="6"/>
                        </a:cxn>
                        <a:cxn ang="0">
                          <a:pos x="54" y="18"/>
                        </a:cxn>
                        <a:cxn ang="0">
                          <a:pos x="63" y="0"/>
                        </a:cxn>
                        <a:cxn ang="0">
                          <a:pos x="71" y="21"/>
                        </a:cxn>
                        <a:cxn ang="0">
                          <a:pos x="63" y="33"/>
                        </a:cxn>
                        <a:cxn ang="0">
                          <a:pos x="60" y="50"/>
                        </a:cxn>
                        <a:cxn ang="0">
                          <a:pos x="68" y="62"/>
                        </a:cxn>
                        <a:cxn ang="0">
                          <a:pos x="81" y="69"/>
                        </a:cxn>
                        <a:cxn ang="0">
                          <a:pos x="80" y="84"/>
                        </a:cxn>
                        <a:cxn ang="0">
                          <a:pos x="69" y="90"/>
                        </a:cxn>
                        <a:cxn ang="0">
                          <a:pos x="68" y="119"/>
                        </a:cxn>
                        <a:cxn ang="0">
                          <a:pos x="81" y="111"/>
                        </a:cxn>
                        <a:cxn ang="0">
                          <a:pos x="90" y="107"/>
                        </a:cxn>
                        <a:cxn ang="0">
                          <a:pos x="87" y="122"/>
                        </a:cxn>
                        <a:cxn ang="0">
                          <a:pos x="80" y="146"/>
                        </a:cxn>
                        <a:cxn ang="0">
                          <a:pos x="71" y="150"/>
                        </a:cxn>
                        <a:cxn ang="0">
                          <a:pos x="71" y="176"/>
                        </a:cxn>
                        <a:cxn ang="0">
                          <a:pos x="68" y="192"/>
                        </a:cxn>
                        <a:cxn ang="0">
                          <a:pos x="62" y="203"/>
                        </a:cxn>
                        <a:cxn ang="0">
                          <a:pos x="80" y="195"/>
                        </a:cxn>
                        <a:cxn ang="0">
                          <a:pos x="83" y="216"/>
                        </a:cxn>
                        <a:cxn ang="0">
                          <a:pos x="84" y="242"/>
                        </a:cxn>
                        <a:cxn ang="0">
                          <a:pos x="78" y="261"/>
                        </a:cxn>
                        <a:cxn ang="0">
                          <a:pos x="62" y="260"/>
                        </a:cxn>
                        <a:cxn ang="0">
                          <a:pos x="59" y="248"/>
                        </a:cxn>
                        <a:cxn ang="0">
                          <a:pos x="56" y="237"/>
                        </a:cxn>
                        <a:cxn ang="0">
                          <a:pos x="42" y="243"/>
                        </a:cxn>
                        <a:cxn ang="0">
                          <a:pos x="32" y="243"/>
                        </a:cxn>
                        <a:cxn ang="0">
                          <a:pos x="35" y="228"/>
                        </a:cxn>
                        <a:cxn ang="0">
                          <a:pos x="48" y="213"/>
                        </a:cxn>
                        <a:cxn ang="0">
                          <a:pos x="38" y="201"/>
                        </a:cxn>
                        <a:cxn ang="0">
                          <a:pos x="33" y="185"/>
                        </a:cxn>
                        <a:cxn ang="0">
                          <a:pos x="17" y="186"/>
                        </a:cxn>
                        <a:cxn ang="0">
                          <a:pos x="17" y="156"/>
                        </a:cxn>
                        <a:cxn ang="0">
                          <a:pos x="0" y="138"/>
                        </a:cxn>
                        <a:cxn ang="0">
                          <a:pos x="9" y="117"/>
                        </a:cxn>
                        <a:cxn ang="0">
                          <a:pos x="12" y="104"/>
                        </a:cxn>
                        <a:cxn ang="0">
                          <a:pos x="23" y="120"/>
                        </a:cxn>
                        <a:cxn ang="0">
                          <a:pos x="33" y="123"/>
                        </a:cxn>
                      </a:cxnLst>
                      <a:rect l="0" t="0" r="r" b="b"/>
                      <a:pathLst>
                        <a:path w="90" h="261">
                          <a:moveTo>
                            <a:pt x="33" y="123"/>
                          </a:moveTo>
                          <a:lnTo>
                            <a:pt x="36" y="104"/>
                          </a:lnTo>
                          <a:lnTo>
                            <a:pt x="29" y="90"/>
                          </a:lnTo>
                          <a:lnTo>
                            <a:pt x="29" y="63"/>
                          </a:lnTo>
                          <a:lnTo>
                            <a:pt x="32" y="44"/>
                          </a:lnTo>
                          <a:lnTo>
                            <a:pt x="36" y="12"/>
                          </a:lnTo>
                          <a:lnTo>
                            <a:pt x="45" y="6"/>
                          </a:lnTo>
                          <a:lnTo>
                            <a:pt x="54" y="18"/>
                          </a:lnTo>
                          <a:lnTo>
                            <a:pt x="63" y="0"/>
                          </a:lnTo>
                          <a:lnTo>
                            <a:pt x="71" y="21"/>
                          </a:lnTo>
                          <a:lnTo>
                            <a:pt x="63" y="33"/>
                          </a:lnTo>
                          <a:lnTo>
                            <a:pt x="60" y="50"/>
                          </a:lnTo>
                          <a:lnTo>
                            <a:pt x="68" y="62"/>
                          </a:lnTo>
                          <a:lnTo>
                            <a:pt x="81" y="69"/>
                          </a:lnTo>
                          <a:lnTo>
                            <a:pt x="80" y="84"/>
                          </a:lnTo>
                          <a:lnTo>
                            <a:pt x="69" y="90"/>
                          </a:lnTo>
                          <a:lnTo>
                            <a:pt x="68" y="119"/>
                          </a:lnTo>
                          <a:lnTo>
                            <a:pt x="81" y="111"/>
                          </a:lnTo>
                          <a:lnTo>
                            <a:pt x="90" y="107"/>
                          </a:lnTo>
                          <a:lnTo>
                            <a:pt x="87" y="122"/>
                          </a:lnTo>
                          <a:lnTo>
                            <a:pt x="80" y="146"/>
                          </a:lnTo>
                          <a:lnTo>
                            <a:pt x="71" y="150"/>
                          </a:lnTo>
                          <a:lnTo>
                            <a:pt x="71" y="176"/>
                          </a:lnTo>
                          <a:lnTo>
                            <a:pt x="68" y="192"/>
                          </a:lnTo>
                          <a:lnTo>
                            <a:pt x="62" y="203"/>
                          </a:lnTo>
                          <a:lnTo>
                            <a:pt x="80" y="195"/>
                          </a:lnTo>
                          <a:lnTo>
                            <a:pt x="83" y="216"/>
                          </a:lnTo>
                          <a:lnTo>
                            <a:pt x="84" y="242"/>
                          </a:lnTo>
                          <a:lnTo>
                            <a:pt x="78" y="261"/>
                          </a:lnTo>
                          <a:lnTo>
                            <a:pt x="62" y="260"/>
                          </a:lnTo>
                          <a:lnTo>
                            <a:pt x="59" y="248"/>
                          </a:lnTo>
                          <a:lnTo>
                            <a:pt x="56" y="237"/>
                          </a:lnTo>
                          <a:lnTo>
                            <a:pt x="42" y="243"/>
                          </a:lnTo>
                          <a:lnTo>
                            <a:pt x="32" y="243"/>
                          </a:lnTo>
                          <a:lnTo>
                            <a:pt x="35" y="228"/>
                          </a:lnTo>
                          <a:lnTo>
                            <a:pt x="48" y="213"/>
                          </a:lnTo>
                          <a:lnTo>
                            <a:pt x="38" y="201"/>
                          </a:lnTo>
                          <a:lnTo>
                            <a:pt x="33" y="185"/>
                          </a:lnTo>
                          <a:lnTo>
                            <a:pt x="17" y="186"/>
                          </a:lnTo>
                          <a:lnTo>
                            <a:pt x="17" y="156"/>
                          </a:lnTo>
                          <a:lnTo>
                            <a:pt x="0" y="138"/>
                          </a:lnTo>
                          <a:lnTo>
                            <a:pt x="9" y="117"/>
                          </a:lnTo>
                          <a:lnTo>
                            <a:pt x="12" y="104"/>
                          </a:lnTo>
                          <a:lnTo>
                            <a:pt x="23" y="120"/>
                          </a:lnTo>
                          <a:lnTo>
                            <a:pt x="33" y="123"/>
                          </a:ln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19" name="Freeform 9">
                      <a:extLst>
                        <a:ext uri="{FF2B5EF4-FFF2-40B4-BE49-F238E27FC236}">
                          <a16:creationId xmlns:a16="http://schemas.microsoft.com/office/drawing/2014/main" id="{281B46E5-ABC2-42FF-B377-B59F44F70C67}"/>
                        </a:ext>
                      </a:extLst>
                    </p:cNvPr>
                    <p:cNvSpPr>
                      <a:spLocks noChangeAspect="1"/>
                    </p:cNvSpPr>
                    <p:nvPr/>
                  </p:nvSpPr>
                  <p:spPr bwMode="auto">
                    <a:xfrm>
                      <a:off x="7977" y="8912"/>
                      <a:ext cx="81" cy="139"/>
                    </a:xfrm>
                    <a:custGeom>
                      <a:avLst/>
                      <a:gdLst/>
                      <a:ahLst/>
                      <a:cxnLst>
                        <a:cxn ang="0">
                          <a:pos x="59" y="139"/>
                        </a:cxn>
                        <a:cxn ang="0">
                          <a:pos x="75" y="117"/>
                        </a:cxn>
                        <a:cxn ang="0">
                          <a:pos x="65" y="105"/>
                        </a:cxn>
                        <a:cxn ang="0">
                          <a:pos x="66" y="93"/>
                        </a:cxn>
                        <a:cxn ang="0">
                          <a:pos x="78" y="82"/>
                        </a:cxn>
                        <a:cxn ang="0">
                          <a:pos x="81" y="63"/>
                        </a:cxn>
                        <a:cxn ang="0">
                          <a:pos x="77" y="37"/>
                        </a:cxn>
                        <a:cxn ang="0">
                          <a:pos x="62" y="21"/>
                        </a:cxn>
                        <a:cxn ang="0">
                          <a:pos x="53" y="0"/>
                        </a:cxn>
                        <a:cxn ang="0">
                          <a:pos x="42" y="4"/>
                        </a:cxn>
                        <a:cxn ang="0">
                          <a:pos x="23" y="19"/>
                        </a:cxn>
                        <a:cxn ang="0">
                          <a:pos x="20" y="37"/>
                        </a:cxn>
                        <a:cxn ang="0">
                          <a:pos x="9" y="45"/>
                        </a:cxn>
                        <a:cxn ang="0">
                          <a:pos x="0" y="52"/>
                        </a:cxn>
                        <a:cxn ang="0">
                          <a:pos x="6" y="64"/>
                        </a:cxn>
                        <a:cxn ang="0">
                          <a:pos x="17" y="87"/>
                        </a:cxn>
                        <a:cxn ang="0">
                          <a:pos x="23" y="100"/>
                        </a:cxn>
                        <a:cxn ang="0">
                          <a:pos x="11" y="111"/>
                        </a:cxn>
                        <a:cxn ang="0">
                          <a:pos x="8" y="121"/>
                        </a:cxn>
                        <a:cxn ang="0">
                          <a:pos x="9" y="136"/>
                        </a:cxn>
                        <a:cxn ang="0">
                          <a:pos x="24" y="136"/>
                        </a:cxn>
                        <a:cxn ang="0">
                          <a:pos x="36" y="129"/>
                        </a:cxn>
                        <a:cxn ang="0">
                          <a:pos x="59" y="139"/>
                        </a:cxn>
                      </a:cxnLst>
                      <a:rect l="0" t="0" r="r" b="b"/>
                      <a:pathLst>
                        <a:path w="81" h="139">
                          <a:moveTo>
                            <a:pt x="59" y="139"/>
                          </a:moveTo>
                          <a:lnTo>
                            <a:pt x="75" y="117"/>
                          </a:lnTo>
                          <a:lnTo>
                            <a:pt x="65" y="105"/>
                          </a:lnTo>
                          <a:lnTo>
                            <a:pt x="66" y="93"/>
                          </a:lnTo>
                          <a:lnTo>
                            <a:pt x="78" y="82"/>
                          </a:lnTo>
                          <a:lnTo>
                            <a:pt x="81" y="63"/>
                          </a:lnTo>
                          <a:lnTo>
                            <a:pt x="77" y="37"/>
                          </a:lnTo>
                          <a:lnTo>
                            <a:pt x="62" y="21"/>
                          </a:lnTo>
                          <a:lnTo>
                            <a:pt x="53" y="0"/>
                          </a:lnTo>
                          <a:lnTo>
                            <a:pt x="42" y="4"/>
                          </a:lnTo>
                          <a:lnTo>
                            <a:pt x="23" y="19"/>
                          </a:lnTo>
                          <a:lnTo>
                            <a:pt x="20" y="37"/>
                          </a:lnTo>
                          <a:lnTo>
                            <a:pt x="9" y="45"/>
                          </a:lnTo>
                          <a:lnTo>
                            <a:pt x="0" y="52"/>
                          </a:lnTo>
                          <a:lnTo>
                            <a:pt x="6" y="64"/>
                          </a:lnTo>
                          <a:lnTo>
                            <a:pt x="17" y="87"/>
                          </a:lnTo>
                          <a:lnTo>
                            <a:pt x="23" y="100"/>
                          </a:lnTo>
                          <a:lnTo>
                            <a:pt x="11" y="111"/>
                          </a:lnTo>
                          <a:lnTo>
                            <a:pt x="8" y="121"/>
                          </a:lnTo>
                          <a:lnTo>
                            <a:pt x="9" y="136"/>
                          </a:lnTo>
                          <a:lnTo>
                            <a:pt x="24" y="136"/>
                          </a:lnTo>
                          <a:lnTo>
                            <a:pt x="36" y="129"/>
                          </a:lnTo>
                          <a:lnTo>
                            <a:pt x="59" y="139"/>
                          </a:ln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20" name="Freeform 10">
                      <a:extLst>
                        <a:ext uri="{FF2B5EF4-FFF2-40B4-BE49-F238E27FC236}">
                          <a16:creationId xmlns:a16="http://schemas.microsoft.com/office/drawing/2014/main" id="{4F9AB60D-8DC5-4128-8D34-6719D0A23948}"/>
                        </a:ext>
                      </a:extLst>
                    </p:cNvPr>
                    <p:cNvSpPr>
                      <a:spLocks noChangeAspect="1"/>
                    </p:cNvSpPr>
                    <p:nvPr/>
                  </p:nvSpPr>
                  <p:spPr bwMode="auto">
                    <a:xfrm>
                      <a:off x="8549" y="10150"/>
                      <a:ext cx="112" cy="176"/>
                    </a:xfrm>
                    <a:custGeom>
                      <a:avLst/>
                      <a:gdLst/>
                      <a:ahLst/>
                      <a:cxnLst>
                        <a:cxn ang="0">
                          <a:pos x="82" y="176"/>
                        </a:cxn>
                        <a:cxn ang="0">
                          <a:pos x="91" y="158"/>
                        </a:cxn>
                        <a:cxn ang="0">
                          <a:pos x="108" y="158"/>
                        </a:cxn>
                        <a:cxn ang="0">
                          <a:pos x="103" y="135"/>
                        </a:cxn>
                        <a:cxn ang="0">
                          <a:pos x="93" y="125"/>
                        </a:cxn>
                        <a:cxn ang="0">
                          <a:pos x="99" y="113"/>
                        </a:cxn>
                        <a:cxn ang="0">
                          <a:pos x="103" y="102"/>
                        </a:cxn>
                        <a:cxn ang="0">
                          <a:pos x="99" y="87"/>
                        </a:cxn>
                        <a:cxn ang="0">
                          <a:pos x="112" y="77"/>
                        </a:cxn>
                        <a:cxn ang="0">
                          <a:pos x="100" y="66"/>
                        </a:cxn>
                        <a:cxn ang="0">
                          <a:pos x="87" y="54"/>
                        </a:cxn>
                        <a:cxn ang="0">
                          <a:pos x="72" y="44"/>
                        </a:cxn>
                        <a:cxn ang="0">
                          <a:pos x="76" y="32"/>
                        </a:cxn>
                        <a:cxn ang="0">
                          <a:pos x="79" y="17"/>
                        </a:cxn>
                        <a:cxn ang="0">
                          <a:pos x="55" y="0"/>
                        </a:cxn>
                        <a:cxn ang="0">
                          <a:pos x="48" y="14"/>
                        </a:cxn>
                        <a:cxn ang="0">
                          <a:pos x="28" y="21"/>
                        </a:cxn>
                        <a:cxn ang="0">
                          <a:pos x="10" y="26"/>
                        </a:cxn>
                        <a:cxn ang="0">
                          <a:pos x="1" y="41"/>
                        </a:cxn>
                        <a:cxn ang="0">
                          <a:pos x="0" y="60"/>
                        </a:cxn>
                        <a:cxn ang="0">
                          <a:pos x="3" y="74"/>
                        </a:cxn>
                        <a:cxn ang="0">
                          <a:pos x="0" y="90"/>
                        </a:cxn>
                        <a:cxn ang="0">
                          <a:pos x="9" y="95"/>
                        </a:cxn>
                        <a:cxn ang="0">
                          <a:pos x="25" y="96"/>
                        </a:cxn>
                        <a:cxn ang="0">
                          <a:pos x="36" y="105"/>
                        </a:cxn>
                        <a:cxn ang="0">
                          <a:pos x="34" y="117"/>
                        </a:cxn>
                        <a:cxn ang="0">
                          <a:pos x="54" y="123"/>
                        </a:cxn>
                        <a:cxn ang="0">
                          <a:pos x="60" y="146"/>
                        </a:cxn>
                        <a:cxn ang="0">
                          <a:pos x="69" y="173"/>
                        </a:cxn>
                        <a:cxn ang="0">
                          <a:pos x="82" y="176"/>
                        </a:cxn>
                      </a:cxnLst>
                      <a:rect l="0" t="0" r="r" b="b"/>
                      <a:pathLst>
                        <a:path w="112" h="176">
                          <a:moveTo>
                            <a:pt x="82" y="176"/>
                          </a:moveTo>
                          <a:lnTo>
                            <a:pt x="91" y="158"/>
                          </a:lnTo>
                          <a:lnTo>
                            <a:pt x="108" y="158"/>
                          </a:lnTo>
                          <a:lnTo>
                            <a:pt x="103" y="135"/>
                          </a:lnTo>
                          <a:lnTo>
                            <a:pt x="93" y="125"/>
                          </a:lnTo>
                          <a:lnTo>
                            <a:pt x="99" y="113"/>
                          </a:lnTo>
                          <a:lnTo>
                            <a:pt x="103" y="102"/>
                          </a:lnTo>
                          <a:lnTo>
                            <a:pt x="99" y="87"/>
                          </a:lnTo>
                          <a:lnTo>
                            <a:pt x="112" y="77"/>
                          </a:lnTo>
                          <a:lnTo>
                            <a:pt x="100" y="66"/>
                          </a:lnTo>
                          <a:lnTo>
                            <a:pt x="87" y="54"/>
                          </a:lnTo>
                          <a:lnTo>
                            <a:pt x="72" y="44"/>
                          </a:lnTo>
                          <a:lnTo>
                            <a:pt x="76" y="32"/>
                          </a:lnTo>
                          <a:lnTo>
                            <a:pt x="79" y="17"/>
                          </a:lnTo>
                          <a:lnTo>
                            <a:pt x="55" y="0"/>
                          </a:lnTo>
                          <a:lnTo>
                            <a:pt x="48" y="14"/>
                          </a:lnTo>
                          <a:lnTo>
                            <a:pt x="28" y="21"/>
                          </a:lnTo>
                          <a:lnTo>
                            <a:pt x="10" y="26"/>
                          </a:lnTo>
                          <a:lnTo>
                            <a:pt x="1" y="41"/>
                          </a:lnTo>
                          <a:lnTo>
                            <a:pt x="0" y="60"/>
                          </a:lnTo>
                          <a:lnTo>
                            <a:pt x="3" y="74"/>
                          </a:lnTo>
                          <a:lnTo>
                            <a:pt x="0" y="90"/>
                          </a:lnTo>
                          <a:lnTo>
                            <a:pt x="9" y="95"/>
                          </a:lnTo>
                          <a:lnTo>
                            <a:pt x="25" y="96"/>
                          </a:lnTo>
                          <a:lnTo>
                            <a:pt x="36" y="105"/>
                          </a:lnTo>
                          <a:lnTo>
                            <a:pt x="34" y="117"/>
                          </a:lnTo>
                          <a:lnTo>
                            <a:pt x="54" y="123"/>
                          </a:lnTo>
                          <a:lnTo>
                            <a:pt x="60" y="146"/>
                          </a:lnTo>
                          <a:lnTo>
                            <a:pt x="69" y="173"/>
                          </a:lnTo>
                          <a:lnTo>
                            <a:pt x="82" y="176"/>
                          </a:ln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21" name="Freeform 11">
                      <a:extLst>
                        <a:ext uri="{FF2B5EF4-FFF2-40B4-BE49-F238E27FC236}">
                          <a16:creationId xmlns:a16="http://schemas.microsoft.com/office/drawing/2014/main" id="{C9C58B00-3F92-40C2-8ED4-662E7C623F53}"/>
                        </a:ext>
                      </a:extLst>
                    </p:cNvPr>
                    <p:cNvSpPr>
                      <a:spLocks noChangeAspect="1"/>
                    </p:cNvSpPr>
                    <p:nvPr/>
                  </p:nvSpPr>
                  <p:spPr bwMode="auto">
                    <a:xfrm>
                      <a:off x="8095" y="7929"/>
                      <a:ext cx="37" cy="26"/>
                    </a:xfrm>
                    <a:custGeom>
                      <a:avLst/>
                      <a:gdLst/>
                      <a:ahLst/>
                      <a:cxnLst>
                        <a:cxn ang="0">
                          <a:pos x="28" y="24"/>
                        </a:cxn>
                        <a:cxn ang="0">
                          <a:pos x="16" y="9"/>
                        </a:cxn>
                        <a:cxn ang="0">
                          <a:pos x="4" y="5"/>
                        </a:cxn>
                        <a:cxn ang="0">
                          <a:pos x="13" y="21"/>
                        </a:cxn>
                        <a:cxn ang="0">
                          <a:pos x="28" y="24"/>
                        </a:cxn>
                      </a:cxnLst>
                      <a:rect l="0" t="0" r="r" b="b"/>
                      <a:pathLst>
                        <a:path w="37" h="26">
                          <a:moveTo>
                            <a:pt x="28" y="24"/>
                          </a:moveTo>
                          <a:cubicBezTo>
                            <a:pt x="37" y="12"/>
                            <a:pt x="26" y="11"/>
                            <a:pt x="16" y="9"/>
                          </a:cubicBezTo>
                          <a:cubicBezTo>
                            <a:pt x="12" y="4"/>
                            <a:pt x="10" y="0"/>
                            <a:pt x="4" y="5"/>
                          </a:cubicBezTo>
                          <a:cubicBezTo>
                            <a:pt x="0" y="13"/>
                            <a:pt x="5" y="19"/>
                            <a:pt x="13" y="21"/>
                          </a:cubicBezTo>
                          <a:cubicBezTo>
                            <a:pt x="20" y="26"/>
                            <a:pt x="15" y="24"/>
                            <a:pt x="28" y="24"/>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22" name="Freeform 12">
                      <a:extLst>
                        <a:ext uri="{FF2B5EF4-FFF2-40B4-BE49-F238E27FC236}">
                          <a16:creationId xmlns:a16="http://schemas.microsoft.com/office/drawing/2014/main" id="{FACA8E42-510B-4400-9B63-1276A77E5153}"/>
                        </a:ext>
                      </a:extLst>
                    </p:cNvPr>
                    <p:cNvSpPr>
                      <a:spLocks noChangeAspect="1"/>
                    </p:cNvSpPr>
                    <p:nvPr/>
                  </p:nvSpPr>
                  <p:spPr bwMode="auto">
                    <a:xfrm>
                      <a:off x="8136" y="8015"/>
                      <a:ext cx="16" cy="15"/>
                    </a:xfrm>
                    <a:custGeom>
                      <a:avLst/>
                      <a:gdLst/>
                      <a:ahLst/>
                      <a:cxnLst>
                        <a:cxn ang="0">
                          <a:pos x="11" y="12"/>
                        </a:cxn>
                        <a:cxn ang="0">
                          <a:pos x="5" y="3"/>
                        </a:cxn>
                        <a:cxn ang="0">
                          <a:pos x="11" y="12"/>
                        </a:cxn>
                      </a:cxnLst>
                      <a:rect l="0" t="0" r="r" b="b"/>
                      <a:pathLst>
                        <a:path w="16" h="15">
                          <a:moveTo>
                            <a:pt x="11" y="12"/>
                          </a:moveTo>
                          <a:cubicBezTo>
                            <a:pt x="16" y="4"/>
                            <a:pt x="15" y="0"/>
                            <a:pt x="5" y="3"/>
                          </a:cubicBezTo>
                          <a:cubicBezTo>
                            <a:pt x="0" y="10"/>
                            <a:pt x="3" y="15"/>
                            <a:pt x="11" y="12"/>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23" name="Freeform 13">
                      <a:extLst>
                        <a:ext uri="{FF2B5EF4-FFF2-40B4-BE49-F238E27FC236}">
                          <a16:creationId xmlns:a16="http://schemas.microsoft.com/office/drawing/2014/main" id="{053284E4-E7E3-46BD-B75F-20F0B5A0B035}"/>
                        </a:ext>
                      </a:extLst>
                    </p:cNvPr>
                    <p:cNvSpPr>
                      <a:spLocks noChangeAspect="1"/>
                    </p:cNvSpPr>
                    <p:nvPr/>
                  </p:nvSpPr>
                  <p:spPr bwMode="auto">
                    <a:xfrm>
                      <a:off x="8058" y="8417"/>
                      <a:ext cx="59" cy="81"/>
                    </a:xfrm>
                    <a:custGeom>
                      <a:avLst/>
                      <a:gdLst/>
                      <a:ahLst/>
                      <a:cxnLst>
                        <a:cxn ang="0">
                          <a:pos x="33" y="61"/>
                        </a:cxn>
                        <a:cxn ang="0">
                          <a:pos x="29" y="51"/>
                        </a:cxn>
                        <a:cxn ang="0">
                          <a:pos x="39" y="43"/>
                        </a:cxn>
                        <a:cxn ang="0">
                          <a:pos x="59" y="22"/>
                        </a:cxn>
                        <a:cxn ang="0">
                          <a:pos x="48" y="10"/>
                        </a:cxn>
                        <a:cxn ang="0">
                          <a:pos x="42" y="0"/>
                        </a:cxn>
                        <a:cxn ang="0">
                          <a:pos x="24" y="0"/>
                        </a:cxn>
                        <a:cxn ang="0">
                          <a:pos x="14" y="6"/>
                        </a:cxn>
                        <a:cxn ang="0">
                          <a:pos x="0" y="13"/>
                        </a:cxn>
                        <a:cxn ang="0">
                          <a:pos x="6" y="24"/>
                        </a:cxn>
                        <a:cxn ang="0">
                          <a:pos x="18" y="34"/>
                        </a:cxn>
                        <a:cxn ang="0">
                          <a:pos x="17" y="51"/>
                        </a:cxn>
                        <a:cxn ang="0">
                          <a:pos x="9" y="67"/>
                        </a:cxn>
                        <a:cxn ang="0">
                          <a:pos x="9" y="81"/>
                        </a:cxn>
                        <a:cxn ang="0">
                          <a:pos x="20" y="78"/>
                        </a:cxn>
                        <a:cxn ang="0">
                          <a:pos x="33" y="61"/>
                        </a:cxn>
                      </a:cxnLst>
                      <a:rect l="0" t="0" r="r" b="b"/>
                      <a:pathLst>
                        <a:path w="59" h="81">
                          <a:moveTo>
                            <a:pt x="33" y="61"/>
                          </a:moveTo>
                          <a:lnTo>
                            <a:pt x="29" y="51"/>
                          </a:lnTo>
                          <a:lnTo>
                            <a:pt x="39" y="43"/>
                          </a:lnTo>
                          <a:lnTo>
                            <a:pt x="59" y="22"/>
                          </a:lnTo>
                          <a:lnTo>
                            <a:pt x="48" y="10"/>
                          </a:lnTo>
                          <a:lnTo>
                            <a:pt x="42" y="0"/>
                          </a:lnTo>
                          <a:lnTo>
                            <a:pt x="24" y="0"/>
                          </a:lnTo>
                          <a:lnTo>
                            <a:pt x="14" y="6"/>
                          </a:lnTo>
                          <a:lnTo>
                            <a:pt x="0" y="13"/>
                          </a:lnTo>
                          <a:lnTo>
                            <a:pt x="6" y="24"/>
                          </a:lnTo>
                          <a:lnTo>
                            <a:pt x="18" y="34"/>
                          </a:lnTo>
                          <a:lnTo>
                            <a:pt x="17" y="51"/>
                          </a:lnTo>
                          <a:lnTo>
                            <a:pt x="9" y="67"/>
                          </a:lnTo>
                          <a:lnTo>
                            <a:pt x="9" y="81"/>
                          </a:lnTo>
                          <a:lnTo>
                            <a:pt x="20" y="78"/>
                          </a:lnTo>
                          <a:lnTo>
                            <a:pt x="33" y="61"/>
                          </a:ln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24" name="Freeform 14">
                      <a:extLst>
                        <a:ext uri="{FF2B5EF4-FFF2-40B4-BE49-F238E27FC236}">
                          <a16:creationId xmlns:a16="http://schemas.microsoft.com/office/drawing/2014/main" id="{6DA23B08-D5D6-41D7-90A7-CBA0F6795852}"/>
                        </a:ext>
                      </a:extLst>
                    </p:cNvPr>
                    <p:cNvSpPr>
                      <a:spLocks noChangeAspect="1"/>
                    </p:cNvSpPr>
                    <p:nvPr/>
                  </p:nvSpPr>
                  <p:spPr bwMode="auto">
                    <a:xfrm>
                      <a:off x="8007" y="8177"/>
                      <a:ext cx="29" cy="99"/>
                    </a:xfrm>
                    <a:custGeom>
                      <a:avLst/>
                      <a:gdLst/>
                      <a:ahLst/>
                      <a:cxnLst>
                        <a:cxn ang="0">
                          <a:pos x="3" y="81"/>
                        </a:cxn>
                        <a:cxn ang="0">
                          <a:pos x="2" y="69"/>
                        </a:cxn>
                        <a:cxn ang="0">
                          <a:pos x="2" y="55"/>
                        </a:cxn>
                        <a:cxn ang="0">
                          <a:pos x="0" y="18"/>
                        </a:cxn>
                        <a:cxn ang="0">
                          <a:pos x="6" y="10"/>
                        </a:cxn>
                        <a:cxn ang="0">
                          <a:pos x="17" y="0"/>
                        </a:cxn>
                        <a:cxn ang="0">
                          <a:pos x="23" y="9"/>
                        </a:cxn>
                        <a:cxn ang="0">
                          <a:pos x="23" y="30"/>
                        </a:cxn>
                        <a:cxn ang="0">
                          <a:pos x="26" y="63"/>
                        </a:cxn>
                        <a:cxn ang="0">
                          <a:pos x="29" y="81"/>
                        </a:cxn>
                        <a:cxn ang="0">
                          <a:pos x="24" y="99"/>
                        </a:cxn>
                        <a:cxn ang="0">
                          <a:pos x="18" y="78"/>
                        </a:cxn>
                        <a:cxn ang="0">
                          <a:pos x="3" y="81"/>
                        </a:cxn>
                      </a:cxnLst>
                      <a:rect l="0" t="0" r="r" b="b"/>
                      <a:pathLst>
                        <a:path w="29" h="99">
                          <a:moveTo>
                            <a:pt x="3" y="81"/>
                          </a:moveTo>
                          <a:lnTo>
                            <a:pt x="2" y="69"/>
                          </a:lnTo>
                          <a:lnTo>
                            <a:pt x="2" y="55"/>
                          </a:lnTo>
                          <a:lnTo>
                            <a:pt x="0" y="18"/>
                          </a:lnTo>
                          <a:lnTo>
                            <a:pt x="6" y="10"/>
                          </a:lnTo>
                          <a:lnTo>
                            <a:pt x="17" y="0"/>
                          </a:lnTo>
                          <a:lnTo>
                            <a:pt x="23" y="9"/>
                          </a:lnTo>
                          <a:lnTo>
                            <a:pt x="23" y="30"/>
                          </a:lnTo>
                          <a:lnTo>
                            <a:pt x="26" y="63"/>
                          </a:lnTo>
                          <a:lnTo>
                            <a:pt x="29" y="81"/>
                          </a:lnTo>
                          <a:lnTo>
                            <a:pt x="24" y="99"/>
                          </a:lnTo>
                          <a:lnTo>
                            <a:pt x="18" y="78"/>
                          </a:lnTo>
                          <a:lnTo>
                            <a:pt x="3" y="81"/>
                          </a:ln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25" name="Freeform 15">
                      <a:extLst>
                        <a:ext uri="{FF2B5EF4-FFF2-40B4-BE49-F238E27FC236}">
                          <a16:creationId xmlns:a16="http://schemas.microsoft.com/office/drawing/2014/main" id="{E89DB6F7-FA4C-46FA-AC29-2C78CF7E0A2F}"/>
                        </a:ext>
                      </a:extLst>
                    </p:cNvPr>
                    <p:cNvSpPr>
                      <a:spLocks noChangeAspect="1"/>
                    </p:cNvSpPr>
                    <p:nvPr/>
                  </p:nvSpPr>
                  <p:spPr bwMode="auto">
                    <a:xfrm>
                      <a:off x="8132" y="8462"/>
                      <a:ext cx="54" cy="90"/>
                    </a:xfrm>
                    <a:custGeom>
                      <a:avLst/>
                      <a:gdLst/>
                      <a:ahLst/>
                      <a:cxnLst>
                        <a:cxn ang="0">
                          <a:pos x="43" y="90"/>
                        </a:cxn>
                        <a:cxn ang="0">
                          <a:pos x="54" y="81"/>
                        </a:cxn>
                        <a:cxn ang="0">
                          <a:pos x="39" y="66"/>
                        </a:cxn>
                        <a:cxn ang="0">
                          <a:pos x="25" y="48"/>
                        </a:cxn>
                        <a:cxn ang="0">
                          <a:pos x="42" y="39"/>
                        </a:cxn>
                        <a:cxn ang="0">
                          <a:pos x="37" y="24"/>
                        </a:cxn>
                        <a:cxn ang="0">
                          <a:pos x="28" y="18"/>
                        </a:cxn>
                        <a:cxn ang="0">
                          <a:pos x="27" y="0"/>
                        </a:cxn>
                        <a:cxn ang="0">
                          <a:pos x="15" y="3"/>
                        </a:cxn>
                        <a:cxn ang="0">
                          <a:pos x="9" y="13"/>
                        </a:cxn>
                        <a:cxn ang="0">
                          <a:pos x="0" y="19"/>
                        </a:cxn>
                        <a:cxn ang="0">
                          <a:pos x="9" y="30"/>
                        </a:cxn>
                        <a:cxn ang="0">
                          <a:pos x="15" y="43"/>
                        </a:cxn>
                        <a:cxn ang="0">
                          <a:pos x="6" y="60"/>
                        </a:cxn>
                        <a:cxn ang="0">
                          <a:pos x="27" y="82"/>
                        </a:cxn>
                        <a:cxn ang="0">
                          <a:pos x="43" y="90"/>
                        </a:cxn>
                      </a:cxnLst>
                      <a:rect l="0" t="0" r="r" b="b"/>
                      <a:pathLst>
                        <a:path w="54" h="90">
                          <a:moveTo>
                            <a:pt x="43" y="90"/>
                          </a:moveTo>
                          <a:lnTo>
                            <a:pt x="54" y="81"/>
                          </a:lnTo>
                          <a:lnTo>
                            <a:pt x="39" y="66"/>
                          </a:lnTo>
                          <a:lnTo>
                            <a:pt x="25" y="48"/>
                          </a:lnTo>
                          <a:lnTo>
                            <a:pt x="42" y="39"/>
                          </a:lnTo>
                          <a:lnTo>
                            <a:pt x="37" y="24"/>
                          </a:lnTo>
                          <a:lnTo>
                            <a:pt x="28" y="18"/>
                          </a:lnTo>
                          <a:lnTo>
                            <a:pt x="27" y="0"/>
                          </a:lnTo>
                          <a:lnTo>
                            <a:pt x="15" y="3"/>
                          </a:lnTo>
                          <a:lnTo>
                            <a:pt x="9" y="13"/>
                          </a:lnTo>
                          <a:lnTo>
                            <a:pt x="0" y="19"/>
                          </a:lnTo>
                          <a:lnTo>
                            <a:pt x="9" y="30"/>
                          </a:lnTo>
                          <a:lnTo>
                            <a:pt x="15" y="43"/>
                          </a:lnTo>
                          <a:lnTo>
                            <a:pt x="6" y="60"/>
                          </a:lnTo>
                          <a:lnTo>
                            <a:pt x="27" y="82"/>
                          </a:lnTo>
                          <a:lnTo>
                            <a:pt x="43" y="90"/>
                          </a:ln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26" name="Freeform 16">
                      <a:extLst>
                        <a:ext uri="{FF2B5EF4-FFF2-40B4-BE49-F238E27FC236}">
                          <a16:creationId xmlns:a16="http://schemas.microsoft.com/office/drawing/2014/main" id="{E3675A36-0A50-498A-851B-62E50F816340}"/>
                        </a:ext>
                      </a:extLst>
                    </p:cNvPr>
                    <p:cNvSpPr>
                      <a:spLocks noChangeAspect="1"/>
                    </p:cNvSpPr>
                    <p:nvPr/>
                  </p:nvSpPr>
                  <p:spPr bwMode="auto">
                    <a:xfrm>
                      <a:off x="8027" y="8706"/>
                      <a:ext cx="46" cy="54"/>
                    </a:xfrm>
                    <a:custGeom>
                      <a:avLst/>
                      <a:gdLst/>
                      <a:ahLst/>
                      <a:cxnLst>
                        <a:cxn ang="0">
                          <a:pos x="4" y="54"/>
                        </a:cxn>
                        <a:cxn ang="0">
                          <a:pos x="13" y="50"/>
                        </a:cxn>
                        <a:cxn ang="0">
                          <a:pos x="34" y="53"/>
                        </a:cxn>
                        <a:cxn ang="0">
                          <a:pos x="46" y="44"/>
                        </a:cxn>
                        <a:cxn ang="0">
                          <a:pos x="28" y="32"/>
                        </a:cxn>
                        <a:cxn ang="0">
                          <a:pos x="36" y="18"/>
                        </a:cxn>
                        <a:cxn ang="0">
                          <a:pos x="33" y="6"/>
                        </a:cxn>
                        <a:cxn ang="0">
                          <a:pos x="13" y="0"/>
                        </a:cxn>
                        <a:cxn ang="0">
                          <a:pos x="7" y="8"/>
                        </a:cxn>
                        <a:cxn ang="0">
                          <a:pos x="7" y="24"/>
                        </a:cxn>
                        <a:cxn ang="0">
                          <a:pos x="12" y="38"/>
                        </a:cxn>
                        <a:cxn ang="0">
                          <a:pos x="0" y="44"/>
                        </a:cxn>
                        <a:cxn ang="0">
                          <a:pos x="4" y="54"/>
                        </a:cxn>
                      </a:cxnLst>
                      <a:rect l="0" t="0" r="r" b="b"/>
                      <a:pathLst>
                        <a:path w="46" h="54">
                          <a:moveTo>
                            <a:pt x="4" y="54"/>
                          </a:moveTo>
                          <a:lnTo>
                            <a:pt x="13" y="50"/>
                          </a:lnTo>
                          <a:lnTo>
                            <a:pt x="34" y="53"/>
                          </a:lnTo>
                          <a:lnTo>
                            <a:pt x="46" y="44"/>
                          </a:lnTo>
                          <a:lnTo>
                            <a:pt x="28" y="32"/>
                          </a:lnTo>
                          <a:lnTo>
                            <a:pt x="36" y="18"/>
                          </a:lnTo>
                          <a:lnTo>
                            <a:pt x="33" y="6"/>
                          </a:lnTo>
                          <a:lnTo>
                            <a:pt x="13" y="0"/>
                          </a:lnTo>
                          <a:lnTo>
                            <a:pt x="7" y="8"/>
                          </a:lnTo>
                          <a:lnTo>
                            <a:pt x="7" y="24"/>
                          </a:lnTo>
                          <a:lnTo>
                            <a:pt x="12" y="38"/>
                          </a:lnTo>
                          <a:lnTo>
                            <a:pt x="0" y="44"/>
                          </a:lnTo>
                          <a:lnTo>
                            <a:pt x="4" y="54"/>
                          </a:ln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27" name="Freeform 17">
                      <a:extLst>
                        <a:ext uri="{FF2B5EF4-FFF2-40B4-BE49-F238E27FC236}">
                          <a16:creationId xmlns:a16="http://schemas.microsoft.com/office/drawing/2014/main" id="{4BBECFDE-1343-4197-97C3-79E937BAD585}"/>
                        </a:ext>
                      </a:extLst>
                    </p:cNvPr>
                    <p:cNvSpPr>
                      <a:spLocks noChangeAspect="1"/>
                    </p:cNvSpPr>
                    <p:nvPr/>
                  </p:nvSpPr>
                  <p:spPr bwMode="auto">
                    <a:xfrm>
                      <a:off x="8522" y="10075"/>
                      <a:ext cx="49" cy="78"/>
                    </a:xfrm>
                    <a:custGeom>
                      <a:avLst/>
                      <a:gdLst/>
                      <a:ahLst/>
                      <a:cxnLst>
                        <a:cxn ang="0">
                          <a:pos x="18" y="78"/>
                        </a:cxn>
                        <a:cxn ang="0">
                          <a:pos x="7" y="71"/>
                        </a:cxn>
                        <a:cxn ang="0">
                          <a:pos x="7" y="50"/>
                        </a:cxn>
                        <a:cxn ang="0">
                          <a:pos x="0" y="36"/>
                        </a:cxn>
                        <a:cxn ang="0">
                          <a:pos x="6" y="24"/>
                        </a:cxn>
                        <a:cxn ang="0">
                          <a:pos x="19" y="27"/>
                        </a:cxn>
                        <a:cxn ang="0">
                          <a:pos x="25" y="11"/>
                        </a:cxn>
                        <a:cxn ang="0">
                          <a:pos x="28" y="0"/>
                        </a:cxn>
                        <a:cxn ang="0">
                          <a:pos x="39" y="11"/>
                        </a:cxn>
                        <a:cxn ang="0">
                          <a:pos x="49" y="26"/>
                        </a:cxn>
                        <a:cxn ang="0">
                          <a:pos x="49" y="38"/>
                        </a:cxn>
                        <a:cxn ang="0">
                          <a:pos x="34" y="48"/>
                        </a:cxn>
                        <a:cxn ang="0">
                          <a:pos x="27" y="59"/>
                        </a:cxn>
                        <a:cxn ang="0">
                          <a:pos x="18" y="78"/>
                        </a:cxn>
                      </a:cxnLst>
                      <a:rect l="0" t="0" r="r" b="b"/>
                      <a:pathLst>
                        <a:path w="49" h="78">
                          <a:moveTo>
                            <a:pt x="18" y="78"/>
                          </a:moveTo>
                          <a:lnTo>
                            <a:pt x="7" y="71"/>
                          </a:lnTo>
                          <a:lnTo>
                            <a:pt x="7" y="50"/>
                          </a:lnTo>
                          <a:lnTo>
                            <a:pt x="0" y="36"/>
                          </a:lnTo>
                          <a:lnTo>
                            <a:pt x="6" y="24"/>
                          </a:lnTo>
                          <a:lnTo>
                            <a:pt x="19" y="27"/>
                          </a:lnTo>
                          <a:lnTo>
                            <a:pt x="25" y="11"/>
                          </a:lnTo>
                          <a:lnTo>
                            <a:pt x="28" y="0"/>
                          </a:lnTo>
                          <a:lnTo>
                            <a:pt x="39" y="11"/>
                          </a:lnTo>
                          <a:lnTo>
                            <a:pt x="49" y="26"/>
                          </a:lnTo>
                          <a:lnTo>
                            <a:pt x="49" y="38"/>
                          </a:lnTo>
                          <a:lnTo>
                            <a:pt x="34" y="48"/>
                          </a:lnTo>
                          <a:lnTo>
                            <a:pt x="27" y="59"/>
                          </a:lnTo>
                          <a:lnTo>
                            <a:pt x="18" y="78"/>
                          </a:ln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28" name="Freeform 18">
                      <a:extLst>
                        <a:ext uri="{FF2B5EF4-FFF2-40B4-BE49-F238E27FC236}">
                          <a16:creationId xmlns:a16="http://schemas.microsoft.com/office/drawing/2014/main" id="{BF929DE6-8C2D-4ED8-942C-C456D669B261}"/>
                        </a:ext>
                      </a:extLst>
                    </p:cNvPr>
                    <p:cNvSpPr>
                      <a:spLocks noChangeAspect="1"/>
                    </p:cNvSpPr>
                    <p:nvPr/>
                  </p:nvSpPr>
                  <p:spPr bwMode="auto">
                    <a:xfrm>
                      <a:off x="8391" y="9888"/>
                      <a:ext cx="59" cy="60"/>
                    </a:xfrm>
                    <a:custGeom>
                      <a:avLst/>
                      <a:gdLst/>
                      <a:ahLst/>
                      <a:cxnLst>
                        <a:cxn ang="0">
                          <a:pos x="41" y="48"/>
                        </a:cxn>
                        <a:cxn ang="0">
                          <a:pos x="26" y="54"/>
                        </a:cxn>
                        <a:cxn ang="0">
                          <a:pos x="15" y="60"/>
                        </a:cxn>
                        <a:cxn ang="0">
                          <a:pos x="15" y="42"/>
                        </a:cxn>
                        <a:cxn ang="0">
                          <a:pos x="0" y="30"/>
                        </a:cxn>
                        <a:cxn ang="0">
                          <a:pos x="6" y="16"/>
                        </a:cxn>
                        <a:cxn ang="0">
                          <a:pos x="18" y="9"/>
                        </a:cxn>
                        <a:cxn ang="0">
                          <a:pos x="29" y="0"/>
                        </a:cxn>
                        <a:cxn ang="0">
                          <a:pos x="30" y="15"/>
                        </a:cxn>
                        <a:cxn ang="0">
                          <a:pos x="33" y="27"/>
                        </a:cxn>
                        <a:cxn ang="0">
                          <a:pos x="48" y="31"/>
                        </a:cxn>
                        <a:cxn ang="0">
                          <a:pos x="59" y="40"/>
                        </a:cxn>
                        <a:cxn ang="0">
                          <a:pos x="59" y="55"/>
                        </a:cxn>
                        <a:cxn ang="0">
                          <a:pos x="41" y="48"/>
                        </a:cxn>
                      </a:cxnLst>
                      <a:rect l="0" t="0" r="r" b="b"/>
                      <a:pathLst>
                        <a:path w="59" h="60">
                          <a:moveTo>
                            <a:pt x="41" y="48"/>
                          </a:moveTo>
                          <a:lnTo>
                            <a:pt x="26" y="54"/>
                          </a:lnTo>
                          <a:lnTo>
                            <a:pt x="15" y="60"/>
                          </a:lnTo>
                          <a:lnTo>
                            <a:pt x="15" y="42"/>
                          </a:lnTo>
                          <a:lnTo>
                            <a:pt x="0" y="30"/>
                          </a:lnTo>
                          <a:lnTo>
                            <a:pt x="6" y="16"/>
                          </a:lnTo>
                          <a:lnTo>
                            <a:pt x="18" y="9"/>
                          </a:lnTo>
                          <a:lnTo>
                            <a:pt x="29" y="0"/>
                          </a:lnTo>
                          <a:lnTo>
                            <a:pt x="30" y="15"/>
                          </a:lnTo>
                          <a:lnTo>
                            <a:pt x="33" y="27"/>
                          </a:lnTo>
                          <a:lnTo>
                            <a:pt x="48" y="31"/>
                          </a:lnTo>
                          <a:lnTo>
                            <a:pt x="59" y="40"/>
                          </a:lnTo>
                          <a:lnTo>
                            <a:pt x="59" y="55"/>
                          </a:lnTo>
                          <a:lnTo>
                            <a:pt x="41" y="48"/>
                          </a:ln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29" name="Freeform 19">
                      <a:extLst>
                        <a:ext uri="{FF2B5EF4-FFF2-40B4-BE49-F238E27FC236}">
                          <a16:creationId xmlns:a16="http://schemas.microsoft.com/office/drawing/2014/main" id="{49DC633C-5163-4B4A-B339-FD4CA8DC6470}"/>
                        </a:ext>
                      </a:extLst>
                    </p:cNvPr>
                    <p:cNvSpPr>
                      <a:spLocks noChangeAspect="1"/>
                    </p:cNvSpPr>
                    <p:nvPr/>
                  </p:nvSpPr>
                  <p:spPr bwMode="auto">
                    <a:xfrm>
                      <a:off x="8433" y="9805"/>
                      <a:ext cx="54" cy="120"/>
                    </a:xfrm>
                    <a:custGeom>
                      <a:avLst/>
                      <a:gdLst/>
                      <a:ahLst/>
                      <a:cxnLst>
                        <a:cxn ang="0">
                          <a:pos x="0" y="29"/>
                        </a:cxn>
                        <a:cxn ang="0">
                          <a:pos x="15" y="60"/>
                        </a:cxn>
                        <a:cxn ang="0">
                          <a:pos x="21" y="74"/>
                        </a:cxn>
                        <a:cxn ang="0">
                          <a:pos x="18" y="95"/>
                        </a:cxn>
                        <a:cxn ang="0">
                          <a:pos x="36" y="108"/>
                        </a:cxn>
                        <a:cxn ang="0">
                          <a:pos x="51" y="120"/>
                        </a:cxn>
                        <a:cxn ang="0">
                          <a:pos x="54" y="96"/>
                        </a:cxn>
                        <a:cxn ang="0">
                          <a:pos x="51" y="83"/>
                        </a:cxn>
                        <a:cxn ang="0">
                          <a:pos x="38" y="95"/>
                        </a:cxn>
                        <a:cxn ang="0">
                          <a:pos x="30" y="83"/>
                        </a:cxn>
                        <a:cxn ang="0">
                          <a:pos x="41" y="74"/>
                        </a:cxn>
                        <a:cxn ang="0">
                          <a:pos x="36" y="56"/>
                        </a:cxn>
                        <a:cxn ang="0">
                          <a:pos x="23" y="44"/>
                        </a:cxn>
                        <a:cxn ang="0">
                          <a:pos x="23" y="33"/>
                        </a:cxn>
                        <a:cxn ang="0">
                          <a:pos x="35" y="27"/>
                        </a:cxn>
                        <a:cxn ang="0">
                          <a:pos x="36" y="14"/>
                        </a:cxn>
                        <a:cxn ang="0">
                          <a:pos x="29" y="0"/>
                        </a:cxn>
                        <a:cxn ang="0">
                          <a:pos x="20" y="5"/>
                        </a:cxn>
                        <a:cxn ang="0">
                          <a:pos x="20" y="20"/>
                        </a:cxn>
                        <a:cxn ang="0">
                          <a:pos x="0" y="29"/>
                        </a:cxn>
                      </a:cxnLst>
                      <a:rect l="0" t="0" r="r" b="b"/>
                      <a:pathLst>
                        <a:path w="54" h="120">
                          <a:moveTo>
                            <a:pt x="0" y="29"/>
                          </a:moveTo>
                          <a:lnTo>
                            <a:pt x="15" y="60"/>
                          </a:lnTo>
                          <a:lnTo>
                            <a:pt x="21" y="74"/>
                          </a:lnTo>
                          <a:lnTo>
                            <a:pt x="18" y="95"/>
                          </a:lnTo>
                          <a:lnTo>
                            <a:pt x="36" y="108"/>
                          </a:lnTo>
                          <a:lnTo>
                            <a:pt x="51" y="120"/>
                          </a:lnTo>
                          <a:lnTo>
                            <a:pt x="54" y="96"/>
                          </a:lnTo>
                          <a:lnTo>
                            <a:pt x="51" y="83"/>
                          </a:lnTo>
                          <a:lnTo>
                            <a:pt x="38" y="95"/>
                          </a:lnTo>
                          <a:lnTo>
                            <a:pt x="30" y="83"/>
                          </a:lnTo>
                          <a:lnTo>
                            <a:pt x="41" y="74"/>
                          </a:lnTo>
                          <a:lnTo>
                            <a:pt x="36" y="56"/>
                          </a:lnTo>
                          <a:lnTo>
                            <a:pt x="23" y="44"/>
                          </a:lnTo>
                          <a:lnTo>
                            <a:pt x="23" y="33"/>
                          </a:lnTo>
                          <a:lnTo>
                            <a:pt x="35" y="27"/>
                          </a:lnTo>
                          <a:lnTo>
                            <a:pt x="36" y="14"/>
                          </a:lnTo>
                          <a:lnTo>
                            <a:pt x="29" y="0"/>
                          </a:lnTo>
                          <a:lnTo>
                            <a:pt x="20" y="5"/>
                          </a:lnTo>
                          <a:lnTo>
                            <a:pt x="20" y="20"/>
                          </a:lnTo>
                          <a:lnTo>
                            <a:pt x="0" y="29"/>
                          </a:ln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30" name="Freeform 20">
                      <a:extLst>
                        <a:ext uri="{FF2B5EF4-FFF2-40B4-BE49-F238E27FC236}">
                          <a16:creationId xmlns:a16="http://schemas.microsoft.com/office/drawing/2014/main" id="{8725327C-E1E0-4B5A-869D-1632C52B71CB}"/>
                        </a:ext>
                      </a:extLst>
                    </p:cNvPr>
                    <p:cNvSpPr>
                      <a:spLocks noChangeAspect="1"/>
                    </p:cNvSpPr>
                    <p:nvPr/>
                  </p:nvSpPr>
                  <p:spPr bwMode="auto">
                    <a:xfrm>
                      <a:off x="8147" y="9486"/>
                      <a:ext cx="46" cy="48"/>
                    </a:xfrm>
                    <a:custGeom>
                      <a:avLst/>
                      <a:gdLst/>
                      <a:ahLst/>
                      <a:cxnLst>
                        <a:cxn ang="0">
                          <a:pos x="40" y="39"/>
                        </a:cxn>
                        <a:cxn ang="0">
                          <a:pos x="46" y="25"/>
                        </a:cxn>
                        <a:cxn ang="0">
                          <a:pos x="37" y="10"/>
                        </a:cxn>
                        <a:cxn ang="0">
                          <a:pos x="25" y="0"/>
                        </a:cxn>
                        <a:cxn ang="0">
                          <a:pos x="6" y="13"/>
                        </a:cxn>
                        <a:cxn ang="0">
                          <a:pos x="21" y="43"/>
                        </a:cxn>
                        <a:cxn ang="0">
                          <a:pos x="40" y="39"/>
                        </a:cxn>
                      </a:cxnLst>
                      <a:rect l="0" t="0" r="r" b="b"/>
                      <a:pathLst>
                        <a:path w="46" h="48">
                          <a:moveTo>
                            <a:pt x="40" y="39"/>
                          </a:moveTo>
                          <a:cubicBezTo>
                            <a:pt x="43" y="34"/>
                            <a:pt x="45" y="31"/>
                            <a:pt x="46" y="25"/>
                          </a:cubicBezTo>
                          <a:cubicBezTo>
                            <a:pt x="45" y="16"/>
                            <a:pt x="45" y="13"/>
                            <a:pt x="37" y="10"/>
                          </a:cubicBezTo>
                          <a:cubicBezTo>
                            <a:pt x="33" y="4"/>
                            <a:pt x="33" y="1"/>
                            <a:pt x="25" y="0"/>
                          </a:cubicBezTo>
                          <a:cubicBezTo>
                            <a:pt x="12" y="10"/>
                            <a:pt x="28" y="11"/>
                            <a:pt x="6" y="13"/>
                          </a:cubicBezTo>
                          <a:cubicBezTo>
                            <a:pt x="0" y="28"/>
                            <a:pt x="6" y="41"/>
                            <a:pt x="21" y="43"/>
                          </a:cubicBezTo>
                          <a:cubicBezTo>
                            <a:pt x="43" y="42"/>
                            <a:pt x="46" y="48"/>
                            <a:pt x="40" y="39"/>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31" name="Freeform 21">
                      <a:extLst>
                        <a:ext uri="{FF2B5EF4-FFF2-40B4-BE49-F238E27FC236}">
                          <a16:creationId xmlns:a16="http://schemas.microsoft.com/office/drawing/2014/main" id="{DA31DE5E-8E9C-48A0-87DE-18465D99C488}"/>
                        </a:ext>
                      </a:extLst>
                    </p:cNvPr>
                    <p:cNvSpPr>
                      <a:spLocks noChangeAspect="1"/>
                    </p:cNvSpPr>
                    <p:nvPr/>
                  </p:nvSpPr>
                  <p:spPr bwMode="auto">
                    <a:xfrm>
                      <a:off x="8470" y="9684"/>
                      <a:ext cx="29" cy="57"/>
                    </a:xfrm>
                    <a:custGeom>
                      <a:avLst/>
                      <a:gdLst/>
                      <a:ahLst/>
                      <a:cxnLst>
                        <a:cxn ang="0">
                          <a:pos x="29" y="52"/>
                        </a:cxn>
                        <a:cxn ang="0">
                          <a:pos x="13" y="0"/>
                        </a:cxn>
                        <a:cxn ang="0">
                          <a:pos x="17" y="22"/>
                        </a:cxn>
                        <a:cxn ang="0">
                          <a:pos x="22" y="57"/>
                        </a:cxn>
                        <a:cxn ang="0">
                          <a:pos x="29" y="52"/>
                        </a:cxn>
                      </a:cxnLst>
                      <a:rect l="0" t="0" r="r" b="b"/>
                      <a:pathLst>
                        <a:path w="29" h="57">
                          <a:moveTo>
                            <a:pt x="29" y="52"/>
                          </a:moveTo>
                          <a:cubicBezTo>
                            <a:pt x="28" y="34"/>
                            <a:pt x="29" y="12"/>
                            <a:pt x="13" y="0"/>
                          </a:cubicBezTo>
                          <a:cubicBezTo>
                            <a:pt x="0" y="3"/>
                            <a:pt x="11" y="17"/>
                            <a:pt x="17" y="22"/>
                          </a:cubicBezTo>
                          <a:cubicBezTo>
                            <a:pt x="22" y="33"/>
                            <a:pt x="17" y="46"/>
                            <a:pt x="22" y="57"/>
                          </a:cubicBezTo>
                          <a:cubicBezTo>
                            <a:pt x="29" y="55"/>
                            <a:pt x="27" y="57"/>
                            <a:pt x="29" y="52"/>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32" name="Freeform 22">
                      <a:extLst>
                        <a:ext uri="{FF2B5EF4-FFF2-40B4-BE49-F238E27FC236}">
                          <a16:creationId xmlns:a16="http://schemas.microsoft.com/office/drawing/2014/main" id="{65663B2B-5436-4F30-9CFF-E23B176A4C4B}"/>
                        </a:ext>
                      </a:extLst>
                    </p:cNvPr>
                    <p:cNvSpPr>
                      <a:spLocks noChangeAspect="1"/>
                    </p:cNvSpPr>
                    <p:nvPr/>
                  </p:nvSpPr>
                  <p:spPr bwMode="auto">
                    <a:xfrm>
                      <a:off x="8347" y="9817"/>
                      <a:ext cx="29" cy="20"/>
                    </a:xfrm>
                    <a:custGeom>
                      <a:avLst/>
                      <a:gdLst/>
                      <a:ahLst/>
                      <a:cxnLst>
                        <a:cxn ang="0">
                          <a:pos x="4" y="8"/>
                        </a:cxn>
                        <a:cxn ang="0">
                          <a:pos x="5" y="14"/>
                        </a:cxn>
                        <a:cxn ang="0">
                          <a:pos x="8" y="0"/>
                        </a:cxn>
                        <a:cxn ang="0">
                          <a:pos x="4" y="8"/>
                        </a:cxn>
                      </a:cxnLst>
                      <a:rect l="0" t="0" r="r" b="b"/>
                      <a:pathLst>
                        <a:path w="29" h="20">
                          <a:moveTo>
                            <a:pt x="4" y="8"/>
                          </a:moveTo>
                          <a:cubicBezTo>
                            <a:pt x="4" y="10"/>
                            <a:pt x="3" y="13"/>
                            <a:pt x="5" y="14"/>
                          </a:cubicBezTo>
                          <a:cubicBezTo>
                            <a:pt x="29" y="20"/>
                            <a:pt x="17" y="4"/>
                            <a:pt x="8" y="0"/>
                          </a:cubicBezTo>
                          <a:cubicBezTo>
                            <a:pt x="0" y="4"/>
                            <a:pt x="7" y="16"/>
                            <a:pt x="4" y="8"/>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33" name="Freeform 23">
                      <a:extLst>
                        <a:ext uri="{FF2B5EF4-FFF2-40B4-BE49-F238E27FC236}">
                          <a16:creationId xmlns:a16="http://schemas.microsoft.com/office/drawing/2014/main" id="{390FCFC5-7F3B-4BD8-89E0-DE1892543A7C}"/>
                        </a:ext>
                      </a:extLst>
                    </p:cNvPr>
                    <p:cNvSpPr>
                      <a:spLocks noChangeAspect="1"/>
                    </p:cNvSpPr>
                    <p:nvPr/>
                  </p:nvSpPr>
                  <p:spPr bwMode="auto">
                    <a:xfrm>
                      <a:off x="8207" y="9611"/>
                      <a:ext cx="20" cy="27"/>
                    </a:xfrm>
                    <a:custGeom>
                      <a:avLst/>
                      <a:gdLst/>
                      <a:ahLst/>
                      <a:cxnLst>
                        <a:cxn ang="0">
                          <a:pos x="12" y="17"/>
                        </a:cxn>
                        <a:cxn ang="0">
                          <a:pos x="16" y="14"/>
                        </a:cxn>
                        <a:cxn ang="0">
                          <a:pos x="1" y="7"/>
                        </a:cxn>
                        <a:cxn ang="0">
                          <a:pos x="12" y="17"/>
                        </a:cxn>
                      </a:cxnLst>
                      <a:rect l="0" t="0" r="r" b="b"/>
                      <a:pathLst>
                        <a:path w="20" h="27">
                          <a:moveTo>
                            <a:pt x="12" y="17"/>
                          </a:moveTo>
                          <a:cubicBezTo>
                            <a:pt x="13" y="16"/>
                            <a:pt x="16" y="16"/>
                            <a:pt x="16" y="14"/>
                          </a:cubicBezTo>
                          <a:cubicBezTo>
                            <a:pt x="20" y="0"/>
                            <a:pt x="10" y="6"/>
                            <a:pt x="1" y="7"/>
                          </a:cubicBezTo>
                          <a:cubicBezTo>
                            <a:pt x="0" y="15"/>
                            <a:pt x="14" y="27"/>
                            <a:pt x="12" y="17"/>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34" name="Freeform 24">
                      <a:extLst>
                        <a:ext uri="{FF2B5EF4-FFF2-40B4-BE49-F238E27FC236}">
                          <a16:creationId xmlns:a16="http://schemas.microsoft.com/office/drawing/2014/main" id="{858A98CA-2461-4112-8C8C-C8FD4675636A}"/>
                        </a:ext>
                      </a:extLst>
                    </p:cNvPr>
                    <p:cNvSpPr>
                      <a:spLocks noChangeAspect="1"/>
                    </p:cNvSpPr>
                    <p:nvPr/>
                  </p:nvSpPr>
                  <p:spPr bwMode="auto">
                    <a:xfrm>
                      <a:off x="8274" y="9751"/>
                      <a:ext cx="22" cy="20"/>
                    </a:xfrm>
                    <a:custGeom>
                      <a:avLst/>
                      <a:gdLst/>
                      <a:ahLst/>
                      <a:cxnLst>
                        <a:cxn ang="0">
                          <a:pos x="15" y="15"/>
                        </a:cxn>
                        <a:cxn ang="0">
                          <a:pos x="9" y="0"/>
                        </a:cxn>
                        <a:cxn ang="0">
                          <a:pos x="11" y="20"/>
                        </a:cxn>
                        <a:cxn ang="0">
                          <a:pos x="15" y="15"/>
                        </a:cxn>
                      </a:cxnLst>
                      <a:rect l="0" t="0" r="r" b="b"/>
                      <a:pathLst>
                        <a:path w="22" h="20">
                          <a:moveTo>
                            <a:pt x="15" y="15"/>
                          </a:moveTo>
                          <a:cubicBezTo>
                            <a:pt x="22" y="5"/>
                            <a:pt x="19" y="5"/>
                            <a:pt x="9" y="0"/>
                          </a:cubicBezTo>
                          <a:cubicBezTo>
                            <a:pt x="0" y="5"/>
                            <a:pt x="2" y="16"/>
                            <a:pt x="11" y="20"/>
                          </a:cubicBezTo>
                          <a:cubicBezTo>
                            <a:pt x="18" y="18"/>
                            <a:pt x="18" y="20"/>
                            <a:pt x="15" y="15"/>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35" name="Freeform 25">
                      <a:extLst>
                        <a:ext uri="{FF2B5EF4-FFF2-40B4-BE49-F238E27FC236}">
                          <a16:creationId xmlns:a16="http://schemas.microsoft.com/office/drawing/2014/main" id="{3D9765EE-B8A5-4266-9C67-0445274F1068}"/>
                        </a:ext>
                      </a:extLst>
                    </p:cNvPr>
                    <p:cNvSpPr>
                      <a:spLocks noChangeAspect="1"/>
                    </p:cNvSpPr>
                    <p:nvPr/>
                  </p:nvSpPr>
                  <p:spPr bwMode="auto">
                    <a:xfrm>
                      <a:off x="8296" y="9787"/>
                      <a:ext cx="52" cy="53"/>
                    </a:xfrm>
                    <a:custGeom>
                      <a:avLst/>
                      <a:gdLst/>
                      <a:ahLst/>
                      <a:cxnLst>
                        <a:cxn ang="0">
                          <a:pos x="52" y="53"/>
                        </a:cxn>
                        <a:cxn ang="0">
                          <a:pos x="29" y="35"/>
                        </a:cxn>
                        <a:cxn ang="0">
                          <a:pos x="23" y="21"/>
                        </a:cxn>
                        <a:cxn ang="0">
                          <a:pos x="7" y="3"/>
                        </a:cxn>
                        <a:cxn ang="0">
                          <a:pos x="16" y="39"/>
                        </a:cxn>
                        <a:cxn ang="0">
                          <a:pos x="52" y="53"/>
                        </a:cxn>
                      </a:cxnLst>
                      <a:rect l="0" t="0" r="r" b="b"/>
                      <a:pathLst>
                        <a:path w="52" h="53">
                          <a:moveTo>
                            <a:pt x="52" y="53"/>
                          </a:moveTo>
                          <a:cubicBezTo>
                            <a:pt x="48" y="44"/>
                            <a:pt x="39" y="37"/>
                            <a:pt x="29" y="35"/>
                          </a:cubicBezTo>
                          <a:cubicBezTo>
                            <a:pt x="28" y="29"/>
                            <a:pt x="26" y="26"/>
                            <a:pt x="23" y="21"/>
                          </a:cubicBezTo>
                          <a:cubicBezTo>
                            <a:pt x="22" y="0"/>
                            <a:pt x="25" y="1"/>
                            <a:pt x="7" y="3"/>
                          </a:cubicBezTo>
                          <a:cubicBezTo>
                            <a:pt x="2" y="15"/>
                            <a:pt x="0" y="36"/>
                            <a:pt x="16" y="39"/>
                          </a:cubicBezTo>
                          <a:cubicBezTo>
                            <a:pt x="33" y="52"/>
                            <a:pt x="24" y="53"/>
                            <a:pt x="52" y="53"/>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36" name="Freeform 26">
                      <a:extLst>
                        <a:ext uri="{FF2B5EF4-FFF2-40B4-BE49-F238E27FC236}">
                          <a16:creationId xmlns:a16="http://schemas.microsoft.com/office/drawing/2014/main" id="{B5B00C5F-8F14-4F69-BDD4-8A9C1FE7FAE4}"/>
                        </a:ext>
                      </a:extLst>
                    </p:cNvPr>
                    <p:cNvSpPr>
                      <a:spLocks noChangeAspect="1"/>
                    </p:cNvSpPr>
                    <p:nvPr/>
                  </p:nvSpPr>
                  <p:spPr bwMode="auto">
                    <a:xfrm>
                      <a:off x="8483" y="9853"/>
                      <a:ext cx="16" cy="34"/>
                    </a:xfrm>
                    <a:custGeom>
                      <a:avLst/>
                      <a:gdLst/>
                      <a:ahLst/>
                      <a:cxnLst>
                        <a:cxn ang="0">
                          <a:pos x="12" y="29"/>
                        </a:cxn>
                        <a:cxn ang="0">
                          <a:pos x="1" y="0"/>
                        </a:cxn>
                        <a:cxn ang="0">
                          <a:pos x="12" y="29"/>
                        </a:cxn>
                      </a:cxnLst>
                      <a:rect l="0" t="0" r="r" b="b"/>
                      <a:pathLst>
                        <a:path w="16" h="34">
                          <a:moveTo>
                            <a:pt x="12" y="29"/>
                          </a:moveTo>
                          <a:cubicBezTo>
                            <a:pt x="10" y="8"/>
                            <a:pt x="16" y="6"/>
                            <a:pt x="1" y="0"/>
                          </a:cubicBezTo>
                          <a:cubicBezTo>
                            <a:pt x="0" y="5"/>
                            <a:pt x="2" y="34"/>
                            <a:pt x="12" y="29"/>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37" name="Freeform 27">
                      <a:extLst>
                        <a:ext uri="{FF2B5EF4-FFF2-40B4-BE49-F238E27FC236}">
                          <a16:creationId xmlns:a16="http://schemas.microsoft.com/office/drawing/2014/main" id="{2A99995C-5E71-4C90-87FA-D7B2AECFC9C2}"/>
                        </a:ext>
                      </a:extLst>
                    </p:cNvPr>
                    <p:cNvSpPr>
                      <a:spLocks noChangeAspect="1"/>
                    </p:cNvSpPr>
                    <p:nvPr/>
                  </p:nvSpPr>
                  <p:spPr bwMode="auto">
                    <a:xfrm>
                      <a:off x="8512" y="10065"/>
                      <a:ext cx="22" cy="10"/>
                    </a:xfrm>
                    <a:custGeom>
                      <a:avLst/>
                      <a:gdLst/>
                      <a:ahLst/>
                      <a:cxnLst>
                        <a:cxn ang="0">
                          <a:pos x="14" y="10"/>
                        </a:cxn>
                        <a:cxn ang="0">
                          <a:pos x="11" y="0"/>
                        </a:cxn>
                        <a:cxn ang="0">
                          <a:pos x="14" y="10"/>
                        </a:cxn>
                      </a:cxnLst>
                      <a:rect l="0" t="0" r="r" b="b"/>
                      <a:pathLst>
                        <a:path w="22" h="10">
                          <a:moveTo>
                            <a:pt x="14" y="10"/>
                          </a:moveTo>
                          <a:cubicBezTo>
                            <a:pt x="22" y="5"/>
                            <a:pt x="19" y="1"/>
                            <a:pt x="11" y="0"/>
                          </a:cubicBezTo>
                          <a:cubicBezTo>
                            <a:pt x="0" y="2"/>
                            <a:pt x="5" y="10"/>
                            <a:pt x="14" y="10"/>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38" name="Freeform 28">
                      <a:extLst>
                        <a:ext uri="{FF2B5EF4-FFF2-40B4-BE49-F238E27FC236}">
                          <a16:creationId xmlns:a16="http://schemas.microsoft.com/office/drawing/2014/main" id="{B071B0EE-8550-4DB0-A64C-9A0D8FF873B3}"/>
                        </a:ext>
                      </a:extLst>
                    </p:cNvPr>
                    <p:cNvSpPr>
                      <a:spLocks noChangeAspect="1"/>
                    </p:cNvSpPr>
                    <p:nvPr/>
                  </p:nvSpPr>
                  <p:spPr bwMode="auto">
                    <a:xfrm>
                      <a:off x="8482" y="10050"/>
                      <a:ext cx="18" cy="12"/>
                    </a:xfrm>
                    <a:custGeom>
                      <a:avLst/>
                      <a:gdLst/>
                      <a:ahLst/>
                      <a:cxnLst>
                        <a:cxn ang="0">
                          <a:pos x="11" y="12"/>
                        </a:cxn>
                        <a:cxn ang="0">
                          <a:pos x="11" y="0"/>
                        </a:cxn>
                        <a:cxn ang="0">
                          <a:pos x="11" y="12"/>
                        </a:cxn>
                      </a:cxnLst>
                      <a:rect l="0" t="0" r="r" b="b"/>
                      <a:pathLst>
                        <a:path w="18" h="12">
                          <a:moveTo>
                            <a:pt x="11" y="12"/>
                          </a:moveTo>
                          <a:cubicBezTo>
                            <a:pt x="15" y="5"/>
                            <a:pt x="18" y="4"/>
                            <a:pt x="11" y="0"/>
                          </a:cubicBezTo>
                          <a:cubicBezTo>
                            <a:pt x="0" y="2"/>
                            <a:pt x="2" y="9"/>
                            <a:pt x="11" y="12"/>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39" name="Freeform 29">
                      <a:extLst>
                        <a:ext uri="{FF2B5EF4-FFF2-40B4-BE49-F238E27FC236}">
                          <a16:creationId xmlns:a16="http://schemas.microsoft.com/office/drawing/2014/main" id="{3962C4CA-DA62-4716-AFC1-608DD55494FA}"/>
                        </a:ext>
                      </a:extLst>
                    </p:cNvPr>
                    <p:cNvSpPr>
                      <a:spLocks noChangeAspect="1"/>
                    </p:cNvSpPr>
                    <p:nvPr/>
                  </p:nvSpPr>
                  <p:spPr bwMode="auto">
                    <a:xfrm>
                      <a:off x="8554" y="10156"/>
                      <a:ext cx="22" cy="11"/>
                    </a:xfrm>
                    <a:custGeom>
                      <a:avLst/>
                      <a:gdLst/>
                      <a:ahLst/>
                      <a:cxnLst>
                        <a:cxn ang="0">
                          <a:pos x="11" y="11"/>
                        </a:cxn>
                        <a:cxn ang="0">
                          <a:pos x="10" y="0"/>
                        </a:cxn>
                        <a:cxn ang="0">
                          <a:pos x="2" y="6"/>
                        </a:cxn>
                        <a:cxn ang="0">
                          <a:pos x="11" y="11"/>
                        </a:cxn>
                      </a:cxnLst>
                      <a:rect l="0" t="0" r="r" b="b"/>
                      <a:pathLst>
                        <a:path w="22" h="11">
                          <a:moveTo>
                            <a:pt x="11" y="11"/>
                          </a:moveTo>
                          <a:cubicBezTo>
                            <a:pt x="22" y="7"/>
                            <a:pt x="18" y="4"/>
                            <a:pt x="10" y="0"/>
                          </a:cubicBezTo>
                          <a:cubicBezTo>
                            <a:pt x="9" y="0"/>
                            <a:pt x="0" y="2"/>
                            <a:pt x="2" y="6"/>
                          </a:cubicBezTo>
                          <a:cubicBezTo>
                            <a:pt x="3" y="9"/>
                            <a:pt x="11" y="11"/>
                            <a:pt x="11" y="11"/>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40" name="Freeform 30">
                      <a:extLst>
                        <a:ext uri="{FF2B5EF4-FFF2-40B4-BE49-F238E27FC236}">
                          <a16:creationId xmlns:a16="http://schemas.microsoft.com/office/drawing/2014/main" id="{480D3D20-3CBD-4E74-BE78-78C66B6CFB6B}"/>
                        </a:ext>
                      </a:extLst>
                    </p:cNvPr>
                    <p:cNvSpPr>
                      <a:spLocks noChangeAspect="1"/>
                    </p:cNvSpPr>
                    <p:nvPr/>
                  </p:nvSpPr>
                  <p:spPr bwMode="auto">
                    <a:xfrm>
                      <a:off x="8067" y="8758"/>
                      <a:ext cx="19" cy="36"/>
                    </a:xfrm>
                    <a:custGeom>
                      <a:avLst/>
                      <a:gdLst/>
                      <a:ahLst/>
                      <a:cxnLst>
                        <a:cxn ang="0">
                          <a:pos x="9" y="35"/>
                        </a:cxn>
                        <a:cxn ang="0">
                          <a:pos x="5" y="7"/>
                        </a:cxn>
                        <a:cxn ang="0">
                          <a:pos x="5" y="35"/>
                        </a:cxn>
                        <a:cxn ang="0">
                          <a:pos x="9" y="35"/>
                        </a:cxn>
                      </a:cxnLst>
                      <a:rect l="0" t="0" r="r" b="b"/>
                      <a:pathLst>
                        <a:path w="19" h="36">
                          <a:moveTo>
                            <a:pt x="9" y="35"/>
                          </a:moveTo>
                          <a:cubicBezTo>
                            <a:pt x="10" y="28"/>
                            <a:pt x="19" y="0"/>
                            <a:pt x="5" y="7"/>
                          </a:cubicBezTo>
                          <a:cubicBezTo>
                            <a:pt x="0" y="17"/>
                            <a:pt x="0" y="15"/>
                            <a:pt x="5" y="35"/>
                          </a:cubicBezTo>
                          <a:cubicBezTo>
                            <a:pt x="5" y="36"/>
                            <a:pt x="9" y="36"/>
                            <a:pt x="9" y="35"/>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41" name="Freeform 31">
                      <a:extLst>
                        <a:ext uri="{FF2B5EF4-FFF2-40B4-BE49-F238E27FC236}">
                          <a16:creationId xmlns:a16="http://schemas.microsoft.com/office/drawing/2014/main" id="{C4CD07E1-ADCF-4D87-AA37-42699E5B594F}"/>
                        </a:ext>
                      </a:extLst>
                    </p:cNvPr>
                    <p:cNvSpPr>
                      <a:spLocks noChangeAspect="1"/>
                    </p:cNvSpPr>
                    <p:nvPr/>
                  </p:nvSpPr>
                  <p:spPr bwMode="auto">
                    <a:xfrm>
                      <a:off x="7888" y="8673"/>
                      <a:ext cx="37" cy="30"/>
                    </a:xfrm>
                    <a:custGeom>
                      <a:avLst/>
                      <a:gdLst/>
                      <a:ahLst/>
                      <a:cxnLst>
                        <a:cxn ang="0">
                          <a:pos x="29" y="29"/>
                        </a:cxn>
                        <a:cxn ang="0">
                          <a:pos x="23" y="0"/>
                        </a:cxn>
                        <a:cxn ang="0">
                          <a:pos x="2" y="17"/>
                        </a:cxn>
                        <a:cxn ang="0">
                          <a:pos x="10" y="30"/>
                        </a:cxn>
                        <a:cxn ang="0">
                          <a:pos x="29" y="29"/>
                        </a:cxn>
                      </a:cxnLst>
                      <a:rect l="0" t="0" r="r" b="b"/>
                      <a:pathLst>
                        <a:path w="37" h="30">
                          <a:moveTo>
                            <a:pt x="29" y="29"/>
                          </a:moveTo>
                          <a:cubicBezTo>
                            <a:pt x="36" y="18"/>
                            <a:pt x="37" y="6"/>
                            <a:pt x="23" y="0"/>
                          </a:cubicBezTo>
                          <a:cubicBezTo>
                            <a:pt x="13" y="3"/>
                            <a:pt x="6" y="7"/>
                            <a:pt x="2" y="17"/>
                          </a:cubicBezTo>
                          <a:cubicBezTo>
                            <a:pt x="4" y="28"/>
                            <a:pt x="0" y="30"/>
                            <a:pt x="10" y="30"/>
                          </a:cubicBezTo>
                          <a:cubicBezTo>
                            <a:pt x="16" y="30"/>
                            <a:pt x="35" y="29"/>
                            <a:pt x="29" y="29"/>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42" name="Freeform 32">
                      <a:extLst>
                        <a:ext uri="{FF2B5EF4-FFF2-40B4-BE49-F238E27FC236}">
                          <a16:creationId xmlns:a16="http://schemas.microsoft.com/office/drawing/2014/main" id="{629E5BB5-36A5-4A30-B381-FECFD9F8BECA}"/>
                        </a:ext>
                      </a:extLst>
                    </p:cNvPr>
                    <p:cNvSpPr>
                      <a:spLocks noChangeAspect="1"/>
                    </p:cNvSpPr>
                    <p:nvPr/>
                  </p:nvSpPr>
                  <p:spPr bwMode="auto">
                    <a:xfrm>
                      <a:off x="8169" y="8416"/>
                      <a:ext cx="23" cy="32"/>
                    </a:xfrm>
                    <a:custGeom>
                      <a:avLst/>
                      <a:gdLst/>
                      <a:ahLst/>
                      <a:cxnLst>
                        <a:cxn ang="0">
                          <a:pos x="9" y="32"/>
                        </a:cxn>
                        <a:cxn ang="0">
                          <a:pos x="23" y="14"/>
                        </a:cxn>
                        <a:cxn ang="0">
                          <a:pos x="2" y="7"/>
                        </a:cxn>
                        <a:cxn ang="0">
                          <a:pos x="9" y="32"/>
                        </a:cxn>
                      </a:cxnLst>
                      <a:rect l="0" t="0" r="r" b="b"/>
                      <a:pathLst>
                        <a:path w="23" h="32">
                          <a:moveTo>
                            <a:pt x="9" y="32"/>
                          </a:moveTo>
                          <a:cubicBezTo>
                            <a:pt x="23" y="29"/>
                            <a:pt x="18" y="26"/>
                            <a:pt x="23" y="14"/>
                          </a:cubicBezTo>
                          <a:cubicBezTo>
                            <a:pt x="20" y="0"/>
                            <a:pt x="15" y="1"/>
                            <a:pt x="2" y="7"/>
                          </a:cubicBezTo>
                          <a:cubicBezTo>
                            <a:pt x="3" y="14"/>
                            <a:pt x="0" y="32"/>
                            <a:pt x="9" y="32"/>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43" name="Freeform 33">
                      <a:extLst>
                        <a:ext uri="{FF2B5EF4-FFF2-40B4-BE49-F238E27FC236}">
                          <a16:creationId xmlns:a16="http://schemas.microsoft.com/office/drawing/2014/main" id="{63D40318-53C0-473C-B1AA-02472D5D1EE6}"/>
                        </a:ext>
                      </a:extLst>
                    </p:cNvPr>
                    <p:cNvSpPr>
                      <a:spLocks noChangeAspect="1"/>
                    </p:cNvSpPr>
                    <p:nvPr/>
                  </p:nvSpPr>
                  <p:spPr bwMode="auto">
                    <a:xfrm>
                      <a:off x="8164" y="8451"/>
                      <a:ext cx="29" cy="48"/>
                    </a:xfrm>
                    <a:custGeom>
                      <a:avLst/>
                      <a:gdLst/>
                      <a:ahLst/>
                      <a:cxnLst>
                        <a:cxn ang="0">
                          <a:pos x="22" y="44"/>
                        </a:cxn>
                        <a:cxn ang="0">
                          <a:pos x="8" y="0"/>
                        </a:cxn>
                        <a:cxn ang="0">
                          <a:pos x="13" y="39"/>
                        </a:cxn>
                        <a:cxn ang="0">
                          <a:pos x="17" y="48"/>
                        </a:cxn>
                        <a:cxn ang="0">
                          <a:pos x="22" y="44"/>
                        </a:cxn>
                      </a:cxnLst>
                      <a:rect l="0" t="0" r="r" b="b"/>
                      <a:pathLst>
                        <a:path w="29" h="48">
                          <a:moveTo>
                            <a:pt x="22" y="44"/>
                          </a:moveTo>
                          <a:cubicBezTo>
                            <a:pt x="24" y="23"/>
                            <a:pt x="29" y="13"/>
                            <a:pt x="8" y="0"/>
                          </a:cubicBezTo>
                          <a:cubicBezTo>
                            <a:pt x="0" y="14"/>
                            <a:pt x="3" y="26"/>
                            <a:pt x="13" y="39"/>
                          </a:cubicBezTo>
                          <a:cubicBezTo>
                            <a:pt x="13" y="40"/>
                            <a:pt x="14" y="48"/>
                            <a:pt x="17" y="48"/>
                          </a:cubicBezTo>
                          <a:cubicBezTo>
                            <a:pt x="19" y="48"/>
                            <a:pt x="20" y="44"/>
                            <a:pt x="22" y="44"/>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44" name="Freeform 34">
                      <a:extLst>
                        <a:ext uri="{FF2B5EF4-FFF2-40B4-BE49-F238E27FC236}">
                          <a16:creationId xmlns:a16="http://schemas.microsoft.com/office/drawing/2014/main" id="{4DF242E3-2B68-4440-B247-DBD3235EBC11}"/>
                        </a:ext>
                      </a:extLst>
                    </p:cNvPr>
                    <p:cNvSpPr>
                      <a:spLocks noChangeAspect="1"/>
                    </p:cNvSpPr>
                    <p:nvPr/>
                  </p:nvSpPr>
                  <p:spPr bwMode="auto">
                    <a:xfrm>
                      <a:off x="8103" y="8165"/>
                      <a:ext cx="21" cy="28"/>
                    </a:xfrm>
                    <a:custGeom>
                      <a:avLst/>
                      <a:gdLst/>
                      <a:ahLst/>
                      <a:cxnLst>
                        <a:cxn ang="0">
                          <a:pos x="18" y="28"/>
                        </a:cxn>
                        <a:cxn ang="0">
                          <a:pos x="11" y="0"/>
                        </a:cxn>
                        <a:cxn ang="0">
                          <a:pos x="18" y="28"/>
                        </a:cxn>
                      </a:cxnLst>
                      <a:rect l="0" t="0" r="r" b="b"/>
                      <a:pathLst>
                        <a:path w="21" h="28">
                          <a:moveTo>
                            <a:pt x="18" y="28"/>
                          </a:moveTo>
                          <a:cubicBezTo>
                            <a:pt x="20" y="16"/>
                            <a:pt x="21" y="8"/>
                            <a:pt x="11" y="0"/>
                          </a:cubicBezTo>
                          <a:cubicBezTo>
                            <a:pt x="0" y="6"/>
                            <a:pt x="5" y="28"/>
                            <a:pt x="18" y="28"/>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45" name="Freeform 35">
                      <a:extLst>
                        <a:ext uri="{FF2B5EF4-FFF2-40B4-BE49-F238E27FC236}">
                          <a16:creationId xmlns:a16="http://schemas.microsoft.com/office/drawing/2014/main" id="{96C3B735-B2A0-4A8D-9FA9-760A860B83D9}"/>
                        </a:ext>
                      </a:extLst>
                    </p:cNvPr>
                    <p:cNvSpPr>
                      <a:spLocks noChangeAspect="1"/>
                    </p:cNvSpPr>
                    <p:nvPr/>
                  </p:nvSpPr>
                  <p:spPr bwMode="auto">
                    <a:xfrm>
                      <a:off x="8006" y="8141"/>
                      <a:ext cx="28" cy="12"/>
                    </a:xfrm>
                    <a:custGeom>
                      <a:avLst/>
                      <a:gdLst/>
                      <a:ahLst/>
                      <a:cxnLst>
                        <a:cxn ang="0">
                          <a:pos x="18" y="12"/>
                        </a:cxn>
                        <a:cxn ang="0">
                          <a:pos x="21" y="0"/>
                        </a:cxn>
                        <a:cxn ang="0">
                          <a:pos x="18" y="12"/>
                        </a:cxn>
                      </a:cxnLst>
                      <a:rect l="0" t="0" r="r" b="b"/>
                      <a:pathLst>
                        <a:path w="28" h="12">
                          <a:moveTo>
                            <a:pt x="18" y="12"/>
                          </a:moveTo>
                          <a:cubicBezTo>
                            <a:pt x="26" y="2"/>
                            <a:pt x="28" y="5"/>
                            <a:pt x="21" y="0"/>
                          </a:cubicBezTo>
                          <a:cubicBezTo>
                            <a:pt x="10" y="2"/>
                            <a:pt x="0" y="12"/>
                            <a:pt x="18" y="12"/>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46" name="Freeform 36">
                      <a:extLst>
                        <a:ext uri="{FF2B5EF4-FFF2-40B4-BE49-F238E27FC236}">
                          <a16:creationId xmlns:a16="http://schemas.microsoft.com/office/drawing/2014/main" id="{B668A0CD-2B1C-451B-9EBF-A56FE7182293}"/>
                        </a:ext>
                      </a:extLst>
                    </p:cNvPr>
                    <p:cNvSpPr>
                      <a:spLocks noChangeAspect="1"/>
                    </p:cNvSpPr>
                    <p:nvPr/>
                  </p:nvSpPr>
                  <p:spPr bwMode="auto">
                    <a:xfrm>
                      <a:off x="8022" y="8094"/>
                      <a:ext cx="21" cy="14"/>
                    </a:xfrm>
                    <a:custGeom>
                      <a:avLst/>
                      <a:gdLst/>
                      <a:ahLst/>
                      <a:cxnLst>
                        <a:cxn ang="0">
                          <a:pos x="15" y="0"/>
                        </a:cxn>
                        <a:cxn ang="0">
                          <a:pos x="9" y="12"/>
                        </a:cxn>
                        <a:cxn ang="0">
                          <a:pos x="15" y="0"/>
                        </a:cxn>
                      </a:cxnLst>
                      <a:rect l="0" t="0" r="r" b="b"/>
                      <a:pathLst>
                        <a:path w="21" h="14">
                          <a:moveTo>
                            <a:pt x="15" y="0"/>
                          </a:moveTo>
                          <a:cubicBezTo>
                            <a:pt x="7" y="2"/>
                            <a:pt x="0" y="5"/>
                            <a:pt x="9" y="12"/>
                          </a:cubicBezTo>
                          <a:cubicBezTo>
                            <a:pt x="21" y="11"/>
                            <a:pt x="17" y="14"/>
                            <a:pt x="15" y="0"/>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47" name="Freeform 37">
                      <a:extLst>
                        <a:ext uri="{FF2B5EF4-FFF2-40B4-BE49-F238E27FC236}">
                          <a16:creationId xmlns:a16="http://schemas.microsoft.com/office/drawing/2014/main" id="{DBCE7DEC-E29D-4A8E-B70C-C40796AB05FE}"/>
                        </a:ext>
                      </a:extLst>
                    </p:cNvPr>
                    <p:cNvSpPr>
                      <a:spLocks noChangeAspect="1"/>
                    </p:cNvSpPr>
                    <p:nvPr/>
                  </p:nvSpPr>
                  <p:spPr bwMode="auto">
                    <a:xfrm>
                      <a:off x="8032" y="8019"/>
                      <a:ext cx="24" cy="20"/>
                    </a:xfrm>
                    <a:custGeom>
                      <a:avLst/>
                      <a:gdLst/>
                      <a:ahLst/>
                      <a:cxnLst>
                        <a:cxn ang="0">
                          <a:pos x="10" y="20"/>
                        </a:cxn>
                        <a:cxn ang="0">
                          <a:pos x="22" y="8"/>
                        </a:cxn>
                        <a:cxn ang="0">
                          <a:pos x="13" y="2"/>
                        </a:cxn>
                        <a:cxn ang="0">
                          <a:pos x="10" y="20"/>
                        </a:cxn>
                      </a:cxnLst>
                      <a:rect l="0" t="0" r="r" b="b"/>
                      <a:pathLst>
                        <a:path w="24" h="20">
                          <a:moveTo>
                            <a:pt x="10" y="20"/>
                          </a:moveTo>
                          <a:cubicBezTo>
                            <a:pt x="15" y="16"/>
                            <a:pt x="18" y="13"/>
                            <a:pt x="22" y="8"/>
                          </a:cubicBezTo>
                          <a:cubicBezTo>
                            <a:pt x="24" y="0"/>
                            <a:pt x="20" y="0"/>
                            <a:pt x="13" y="2"/>
                          </a:cubicBezTo>
                          <a:cubicBezTo>
                            <a:pt x="10" y="4"/>
                            <a:pt x="0" y="20"/>
                            <a:pt x="10" y="20"/>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48" name="Freeform 38">
                      <a:extLst>
                        <a:ext uri="{FF2B5EF4-FFF2-40B4-BE49-F238E27FC236}">
                          <a16:creationId xmlns:a16="http://schemas.microsoft.com/office/drawing/2014/main" id="{0E6AC773-5010-4026-B455-BB2C9C9B9E72}"/>
                        </a:ext>
                      </a:extLst>
                    </p:cNvPr>
                    <p:cNvSpPr>
                      <a:spLocks noChangeAspect="1"/>
                    </p:cNvSpPr>
                    <p:nvPr/>
                  </p:nvSpPr>
                  <p:spPr bwMode="auto">
                    <a:xfrm>
                      <a:off x="8063" y="7959"/>
                      <a:ext cx="18" cy="21"/>
                    </a:xfrm>
                    <a:custGeom>
                      <a:avLst/>
                      <a:gdLst/>
                      <a:ahLst/>
                      <a:cxnLst>
                        <a:cxn ang="0">
                          <a:pos x="6" y="15"/>
                        </a:cxn>
                        <a:cxn ang="0">
                          <a:pos x="10" y="3"/>
                        </a:cxn>
                        <a:cxn ang="0">
                          <a:pos x="1" y="6"/>
                        </a:cxn>
                        <a:cxn ang="0">
                          <a:pos x="6" y="15"/>
                        </a:cxn>
                      </a:cxnLst>
                      <a:rect l="0" t="0" r="r" b="b"/>
                      <a:pathLst>
                        <a:path w="18" h="21">
                          <a:moveTo>
                            <a:pt x="6" y="15"/>
                          </a:moveTo>
                          <a:cubicBezTo>
                            <a:pt x="13" y="14"/>
                            <a:pt x="18" y="15"/>
                            <a:pt x="10" y="3"/>
                          </a:cubicBezTo>
                          <a:cubicBezTo>
                            <a:pt x="8" y="0"/>
                            <a:pt x="4" y="5"/>
                            <a:pt x="1" y="6"/>
                          </a:cubicBezTo>
                          <a:cubicBezTo>
                            <a:pt x="0" y="10"/>
                            <a:pt x="6" y="21"/>
                            <a:pt x="6" y="15"/>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49" name="Freeform 39">
                      <a:extLst>
                        <a:ext uri="{FF2B5EF4-FFF2-40B4-BE49-F238E27FC236}">
                          <a16:creationId xmlns:a16="http://schemas.microsoft.com/office/drawing/2014/main" id="{F3B69857-F19F-4499-8F8D-4C9F037D5C33}"/>
                        </a:ext>
                      </a:extLst>
                    </p:cNvPr>
                    <p:cNvSpPr>
                      <a:spLocks noChangeAspect="1"/>
                    </p:cNvSpPr>
                    <p:nvPr/>
                  </p:nvSpPr>
                  <p:spPr bwMode="auto">
                    <a:xfrm>
                      <a:off x="8057" y="7986"/>
                      <a:ext cx="25" cy="12"/>
                    </a:xfrm>
                    <a:custGeom>
                      <a:avLst/>
                      <a:gdLst/>
                      <a:ahLst/>
                      <a:cxnLst>
                        <a:cxn ang="0">
                          <a:pos x="9" y="12"/>
                        </a:cxn>
                        <a:cxn ang="0">
                          <a:pos x="0" y="2"/>
                        </a:cxn>
                        <a:cxn ang="0">
                          <a:pos x="9" y="12"/>
                        </a:cxn>
                      </a:cxnLst>
                      <a:rect l="0" t="0" r="r" b="b"/>
                      <a:pathLst>
                        <a:path w="25" h="12">
                          <a:moveTo>
                            <a:pt x="9" y="12"/>
                          </a:moveTo>
                          <a:cubicBezTo>
                            <a:pt x="25" y="0"/>
                            <a:pt x="10" y="0"/>
                            <a:pt x="0" y="2"/>
                          </a:cubicBezTo>
                          <a:cubicBezTo>
                            <a:pt x="1" y="12"/>
                            <a:pt x="0" y="12"/>
                            <a:pt x="9" y="12"/>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50" name="Freeform 40">
                      <a:extLst>
                        <a:ext uri="{FF2B5EF4-FFF2-40B4-BE49-F238E27FC236}">
                          <a16:creationId xmlns:a16="http://schemas.microsoft.com/office/drawing/2014/main" id="{27158CF4-2530-423C-9664-B8B3A79AF39A}"/>
                        </a:ext>
                      </a:extLst>
                    </p:cNvPr>
                    <p:cNvSpPr>
                      <a:spLocks noChangeAspect="1"/>
                    </p:cNvSpPr>
                    <p:nvPr/>
                  </p:nvSpPr>
                  <p:spPr bwMode="auto">
                    <a:xfrm>
                      <a:off x="8115" y="8410"/>
                      <a:ext cx="21" cy="42"/>
                    </a:xfrm>
                    <a:custGeom>
                      <a:avLst/>
                      <a:gdLst/>
                      <a:ahLst/>
                      <a:cxnLst>
                        <a:cxn ang="0">
                          <a:pos x="15" y="37"/>
                        </a:cxn>
                        <a:cxn ang="0">
                          <a:pos x="21" y="10"/>
                        </a:cxn>
                        <a:cxn ang="0">
                          <a:pos x="0" y="5"/>
                        </a:cxn>
                        <a:cxn ang="0">
                          <a:pos x="15" y="37"/>
                        </a:cxn>
                      </a:cxnLst>
                      <a:rect l="0" t="0" r="r" b="b"/>
                      <a:pathLst>
                        <a:path w="21" h="42">
                          <a:moveTo>
                            <a:pt x="15" y="37"/>
                          </a:moveTo>
                          <a:cubicBezTo>
                            <a:pt x="16" y="27"/>
                            <a:pt x="15" y="18"/>
                            <a:pt x="21" y="10"/>
                          </a:cubicBezTo>
                          <a:cubicBezTo>
                            <a:pt x="19" y="0"/>
                            <a:pt x="9" y="4"/>
                            <a:pt x="0" y="5"/>
                          </a:cubicBezTo>
                          <a:cubicBezTo>
                            <a:pt x="2" y="11"/>
                            <a:pt x="1" y="42"/>
                            <a:pt x="15" y="37"/>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51" name="Freeform 41">
                      <a:extLst>
                        <a:ext uri="{FF2B5EF4-FFF2-40B4-BE49-F238E27FC236}">
                          <a16:creationId xmlns:a16="http://schemas.microsoft.com/office/drawing/2014/main" id="{79D94BCA-C3E5-43BE-8513-C33727F95B58}"/>
                        </a:ext>
                      </a:extLst>
                    </p:cNvPr>
                    <p:cNvSpPr>
                      <a:spLocks noChangeAspect="1"/>
                    </p:cNvSpPr>
                    <p:nvPr/>
                  </p:nvSpPr>
                  <p:spPr bwMode="auto">
                    <a:xfrm>
                      <a:off x="8109" y="8380"/>
                      <a:ext cx="19" cy="24"/>
                    </a:xfrm>
                    <a:custGeom>
                      <a:avLst/>
                      <a:gdLst/>
                      <a:ahLst/>
                      <a:cxnLst>
                        <a:cxn ang="0">
                          <a:pos x="14" y="17"/>
                        </a:cxn>
                        <a:cxn ang="0">
                          <a:pos x="6" y="2"/>
                        </a:cxn>
                        <a:cxn ang="0">
                          <a:pos x="14" y="17"/>
                        </a:cxn>
                      </a:cxnLst>
                      <a:rect l="0" t="0" r="r" b="b"/>
                      <a:pathLst>
                        <a:path w="19" h="24">
                          <a:moveTo>
                            <a:pt x="14" y="17"/>
                          </a:moveTo>
                          <a:cubicBezTo>
                            <a:pt x="16" y="7"/>
                            <a:pt x="19" y="0"/>
                            <a:pt x="6" y="2"/>
                          </a:cubicBezTo>
                          <a:cubicBezTo>
                            <a:pt x="0" y="12"/>
                            <a:pt x="0" y="24"/>
                            <a:pt x="14" y="17"/>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52" name="Freeform 42">
                      <a:extLst>
                        <a:ext uri="{FF2B5EF4-FFF2-40B4-BE49-F238E27FC236}">
                          <a16:creationId xmlns:a16="http://schemas.microsoft.com/office/drawing/2014/main" id="{59E94A15-8CE1-4299-B500-6D737A00A428}"/>
                        </a:ext>
                      </a:extLst>
                    </p:cNvPr>
                    <p:cNvSpPr>
                      <a:spLocks noChangeAspect="1"/>
                    </p:cNvSpPr>
                    <p:nvPr/>
                  </p:nvSpPr>
                  <p:spPr bwMode="auto">
                    <a:xfrm>
                      <a:off x="8162" y="8393"/>
                      <a:ext cx="15" cy="21"/>
                    </a:xfrm>
                    <a:custGeom>
                      <a:avLst/>
                      <a:gdLst/>
                      <a:ahLst/>
                      <a:cxnLst>
                        <a:cxn ang="0">
                          <a:pos x="7" y="6"/>
                        </a:cxn>
                        <a:cxn ang="0">
                          <a:pos x="3" y="21"/>
                        </a:cxn>
                        <a:cxn ang="0">
                          <a:pos x="7" y="6"/>
                        </a:cxn>
                      </a:cxnLst>
                      <a:rect l="0" t="0" r="r" b="b"/>
                      <a:pathLst>
                        <a:path w="15" h="21">
                          <a:moveTo>
                            <a:pt x="7" y="6"/>
                          </a:moveTo>
                          <a:cubicBezTo>
                            <a:pt x="0" y="11"/>
                            <a:pt x="1" y="12"/>
                            <a:pt x="3" y="21"/>
                          </a:cubicBezTo>
                          <a:cubicBezTo>
                            <a:pt x="15" y="17"/>
                            <a:pt x="15" y="0"/>
                            <a:pt x="7" y="6"/>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53" name="Freeform 43">
                      <a:extLst>
                        <a:ext uri="{FF2B5EF4-FFF2-40B4-BE49-F238E27FC236}">
                          <a16:creationId xmlns:a16="http://schemas.microsoft.com/office/drawing/2014/main" id="{10974058-51B8-42FA-ADB2-5B6E0109BF8C}"/>
                        </a:ext>
                      </a:extLst>
                    </p:cNvPr>
                    <p:cNvSpPr>
                      <a:spLocks noChangeAspect="1"/>
                    </p:cNvSpPr>
                    <p:nvPr/>
                  </p:nvSpPr>
                  <p:spPr bwMode="auto">
                    <a:xfrm>
                      <a:off x="8022" y="8334"/>
                      <a:ext cx="13" cy="16"/>
                    </a:xfrm>
                    <a:custGeom>
                      <a:avLst/>
                      <a:gdLst/>
                      <a:ahLst/>
                      <a:cxnLst>
                        <a:cxn ang="0">
                          <a:pos x="12" y="14"/>
                        </a:cxn>
                        <a:cxn ang="0">
                          <a:pos x="11" y="2"/>
                        </a:cxn>
                        <a:cxn ang="0">
                          <a:pos x="5" y="3"/>
                        </a:cxn>
                        <a:cxn ang="0">
                          <a:pos x="12" y="14"/>
                        </a:cxn>
                      </a:cxnLst>
                      <a:rect l="0" t="0" r="r" b="b"/>
                      <a:pathLst>
                        <a:path w="13" h="16">
                          <a:moveTo>
                            <a:pt x="12" y="14"/>
                          </a:moveTo>
                          <a:cubicBezTo>
                            <a:pt x="12" y="10"/>
                            <a:pt x="13" y="5"/>
                            <a:pt x="11" y="2"/>
                          </a:cubicBezTo>
                          <a:cubicBezTo>
                            <a:pt x="10" y="0"/>
                            <a:pt x="6" y="1"/>
                            <a:pt x="5" y="3"/>
                          </a:cubicBezTo>
                          <a:cubicBezTo>
                            <a:pt x="0" y="16"/>
                            <a:pt x="6" y="14"/>
                            <a:pt x="12" y="14"/>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54" name="Freeform 44">
                      <a:extLst>
                        <a:ext uri="{FF2B5EF4-FFF2-40B4-BE49-F238E27FC236}">
                          <a16:creationId xmlns:a16="http://schemas.microsoft.com/office/drawing/2014/main" id="{25F19504-C8D6-481D-AB96-DB4D83D508C3}"/>
                        </a:ext>
                      </a:extLst>
                    </p:cNvPr>
                    <p:cNvSpPr>
                      <a:spLocks noChangeAspect="1"/>
                    </p:cNvSpPr>
                    <p:nvPr/>
                  </p:nvSpPr>
                  <p:spPr bwMode="auto">
                    <a:xfrm>
                      <a:off x="8007" y="8661"/>
                      <a:ext cx="18" cy="38"/>
                    </a:xfrm>
                    <a:custGeom>
                      <a:avLst/>
                      <a:gdLst/>
                      <a:ahLst/>
                      <a:cxnLst>
                        <a:cxn ang="0">
                          <a:pos x="18" y="33"/>
                        </a:cxn>
                        <a:cxn ang="0">
                          <a:pos x="9" y="8"/>
                        </a:cxn>
                        <a:cxn ang="0">
                          <a:pos x="0" y="6"/>
                        </a:cxn>
                        <a:cxn ang="0">
                          <a:pos x="5" y="26"/>
                        </a:cxn>
                        <a:cxn ang="0">
                          <a:pos x="18" y="33"/>
                        </a:cxn>
                      </a:cxnLst>
                      <a:rect l="0" t="0" r="r" b="b"/>
                      <a:pathLst>
                        <a:path w="18" h="38">
                          <a:moveTo>
                            <a:pt x="18" y="33"/>
                          </a:moveTo>
                          <a:cubicBezTo>
                            <a:pt x="17" y="21"/>
                            <a:pt x="16" y="17"/>
                            <a:pt x="9" y="8"/>
                          </a:cubicBezTo>
                          <a:cubicBezTo>
                            <a:pt x="8" y="1"/>
                            <a:pt x="4" y="0"/>
                            <a:pt x="0" y="6"/>
                          </a:cubicBezTo>
                          <a:cubicBezTo>
                            <a:pt x="2" y="20"/>
                            <a:pt x="0" y="18"/>
                            <a:pt x="5" y="26"/>
                          </a:cubicBezTo>
                          <a:cubicBezTo>
                            <a:pt x="7" y="29"/>
                            <a:pt x="16" y="38"/>
                            <a:pt x="18" y="33"/>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55" name="Freeform 45">
                      <a:extLst>
                        <a:ext uri="{FF2B5EF4-FFF2-40B4-BE49-F238E27FC236}">
                          <a16:creationId xmlns:a16="http://schemas.microsoft.com/office/drawing/2014/main" id="{1F931A37-9F94-450D-BD08-34A2D0803669}"/>
                        </a:ext>
                      </a:extLst>
                    </p:cNvPr>
                    <p:cNvSpPr>
                      <a:spLocks noChangeAspect="1"/>
                    </p:cNvSpPr>
                    <p:nvPr/>
                  </p:nvSpPr>
                  <p:spPr bwMode="auto">
                    <a:xfrm>
                      <a:off x="8008" y="8739"/>
                      <a:ext cx="20" cy="14"/>
                    </a:xfrm>
                    <a:custGeom>
                      <a:avLst/>
                      <a:gdLst/>
                      <a:ahLst/>
                      <a:cxnLst>
                        <a:cxn ang="0">
                          <a:pos x="16" y="0"/>
                        </a:cxn>
                        <a:cxn ang="0">
                          <a:pos x="2" y="14"/>
                        </a:cxn>
                        <a:cxn ang="0">
                          <a:pos x="16" y="0"/>
                        </a:cxn>
                      </a:cxnLst>
                      <a:rect l="0" t="0" r="r" b="b"/>
                      <a:pathLst>
                        <a:path w="20" h="14">
                          <a:moveTo>
                            <a:pt x="16" y="0"/>
                          </a:moveTo>
                          <a:cubicBezTo>
                            <a:pt x="3" y="2"/>
                            <a:pt x="0" y="1"/>
                            <a:pt x="2" y="14"/>
                          </a:cubicBezTo>
                          <a:cubicBezTo>
                            <a:pt x="11" y="12"/>
                            <a:pt x="20" y="12"/>
                            <a:pt x="16" y="0"/>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grpSp>
              <p:grpSp>
                <p:nvGrpSpPr>
                  <p:cNvPr id="187" name="Lakshadweep Island">
                    <a:extLst>
                      <a:ext uri="{FF2B5EF4-FFF2-40B4-BE49-F238E27FC236}">
                        <a16:creationId xmlns:a16="http://schemas.microsoft.com/office/drawing/2014/main" id="{A53FC756-C112-4ECB-8E86-035127A6B403}"/>
                      </a:ext>
                    </a:extLst>
                  </p:cNvPr>
                  <p:cNvGrpSpPr>
                    <a:grpSpLocks noChangeAspect="1"/>
                  </p:cNvGrpSpPr>
                  <p:nvPr/>
                </p:nvGrpSpPr>
                <p:grpSpPr bwMode="auto">
                  <a:xfrm>
                    <a:off x="2665749" y="5603723"/>
                    <a:ext cx="380451" cy="871301"/>
                    <a:chOff x="900" y="8487"/>
                    <a:chExt cx="657" cy="1499"/>
                  </a:xfrm>
                  <a:grpFill/>
                </p:grpSpPr>
                <p:sp>
                  <p:nvSpPr>
                    <p:cNvPr id="195" name="Freeform 47">
                      <a:extLst>
                        <a:ext uri="{FF2B5EF4-FFF2-40B4-BE49-F238E27FC236}">
                          <a16:creationId xmlns:a16="http://schemas.microsoft.com/office/drawing/2014/main" id="{1D3D95AF-6E79-4752-9E4C-4597ACFB87B2}"/>
                        </a:ext>
                      </a:extLst>
                    </p:cNvPr>
                    <p:cNvSpPr>
                      <a:spLocks noChangeAspect="1"/>
                    </p:cNvSpPr>
                    <p:nvPr/>
                  </p:nvSpPr>
                  <p:spPr bwMode="auto">
                    <a:xfrm>
                      <a:off x="942" y="8487"/>
                      <a:ext cx="38" cy="81"/>
                    </a:xfrm>
                    <a:custGeom>
                      <a:avLst/>
                      <a:gdLst/>
                      <a:ahLst/>
                      <a:cxnLst>
                        <a:cxn ang="0">
                          <a:pos x="26" y="70"/>
                        </a:cxn>
                        <a:cxn ang="0">
                          <a:pos x="36" y="58"/>
                        </a:cxn>
                        <a:cxn ang="0">
                          <a:pos x="38" y="10"/>
                        </a:cxn>
                        <a:cxn ang="0">
                          <a:pos x="20" y="4"/>
                        </a:cxn>
                        <a:cxn ang="0">
                          <a:pos x="12" y="16"/>
                        </a:cxn>
                        <a:cxn ang="0">
                          <a:pos x="0" y="52"/>
                        </a:cxn>
                        <a:cxn ang="0">
                          <a:pos x="14" y="81"/>
                        </a:cxn>
                        <a:cxn ang="0">
                          <a:pos x="26" y="70"/>
                        </a:cxn>
                      </a:cxnLst>
                      <a:rect l="0" t="0" r="r" b="b"/>
                      <a:pathLst>
                        <a:path w="38" h="81">
                          <a:moveTo>
                            <a:pt x="26" y="70"/>
                          </a:moveTo>
                          <a:cubicBezTo>
                            <a:pt x="31" y="66"/>
                            <a:pt x="33" y="63"/>
                            <a:pt x="36" y="58"/>
                          </a:cubicBezTo>
                          <a:cubicBezTo>
                            <a:pt x="33" y="42"/>
                            <a:pt x="32" y="25"/>
                            <a:pt x="38" y="10"/>
                          </a:cubicBezTo>
                          <a:cubicBezTo>
                            <a:pt x="35" y="0"/>
                            <a:pt x="30" y="3"/>
                            <a:pt x="20" y="4"/>
                          </a:cubicBezTo>
                          <a:cubicBezTo>
                            <a:pt x="13" y="7"/>
                            <a:pt x="15" y="10"/>
                            <a:pt x="12" y="16"/>
                          </a:cubicBezTo>
                          <a:cubicBezTo>
                            <a:pt x="11" y="40"/>
                            <a:pt x="11" y="37"/>
                            <a:pt x="0" y="52"/>
                          </a:cubicBezTo>
                          <a:cubicBezTo>
                            <a:pt x="3" y="68"/>
                            <a:pt x="3" y="70"/>
                            <a:pt x="14" y="81"/>
                          </a:cubicBezTo>
                          <a:cubicBezTo>
                            <a:pt x="24" y="79"/>
                            <a:pt x="31" y="80"/>
                            <a:pt x="26" y="70"/>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196" name="Freeform 48">
                      <a:extLst>
                        <a:ext uri="{FF2B5EF4-FFF2-40B4-BE49-F238E27FC236}">
                          <a16:creationId xmlns:a16="http://schemas.microsoft.com/office/drawing/2014/main" id="{4D62AAB4-1B14-4FAD-A87B-D4DC18CD04D3}"/>
                        </a:ext>
                      </a:extLst>
                    </p:cNvPr>
                    <p:cNvSpPr>
                      <a:spLocks noChangeAspect="1"/>
                    </p:cNvSpPr>
                    <p:nvPr/>
                  </p:nvSpPr>
                  <p:spPr bwMode="auto">
                    <a:xfrm>
                      <a:off x="900" y="8617"/>
                      <a:ext cx="43" cy="64"/>
                    </a:xfrm>
                    <a:custGeom>
                      <a:avLst/>
                      <a:gdLst/>
                      <a:ahLst/>
                      <a:cxnLst>
                        <a:cxn ang="0">
                          <a:pos x="30" y="21"/>
                        </a:cxn>
                        <a:cxn ang="0">
                          <a:pos x="9" y="0"/>
                        </a:cxn>
                        <a:cxn ang="0">
                          <a:pos x="0" y="24"/>
                        </a:cxn>
                        <a:cxn ang="0">
                          <a:pos x="8" y="51"/>
                        </a:cxn>
                        <a:cxn ang="0">
                          <a:pos x="29" y="59"/>
                        </a:cxn>
                        <a:cxn ang="0">
                          <a:pos x="30" y="21"/>
                        </a:cxn>
                      </a:cxnLst>
                      <a:rect l="0" t="0" r="r" b="b"/>
                      <a:pathLst>
                        <a:path w="43" h="64">
                          <a:moveTo>
                            <a:pt x="30" y="21"/>
                          </a:moveTo>
                          <a:cubicBezTo>
                            <a:pt x="21" y="14"/>
                            <a:pt x="19" y="6"/>
                            <a:pt x="9" y="0"/>
                          </a:cubicBezTo>
                          <a:cubicBezTo>
                            <a:pt x="3" y="7"/>
                            <a:pt x="4" y="16"/>
                            <a:pt x="0" y="24"/>
                          </a:cubicBezTo>
                          <a:cubicBezTo>
                            <a:pt x="1" y="34"/>
                            <a:pt x="3" y="42"/>
                            <a:pt x="8" y="51"/>
                          </a:cubicBezTo>
                          <a:cubicBezTo>
                            <a:pt x="11" y="64"/>
                            <a:pt x="14" y="60"/>
                            <a:pt x="29" y="59"/>
                          </a:cubicBezTo>
                          <a:cubicBezTo>
                            <a:pt x="43" y="49"/>
                            <a:pt x="25" y="19"/>
                            <a:pt x="30" y="21"/>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197" name="Freeform 49">
                      <a:extLst>
                        <a:ext uri="{FF2B5EF4-FFF2-40B4-BE49-F238E27FC236}">
                          <a16:creationId xmlns:a16="http://schemas.microsoft.com/office/drawing/2014/main" id="{C128700D-76D0-4A56-9843-95A5BE5B9FFC}"/>
                        </a:ext>
                      </a:extLst>
                    </p:cNvPr>
                    <p:cNvSpPr>
                      <a:spLocks noChangeAspect="1"/>
                    </p:cNvSpPr>
                    <p:nvPr/>
                  </p:nvSpPr>
                  <p:spPr bwMode="auto">
                    <a:xfrm>
                      <a:off x="957" y="8910"/>
                      <a:ext cx="41" cy="26"/>
                    </a:xfrm>
                    <a:custGeom>
                      <a:avLst/>
                      <a:gdLst/>
                      <a:ahLst/>
                      <a:cxnLst>
                        <a:cxn ang="0">
                          <a:pos x="35" y="22"/>
                        </a:cxn>
                        <a:cxn ang="0">
                          <a:pos x="41" y="7"/>
                        </a:cxn>
                        <a:cxn ang="0">
                          <a:pos x="26" y="0"/>
                        </a:cxn>
                        <a:cxn ang="0">
                          <a:pos x="6" y="3"/>
                        </a:cxn>
                        <a:cxn ang="0">
                          <a:pos x="23" y="16"/>
                        </a:cxn>
                        <a:cxn ang="0">
                          <a:pos x="35" y="22"/>
                        </a:cxn>
                      </a:cxnLst>
                      <a:rect l="0" t="0" r="r" b="b"/>
                      <a:pathLst>
                        <a:path w="41" h="26">
                          <a:moveTo>
                            <a:pt x="35" y="22"/>
                          </a:moveTo>
                          <a:cubicBezTo>
                            <a:pt x="36" y="16"/>
                            <a:pt x="39" y="13"/>
                            <a:pt x="41" y="7"/>
                          </a:cubicBezTo>
                          <a:cubicBezTo>
                            <a:pt x="35" y="4"/>
                            <a:pt x="33" y="1"/>
                            <a:pt x="26" y="0"/>
                          </a:cubicBezTo>
                          <a:cubicBezTo>
                            <a:pt x="24" y="0"/>
                            <a:pt x="7" y="2"/>
                            <a:pt x="6" y="3"/>
                          </a:cubicBezTo>
                          <a:cubicBezTo>
                            <a:pt x="0" y="8"/>
                            <a:pt x="22" y="16"/>
                            <a:pt x="23" y="16"/>
                          </a:cubicBezTo>
                          <a:cubicBezTo>
                            <a:pt x="27" y="23"/>
                            <a:pt x="26" y="26"/>
                            <a:pt x="35" y="22"/>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198" name="Freeform 50">
                      <a:extLst>
                        <a:ext uri="{FF2B5EF4-FFF2-40B4-BE49-F238E27FC236}">
                          <a16:creationId xmlns:a16="http://schemas.microsoft.com/office/drawing/2014/main" id="{272255B9-512F-453F-8037-EDBDD83D1748}"/>
                        </a:ext>
                      </a:extLst>
                    </p:cNvPr>
                    <p:cNvSpPr>
                      <a:spLocks noChangeAspect="1"/>
                    </p:cNvSpPr>
                    <p:nvPr/>
                  </p:nvSpPr>
                  <p:spPr bwMode="auto">
                    <a:xfrm rot="10800000">
                      <a:off x="1142" y="9114"/>
                      <a:ext cx="60" cy="47"/>
                    </a:xfrm>
                    <a:custGeom>
                      <a:avLst/>
                      <a:gdLst/>
                      <a:ahLst/>
                      <a:cxnLst>
                        <a:cxn ang="0">
                          <a:pos x="23" y="18"/>
                        </a:cxn>
                        <a:cxn ang="0">
                          <a:pos x="44" y="0"/>
                        </a:cxn>
                        <a:cxn ang="0">
                          <a:pos x="38" y="11"/>
                        </a:cxn>
                        <a:cxn ang="0">
                          <a:pos x="21" y="39"/>
                        </a:cxn>
                        <a:cxn ang="0">
                          <a:pos x="0" y="32"/>
                        </a:cxn>
                        <a:cxn ang="0">
                          <a:pos x="23" y="18"/>
                        </a:cxn>
                      </a:cxnLst>
                      <a:rect l="0" t="0" r="r" b="b"/>
                      <a:pathLst>
                        <a:path w="60" h="47">
                          <a:moveTo>
                            <a:pt x="23" y="18"/>
                          </a:moveTo>
                          <a:cubicBezTo>
                            <a:pt x="28" y="8"/>
                            <a:pt x="33" y="4"/>
                            <a:pt x="44" y="0"/>
                          </a:cubicBezTo>
                          <a:cubicBezTo>
                            <a:pt x="60" y="5"/>
                            <a:pt x="48" y="9"/>
                            <a:pt x="38" y="11"/>
                          </a:cubicBezTo>
                          <a:cubicBezTo>
                            <a:pt x="26" y="21"/>
                            <a:pt x="39" y="35"/>
                            <a:pt x="21" y="39"/>
                          </a:cubicBezTo>
                          <a:cubicBezTo>
                            <a:pt x="10" y="47"/>
                            <a:pt x="6" y="40"/>
                            <a:pt x="0" y="32"/>
                          </a:cubicBezTo>
                          <a:cubicBezTo>
                            <a:pt x="4" y="16"/>
                            <a:pt x="9" y="14"/>
                            <a:pt x="23" y="18"/>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199" name="Freeform 51">
                      <a:extLst>
                        <a:ext uri="{FF2B5EF4-FFF2-40B4-BE49-F238E27FC236}">
                          <a16:creationId xmlns:a16="http://schemas.microsoft.com/office/drawing/2014/main" id="{58D85A75-EDEE-4452-93F6-EC04014AF654}"/>
                        </a:ext>
                      </a:extLst>
                    </p:cNvPr>
                    <p:cNvSpPr>
                      <a:spLocks noChangeAspect="1"/>
                    </p:cNvSpPr>
                    <p:nvPr/>
                  </p:nvSpPr>
                  <p:spPr bwMode="auto">
                    <a:xfrm>
                      <a:off x="1228" y="8903"/>
                      <a:ext cx="28" cy="23"/>
                    </a:xfrm>
                    <a:custGeom>
                      <a:avLst/>
                      <a:gdLst/>
                      <a:ahLst/>
                      <a:cxnLst>
                        <a:cxn ang="0">
                          <a:pos x="7" y="1"/>
                        </a:cxn>
                        <a:cxn ang="0">
                          <a:pos x="23" y="2"/>
                        </a:cxn>
                        <a:cxn ang="0">
                          <a:pos x="13" y="14"/>
                        </a:cxn>
                        <a:cxn ang="0">
                          <a:pos x="2" y="19"/>
                        </a:cxn>
                        <a:cxn ang="0">
                          <a:pos x="7" y="1"/>
                        </a:cxn>
                      </a:cxnLst>
                      <a:rect l="0" t="0" r="r" b="b"/>
                      <a:pathLst>
                        <a:path w="28" h="23">
                          <a:moveTo>
                            <a:pt x="7" y="1"/>
                          </a:moveTo>
                          <a:cubicBezTo>
                            <a:pt x="12" y="1"/>
                            <a:pt x="18" y="0"/>
                            <a:pt x="23" y="2"/>
                          </a:cubicBezTo>
                          <a:cubicBezTo>
                            <a:pt x="28" y="4"/>
                            <a:pt x="13" y="14"/>
                            <a:pt x="13" y="14"/>
                          </a:cubicBezTo>
                          <a:cubicBezTo>
                            <a:pt x="10" y="21"/>
                            <a:pt x="9" y="23"/>
                            <a:pt x="2" y="19"/>
                          </a:cubicBezTo>
                          <a:cubicBezTo>
                            <a:pt x="0" y="11"/>
                            <a:pt x="2" y="6"/>
                            <a:pt x="7" y="1"/>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00" name="Freeform 52">
                      <a:extLst>
                        <a:ext uri="{FF2B5EF4-FFF2-40B4-BE49-F238E27FC236}">
                          <a16:creationId xmlns:a16="http://schemas.microsoft.com/office/drawing/2014/main" id="{95E84B4C-3EC7-4B80-859D-FD3A3C2550BE}"/>
                        </a:ext>
                      </a:extLst>
                    </p:cNvPr>
                    <p:cNvSpPr>
                      <a:spLocks noChangeAspect="1"/>
                    </p:cNvSpPr>
                    <p:nvPr/>
                  </p:nvSpPr>
                  <p:spPr bwMode="auto">
                    <a:xfrm>
                      <a:off x="1528" y="9057"/>
                      <a:ext cx="29" cy="20"/>
                    </a:xfrm>
                    <a:custGeom>
                      <a:avLst/>
                      <a:gdLst/>
                      <a:ahLst/>
                      <a:cxnLst>
                        <a:cxn ang="0">
                          <a:pos x="29" y="9"/>
                        </a:cxn>
                        <a:cxn ang="0">
                          <a:pos x="16" y="0"/>
                        </a:cxn>
                        <a:cxn ang="0">
                          <a:pos x="13" y="18"/>
                        </a:cxn>
                        <a:cxn ang="0">
                          <a:pos x="29" y="9"/>
                        </a:cxn>
                      </a:cxnLst>
                      <a:rect l="0" t="0" r="r" b="b"/>
                      <a:pathLst>
                        <a:path w="29" h="20">
                          <a:moveTo>
                            <a:pt x="29" y="9"/>
                          </a:moveTo>
                          <a:cubicBezTo>
                            <a:pt x="25" y="6"/>
                            <a:pt x="20" y="3"/>
                            <a:pt x="16" y="0"/>
                          </a:cubicBezTo>
                          <a:cubicBezTo>
                            <a:pt x="5" y="1"/>
                            <a:pt x="0" y="13"/>
                            <a:pt x="13" y="18"/>
                          </a:cubicBezTo>
                          <a:cubicBezTo>
                            <a:pt x="27" y="16"/>
                            <a:pt x="29" y="20"/>
                            <a:pt x="29" y="9"/>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01" name="Freeform 53">
                      <a:extLst>
                        <a:ext uri="{FF2B5EF4-FFF2-40B4-BE49-F238E27FC236}">
                          <a16:creationId xmlns:a16="http://schemas.microsoft.com/office/drawing/2014/main" id="{81CC5407-F624-49FF-B5AA-CCEFC0EA6A99}"/>
                        </a:ext>
                      </a:extLst>
                    </p:cNvPr>
                    <p:cNvSpPr>
                      <a:spLocks noChangeAspect="1"/>
                    </p:cNvSpPr>
                    <p:nvPr/>
                  </p:nvSpPr>
                  <p:spPr bwMode="auto">
                    <a:xfrm>
                      <a:off x="1051" y="8989"/>
                      <a:ext cx="35" cy="22"/>
                    </a:xfrm>
                    <a:custGeom>
                      <a:avLst/>
                      <a:gdLst/>
                      <a:ahLst/>
                      <a:cxnLst>
                        <a:cxn ang="0">
                          <a:pos x="31" y="3"/>
                        </a:cxn>
                        <a:cxn ang="0">
                          <a:pos x="7" y="6"/>
                        </a:cxn>
                        <a:cxn ang="0">
                          <a:pos x="31" y="15"/>
                        </a:cxn>
                        <a:cxn ang="0">
                          <a:pos x="31" y="3"/>
                        </a:cxn>
                      </a:cxnLst>
                      <a:rect l="0" t="0" r="r" b="b"/>
                      <a:pathLst>
                        <a:path w="35" h="22">
                          <a:moveTo>
                            <a:pt x="31" y="3"/>
                          </a:moveTo>
                          <a:cubicBezTo>
                            <a:pt x="24" y="0"/>
                            <a:pt x="7" y="6"/>
                            <a:pt x="7" y="6"/>
                          </a:cubicBezTo>
                          <a:cubicBezTo>
                            <a:pt x="0" y="20"/>
                            <a:pt x="17" y="22"/>
                            <a:pt x="31" y="15"/>
                          </a:cubicBezTo>
                          <a:cubicBezTo>
                            <a:pt x="35" y="13"/>
                            <a:pt x="31" y="7"/>
                            <a:pt x="31" y="3"/>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02" name="Freeform 54">
                      <a:extLst>
                        <a:ext uri="{FF2B5EF4-FFF2-40B4-BE49-F238E27FC236}">
                          <a16:creationId xmlns:a16="http://schemas.microsoft.com/office/drawing/2014/main" id="{DF1FFEFA-9E13-4CC2-BD02-EDBB15B1D1A6}"/>
                        </a:ext>
                      </a:extLst>
                    </p:cNvPr>
                    <p:cNvSpPr>
                      <a:spLocks noChangeAspect="1"/>
                    </p:cNvSpPr>
                    <p:nvPr/>
                  </p:nvSpPr>
                  <p:spPr bwMode="auto">
                    <a:xfrm>
                      <a:off x="1022" y="9024"/>
                      <a:ext cx="27" cy="15"/>
                    </a:xfrm>
                    <a:custGeom>
                      <a:avLst/>
                      <a:gdLst/>
                      <a:ahLst/>
                      <a:cxnLst>
                        <a:cxn ang="0">
                          <a:pos x="9" y="0"/>
                        </a:cxn>
                        <a:cxn ang="0">
                          <a:pos x="1" y="13"/>
                        </a:cxn>
                        <a:cxn ang="0">
                          <a:pos x="16" y="12"/>
                        </a:cxn>
                        <a:cxn ang="0">
                          <a:pos x="9" y="0"/>
                        </a:cxn>
                      </a:cxnLst>
                      <a:rect l="0" t="0" r="r" b="b"/>
                      <a:pathLst>
                        <a:path w="27" h="15">
                          <a:moveTo>
                            <a:pt x="9" y="0"/>
                          </a:moveTo>
                          <a:cubicBezTo>
                            <a:pt x="0" y="2"/>
                            <a:pt x="0" y="4"/>
                            <a:pt x="1" y="13"/>
                          </a:cubicBezTo>
                          <a:cubicBezTo>
                            <a:pt x="6" y="13"/>
                            <a:pt x="12" y="15"/>
                            <a:pt x="16" y="12"/>
                          </a:cubicBezTo>
                          <a:cubicBezTo>
                            <a:pt x="27" y="2"/>
                            <a:pt x="12" y="0"/>
                            <a:pt x="9" y="0"/>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03" name="Freeform 55">
                      <a:extLst>
                        <a:ext uri="{FF2B5EF4-FFF2-40B4-BE49-F238E27FC236}">
                          <a16:creationId xmlns:a16="http://schemas.microsoft.com/office/drawing/2014/main" id="{DD5BF43B-5123-46D0-8B03-52F57CBF368C}"/>
                        </a:ext>
                      </a:extLst>
                    </p:cNvPr>
                    <p:cNvSpPr>
                      <a:spLocks noChangeAspect="1"/>
                    </p:cNvSpPr>
                    <p:nvPr/>
                  </p:nvSpPr>
                  <p:spPr bwMode="auto">
                    <a:xfrm>
                      <a:off x="1061" y="9279"/>
                      <a:ext cx="12" cy="15"/>
                    </a:xfrm>
                    <a:custGeom>
                      <a:avLst/>
                      <a:gdLst/>
                      <a:ahLst/>
                      <a:cxnLst>
                        <a:cxn ang="0">
                          <a:pos x="1" y="0"/>
                        </a:cxn>
                        <a:cxn ang="0">
                          <a:pos x="3" y="13"/>
                        </a:cxn>
                        <a:cxn ang="0">
                          <a:pos x="10" y="12"/>
                        </a:cxn>
                        <a:cxn ang="0">
                          <a:pos x="9" y="3"/>
                        </a:cxn>
                        <a:cxn ang="0">
                          <a:pos x="1" y="0"/>
                        </a:cxn>
                      </a:cxnLst>
                      <a:rect l="0" t="0" r="r" b="b"/>
                      <a:pathLst>
                        <a:path w="12" h="15">
                          <a:moveTo>
                            <a:pt x="1" y="0"/>
                          </a:moveTo>
                          <a:cubicBezTo>
                            <a:pt x="2" y="4"/>
                            <a:pt x="0" y="9"/>
                            <a:pt x="3" y="13"/>
                          </a:cubicBezTo>
                          <a:cubicBezTo>
                            <a:pt x="4" y="15"/>
                            <a:pt x="9" y="14"/>
                            <a:pt x="10" y="12"/>
                          </a:cubicBezTo>
                          <a:cubicBezTo>
                            <a:pt x="12" y="9"/>
                            <a:pt x="11" y="5"/>
                            <a:pt x="9" y="3"/>
                          </a:cubicBezTo>
                          <a:cubicBezTo>
                            <a:pt x="7" y="1"/>
                            <a:pt x="4" y="1"/>
                            <a:pt x="1" y="0"/>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04" name="Freeform 56">
                      <a:extLst>
                        <a:ext uri="{FF2B5EF4-FFF2-40B4-BE49-F238E27FC236}">
                          <a16:creationId xmlns:a16="http://schemas.microsoft.com/office/drawing/2014/main" id="{D1AB1EF9-9761-459A-A7E3-5A474AAE1CC0}"/>
                        </a:ext>
                      </a:extLst>
                    </p:cNvPr>
                    <p:cNvSpPr>
                      <a:spLocks noChangeAspect="1"/>
                    </p:cNvSpPr>
                    <p:nvPr/>
                  </p:nvSpPr>
                  <p:spPr bwMode="auto">
                    <a:xfrm>
                      <a:off x="1038" y="9316"/>
                      <a:ext cx="21" cy="19"/>
                    </a:xfrm>
                    <a:custGeom>
                      <a:avLst/>
                      <a:gdLst/>
                      <a:ahLst/>
                      <a:cxnLst>
                        <a:cxn ang="0">
                          <a:pos x="12" y="8"/>
                        </a:cxn>
                        <a:cxn ang="0">
                          <a:pos x="21" y="8"/>
                        </a:cxn>
                        <a:cxn ang="0">
                          <a:pos x="12" y="8"/>
                        </a:cxn>
                      </a:cxnLst>
                      <a:rect l="0" t="0" r="r" b="b"/>
                      <a:pathLst>
                        <a:path w="21" h="19">
                          <a:moveTo>
                            <a:pt x="12" y="8"/>
                          </a:moveTo>
                          <a:cubicBezTo>
                            <a:pt x="0" y="17"/>
                            <a:pt x="13" y="19"/>
                            <a:pt x="21" y="8"/>
                          </a:cubicBezTo>
                          <a:cubicBezTo>
                            <a:pt x="19" y="0"/>
                            <a:pt x="16" y="3"/>
                            <a:pt x="12" y="8"/>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05" name="Freeform 57">
                      <a:extLst>
                        <a:ext uri="{FF2B5EF4-FFF2-40B4-BE49-F238E27FC236}">
                          <a16:creationId xmlns:a16="http://schemas.microsoft.com/office/drawing/2014/main" id="{4177A438-8649-441A-B165-0066B2D66854}"/>
                        </a:ext>
                      </a:extLst>
                    </p:cNvPr>
                    <p:cNvSpPr>
                      <a:spLocks noChangeAspect="1"/>
                    </p:cNvSpPr>
                    <p:nvPr/>
                  </p:nvSpPr>
                  <p:spPr bwMode="auto">
                    <a:xfrm>
                      <a:off x="1511" y="9334"/>
                      <a:ext cx="25" cy="20"/>
                    </a:xfrm>
                    <a:custGeom>
                      <a:avLst/>
                      <a:gdLst/>
                      <a:ahLst/>
                      <a:cxnLst>
                        <a:cxn ang="0">
                          <a:pos x="16" y="5"/>
                        </a:cxn>
                        <a:cxn ang="0">
                          <a:pos x="13" y="20"/>
                        </a:cxn>
                        <a:cxn ang="0">
                          <a:pos x="21" y="18"/>
                        </a:cxn>
                        <a:cxn ang="0">
                          <a:pos x="16" y="5"/>
                        </a:cxn>
                      </a:cxnLst>
                      <a:rect l="0" t="0" r="r" b="b"/>
                      <a:pathLst>
                        <a:path w="25" h="20">
                          <a:moveTo>
                            <a:pt x="16" y="5"/>
                          </a:moveTo>
                          <a:cubicBezTo>
                            <a:pt x="2" y="7"/>
                            <a:pt x="0" y="13"/>
                            <a:pt x="13" y="20"/>
                          </a:cubicBezTo>
                          <a:cubicBezTo>
                            <a:pt x="16" y="19"/>
                            <a:pt x="19" y="20"/>
                            <a:pt x="21" y="18"/>
                          </a:cubicBezTo>
                          <a:cubicBezTo>
                            <a:pt x="25" y="12"/>
                            <a:pt x="9" y="0"/>
                            <a:pt x="16" y="5"/>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06" name="Freeform 58">
                      <a:extLst>
                        <a:ext uri="{FF2B5EF4-FFF2-40B4-BE49-F238E27FC236}">
                          <a16:creationId xmlns:a16="http://schemas.microsoft.com/office/drawing/2014/main" id="{61997E2D-37DC-4333-9205-CB1AE90BF012}"/>
                        </a:ext>
                      </a:extLst>
                    </p:cNvPr>
                    <p:cNvSpPr>
                      <a:spLocks noChangeAspect="1"/>
                    </p:cNvSpPr>
                    <p:nvPr/>
                  </p:nvSpPr>
                  <p:spPr bwMode="auto">
                    <a:xfrm>
                      <a:off x="1208" y="8959"/>
                      <a:ext cx="17" cy="8"/>
                    </a:xfrm>
                    <a:custGeom>
                      <a:avLst/>
                      <a:gdLst/>
                      <a:ahLst/>
                      <a:cxnLst>
                        <a:cxn ang="0">
                          <a:pos x="10" y="0"/>
                        </a:cxn>
                        <a:cxn ang="0">
                          <a:pos x="7" y="8"/>
                        </a:cxn>
                        <a:cxn ang="0">
                          <a:pos x="10" y="0"/>
                        </a:cxn>
                      </a:cxnLst>
                      <a:rect l="0" t="0" r="r" b="b"/>
                      <a:pathLst>
                        <a:path w="17" h="8">
                          <a:moveTo>
                            <a:pt x="10" y="0"/>
                          </a:moveTo>
                          <a:cubicBezTo>
                            <a:pt x="5" y="2"/>
                            <a:pt x="0" y="4"/>
                            <a:pt x="7" y="8"/>
                          </a:cubicBezTo>
                          <a:cubicBezTo>
                            <a:pt x="16" y="6"/>
                            <a:pt x="17" y="5"/>
                            <a:pt x="10" y="0"/>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07" name="Freeform 59">
                      <a:extLst>
                        <a:ext uri="{FF2B5EF4-FFF2-40B4-BE49-F238E27FC236}">
                          <a16:creationId xmlns:a16="http://schemas.microsoft.com/office/drawing/2014/main" id="{8407C02C-14CF-491F-B971-0F78E88388B5}"/>
                        </a:ext>
                      </a:extLst>
                    </p:cNvPr>
                    <p:cNvSpPr>
                      <a:spLocks noChangeAspect="1"/>
                    </p:cNvSpPr>
                    <p:nvPr/>
                  </p:nvSpPr>
                  <p:spPr bwMode="auto">
                    <a:xfrm>
                      <a:off x="1296" y="8838"/>
                      <a:ext cx="34" cy="10"/>
                    </a:xfrm>
                    <a:custGeom>
                      <a:avLst/>
                      <a:gdLst/>
                      <a:ahLst/>
                      <a:cxnLst>
                        <a:cxn ang="0">
                          <a:pos x="33" y="0"/>
                        </a:cxn>
                        <a:cxn ang="0">
                          <a:pos x="24" y="9"/>
                        </a:cxn>
                        <a:cxn ang="0">
                          <a:pos x="33" y="0"/>
                        </a:cxn>
                      </a:cxnLst>
                      <a:rect l="0" t="0" r="r" b="b"/>
                      <a:pathLst>
                        <a:path w="34" h="10">
                          <a:moveTo>
                            <a:pt x="33" y="0"/>
                          </a:moveTo>
                          <a:cubicBezTo>
                            <a:pt x="21" y="1"/>
                            <a:pt x="0" y="4"/>
                            <a:pt x="24" y="9"/>
                          </a:cubicBezTo>
                          <a:cubicBezTo>
                            <a:pt x="34" y="6"/>
                            <a:pt x="32" y="10"/>
                            <a:pt x="33" y="0"/>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08" name="Freeform 60">
                      <a:extLst>
                        <a:ext uri="{FF2B5EF4-FFF2-40B4-BE49-F238E27FC236}">
                          <a16:creationId xmlns:a16="http://schemas.microsoft.com/office/drawing/2014/main" id="{612E63B5-7CED-4020-B277-1EEAFF35DD3E}"/>
                        </a:ext>
                      </a:extLst>
                    </p:cNvPr>
                    <p:cNvSpPr>
                      <a:spLocks noChangeAspect="1"/>
                    </p:cNvSpPr>
                    <p:nvPr/>
                  </p:nvSpPr>
                  <p:spPr bwMode="auto">
                    <a:xfrm>
                      <a:off x="1218" y="8751"/>
                      <a:ext cx="22" cy="12"/>
                    </a:xfrm>
                    <a:custGeom>
                      <a:avLst/>
                      <a:gdLst/>
                      <a:ahLst/>
                      <a:cxnLst>
                        <a:cxn ang="0">
                          <a:pos x="9" y="0"/>
                        </a:cxn>
                        <a:cxn ang="0">
                          <a:pos x="1" y="12"/>
                        </a:cxn>
                        <a:cxn ang="0">
                          <a:pos x="9" y="0"/>
                        </a:cxn>
                      </a:cxnLst>
                      <a:rect l="0" t="0" r="r" b="b"/>
                      <a:pathLst>
                        <a:path w="22" h="12">
                          <a:moveTo>
                            <a:pt x="9" y="0"/>
                          </a:moveTo>
                          <a:cubicBezTo>
                            <a:pt x="0" y="2"/>
                            <a:pt x="0" y="1"/>
                            <a:pt x="1" y="12"/>
                          </a:cubicBezTo>
                          <a:cubicBezTo>
                            <a:pt x="22" y="9"/>
                            <a:pt x="12" y="10"/>
                            <a:pt x="9" y="0"/>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09" name="Freeform 61">
                      <a:extLst>
                        <a:ext uri="{FF2B5EF4-FFF2-40B4-BE49-F238E27FC236}">
                          <a16:creationId xmlns:a16="http://schemas.microsoft.com/office/drawing/2014/main" id="{78EF2F86-22D4-46D5-BC36-22B69EA8F1E0}"/>
                        </a:ext>
                      </a:extLst>
                    </p:cNvPr>
                    <p:cNvSpPr>
                      <a:spLocks noChangeAspect="1"/>
                    </p:cNvSpPr>
                    <p:nvPr/>
                  </p:nvSpPr>
                  <p:spPr bwMode="auto">
                    <a:xfrm>
                      <a:off x="1035" y="8778"/>
                      <a:ext cx="22" cy="12"/>
                    </a:xfrm>
                    <a:custGeom>
                      <a:avLst/>
                      <a:gdLst/>
                      <a:ahLst/>
                      <a:cxnLst>
                        <a:cxn ang="0">
                          <a:pos x="9" y="0"/>
                        </a:cxn>
                        <a:cxn ang="0">
                          <a:pos x="1" y="12"/>
                        </a:cxn>
                        <a:cxn ang="0">
                          <a:pos x="9" y="0"/>
                        </a:cxn>
                      </a:cxnLst>
                      <a:rect l="0" t="0" r="r" b="b"/>
                      <a:pathLst>
                        <a:path w="22" h="12">
                          <a:moveTo>
                            <a:pt x="9" y="0"/>
                          </a:moveTo>
                          <a:cubicBezTo>
                            <a:pt x="0" y="2"/>
                            <a:pt x="0" y="1"/>
                            <a:pt x="1" y="12"/>
                          </a:cubicBezTo>
                          <a:cubicBezTo>
                            <a:pt x="22" y="9"/>
                            <a:pt x="12" y="10"/>
                            <a:pt x="9" y="0"/>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10" name="Freeform 62">
                      <a:extLst>
                        <a:ext uri="{FF2B5EF4-FFF2-40B4-BE49-F238E27FC236}">
                          <a16:creationId xmlns:a16="http://schemas.microsoft.com/office/drawing/2014/main" id="{96B69AAA-1C51-46BB-BB31-61C5E9162C7C}"/>
                        </a:ext>
                      </a:extLst>
                    </p:cNvPr>
                    <p:cNvSpPr>
                      <a:spLocks noChangeAspect="1"/>
                    </p:cNvSpPr>
                    <p:nvPr/>
                  </p:nvSpPr>
                  <p:spPr bwMode="auto">
                    <a:xfrm>
                      <a:off x="1000" y="8912"/>
                      <a:ext cx="12" cy="15"/>
                    </a:xfrm>
                    <a:custGeom>
                      <a:avLst/>
                      <a:gdLst/>
                      <a:ahLst/>
                      <a:cxnLst>
                        <a:cxn ang="0">
                          <a:pos x="1" y="0"/>
                        </a:cxn>
                        <a:cxn ang="0">
                          <a:pos x="3" y="13"/>
                        </a:cxn>
                        <a:cxn ang="0">
                          <a:pos x="10" y="12"/>
                        </a:cxn>
                        <a:cxn ang="0">
                          <a:pos x="9" y="3"/>
                        </a:cxn>
                        <a:cxn ang="0">
                          <a:pos x="1" y="0"/>
                        </a:cxn>
                      </a:cxnLst>
                      <a:rect l="0" t="0" r="r" b="b"/>
                      <a:pathLst>
                        <a:path w="12" h="15">
                          <a:moveTo>
                            <a:pt x="1" y="0"/>
                          </a:moveTo>
                          <a:cubicBezTo>
                            <a:pt x="2" y="4"/>
                            <a:pt x="0" y="9"/>
                            <a:pt x="3" y="13"/>
                          </a:cubicBezTo>
                          <a:cubicBezTo>
                            <a:pt x="4" y="15"/>
                            <a:pt x="9" y="14"/>
                            <a:pt x="10" y="12"/>
                          </a:cubicBezTo>
                          <a:cubicBezTo>
                            <a:pt x="12" y="9"/>
                            <a:pt x="11" y="5"/>
                            <a:pt x="9" y="3"/>
                          </a:cubicBezTo>
                          <a:cubicBezTo>
                            <a:pt x="7" y="1"/>
                            <a:pt x="4" y="1"/>
                            <a:pt x="1" y="0"/>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11" name="Freeform 63">
                      <a:extLst>
                        <a:ext uri="{FF2B5EF4-FFF2-40B4-BE49-F238E27FC236}">
                          <a16:creationId xmlns:a16="http://schemas.microsoft.com/office/drawing/2014/main" id="{0B4C8B27-55D9-4CF4-9400-902F6A5F2108}"/>
                        </a:ext>
                      </a:extLst>
                    </p:cNvPr>
                    <p:cNvSpPr>
                      <a:spLocks noChangeAspect="1"/>
                    </p:cNvSpPr>
                    <p:nvPr/>
                  </p:nvSpPr>
                  <p:spPr bwMode="auto">
                    <a:xfrm>
                      <a:off x="995" y="8946"/>
                      <a:ext cx="17" cy="8"/>
                    </a:xfrm>
                    <a:custGeom>
                      <a:avLst/>
                      <a:gdLst/>
                      <a:ahLst/>
                      <a:cxnLst>
                        <a:cxn ang="0">
                          <a:pos x="10" y="0"/>
                        </a:cxn>
                        <a:cxn ang="0">
                          <a:pos x="7" y="8"/>
                        </a:cxn>
                        <a:cxn ang="0">
                          <a:pos x="10" y="0"/>
                        </a:cxn>
                      </a:cxnLst>
                      <a:rect l="0" t="0" r="r" b="b"/>
                      <a:pathLst>
                        <a:path w="17" h="8">
                          <a:moveTo>
                            <a:pt x="10" y="0"/>
                          </a:moveTo>
                          <a:cubicBezTo>
                            <a:pt x="5" y="2"/>
                            <a:pt x="0" y="4"/>
                            <a:pt x="7" y="8"/>
                          </a:cubicBezTo>
                          <a:cubicBezTo>
                            <a:pt x="16" y="6"/>
                            <a:pt x="17" y="5"/>
                            <a:pt x="10" y="0"/>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12" name="Freeform 64">
                      <a:extLst>
                        <a:ext uri="{FF2B5EF4-FFF2-40B4-BE49-F238E27FC236}">
                          <a16:creationId xmlns:a16="http://schemas.microsoft.com/office/drawing/2014/main" id="{CD8AEE81-5FD5-4E17-BB47-657595313A62}"/>
                        </a:ext>
                      </a:extLst>
                    </p:cNvPr>
                    <p:cNvSpPr>
                      <a:spLocks noChangeAspect="1"/>
                    </p:cNvSpPr>
                    <p:nvPr/>
                  </p:nvSpPr>
                  <p:spPr bwMode="auto">
                    <a:xfrm>
                      <a:off x="1142" y="9067"/>
                      <a:ext cx="22" cy="12"/>
                    </a:xfrm>
                    <a:custGeom>
                      <a:avLst/>
                      <a:gdLst/>
                      <a:ahLst/>
                      <a:cxnLst>
                        <a:cxn ang="0">
                          <a:pos x="9" y="0"/>
                        </a:cxn>
                        <a:cxn ang="0">
                          <a:pos x="1" y="12"/>
                        </a:cxn>
                        <a:cxn ang="0">
                          <a:pos x="9" y="0"/>
                        </a:cxn>
                      </a:cxnLst>
                      <a:rect l="0" t="0" r="r" b="b"/>
                      <a:pathLst>
                        <a:path w="22" h="12">
                          <a:moveTo>
                            <a:pt x="9" y="0"/>
                          </a:moveTo>
                          <a:cubicBezTo>
                            <a:pt x="0" y="2"/>
                            <a:pt x="0" y="1"/>
                            <a:pt x="1" y="12"/>
                          </a:cubicBezTo>
                          <a:cubicBezTo>
                            <a:pt x="22" y="9"/>
                            <a:pt x="12" y="10"/>
                            <a:pt x="9" y="0"/>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sp>
                  <p:nvSpPr>
                    <p:cNvPr id="213" name="Freeform 65">
                      <a:extLst>
                        <a:ext uri="{FF2B5EF4-FFF2-40B4-BE49-F238E27FC236}">
                          <a16:creationId xmlns:a16="http://schemas.microsoft.com/office/drawing/2014/main" id="{E5615264-5C61-40E6-9F1F-EF51837DC301}"/>
                        </a:ext>
                      </a:extLst>
                    </p:cNvPr>
                    <p:cNvSpPr>
                      <a:spLocks noChangeAspect="1"/>
                    </p:cNvSpPr>
                    <p:nvPr/>
                  </p:nvSpPr>
                  <p:spPr bwMode="auto">
                    <a:xfrm>
                      <a:off x="1258" y="9959"/>
                      <a:ext cx="48" cy="27"/>
                    </a:xfrm>
                    <a:custGeom>
                      <a:avLst/>
                      <a:gdLst/>
                      <a:ahLst/>
                      <a:cxnLst>
                        <a:cxn ang="0">
                          <a:pos x="7" y="16"/>
                        </a:cxn>
                        <a:cxn ang="0">
                          <a:pos x="47" y="8"/>
                        </a:cxn>
                        <a:cxn ang="0">
                          <a:pos x="46" y="2"/>
                        </a:cxn>
                        <a:cxn ang="0">
                          <a:pos x="29" y="11"/>
                        </a:cxn>
                        <a:cxn ang="0">
                          <a:pos x="2" y="13"/>
                        </a:cxn>
                        <a:cxn ang="0">
                          <a:pos x="7" y="16"/>
                        </a:cxn>
                      </a:cxnLst>
                      <a:rect l="0" t="0" r="r" b="b"/>
                      <a:pathLst>
                        <a:path w="48" h="27">
                          <a:moveTo>
                            <a:pt x="7" y="16"/>
                          </a:moveTo>
                          <a:cubicBezTo>
                            <a:pt x="21" y="15"/>
                            <a:pt x="36" y="17"/>
                            <a:pt x="47" y="8"/>
                          </a:cubicBezTo>
                          <a:cubicBezTo>
                            <a:pt x="47" y="6"/>
                            <a:pt x="48" y="3"/>
                            <a:pt x="46" y="2"/>
                          </a:cubicBezTo>
                          <a:cubicBezTo>
                            <a:pt x="41" y="0"/>
                            <a:pt x="31" y="9"/>
                            <a:pt x="29" y="11"/>
                          </a:cubicBezTo>
                          <a:cubicBezTo>
                            <a:pt x="22" y="17"/>
                            <a:pt x="11" y="12"/>
                            <a:pt x="2" y="13"/>
                          </a:cubicBezTo>
                          <a:cubicBezTo>
                            <a:pt x="0" y="27"/>
                            <a:pt x="21" y="25"/>
                            <a:pt x="7" y="16"/>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latin typeface="Proxima Nova A" panose="02000506030000020004" pitchFamily="2" charset="0"/>
                      </a:endParaRPr>
                    </a:p>
                  </p:txBody>
                </p:sp>
              </p:grpSp>
              <p:sp>
                <p:nvSpPr>
                  <p:cNvPr id="188" name="Freeform 1096">
                    <a:extLst>
                      <a:ext uri="{FF2B5EF4-FFF2-40B4-BE49-F238E27FC236}">
                        <a16:creationId xmlns:a16="http://schemas.microsoft.com/office/drawing/2014/main" id="{BD76E090-AB41-47F7-B667-C4F8D85EC7CE}"/>
                      </a:ext>
                    </a:extLst>
                  </p:cNvPr>
                  <p:cNvSpPr>
                    <a:spLocks/>
                  </p:cNvSpPr>
                  <p:nvPr/>
                </p:nvSpPr>
                <p:spPr bwMode="auto">
                  <a:xfrm>
                    <a:off x="5893269" y="3718482"/>
                    <a:ext cx="17940" cy="13800"/>
                  </a:xfrm>
                  <a:custGeom>
                    <a:avLst/>
                    <a:gdLst>
                      <a:gd name="T0" fmla="*/ 6 w 13"/>
                      <a:gd name="T1" fmla="*/ 10 h 10"/>
                      <a:gd name="T2" fmla="*/ 6 w 13"/>
                      <a:gd name="T3" fmla="*/ 10 h 10"/>
                      <a:gd name="T4" fmla="*/ 10 w 13"/>
                      <a:gd name="T5" fmla="*/ 10 h 10"/>
                      <a:gd name="T6" fmla="*/ 13 w 13"/>
                      <a:gd name="T7" fmla="*/ 6 h 10"/>
                      <a:gd name="T8" fmla="*/ 13 w 13"/>
                      <a:gd name="T9" fmla="*/ 6 h 10"/>
                      <a:gd name="T10" fmla="*/ 11 w 13"/>
                      <a:gd name="T11" fmla="*/ 3 h 10"/>
                      <a:gd name="T12" fmla="*/ 8 w 13"/>
                      <a:gd name="T13" fmla="*/ 1 h 10"/>
                      <a:gd name="T14" fmla="*/ 8 w 13"/>
                      <a:gd name="T15" fmla="*/ 1 h 10"/>
                      <a:gd name="T16" fmla="*/ 6 w 13"/>
                      <a:gd name="T17" fmla="*/ 0 h 10"/>
                      <a:gd name="T18" fmla="*/ 5 w 13"/>
                      <a:gd name="T19" fmla="*/ 0 h 10"/>
                      <a:gd name="T20" fmla="*/ 1 w 13"/>
                      <a:gd name="T21" fmla="*/ 0 h 10"/>
                      <a:gd name="T22" fmla="*/ 0 w 13"/>
                      <a:gd name="T23" fmla="*/ 3 h 10"/>
                      <a:gd name="T24" fmla="*/ 0 w 13"/>
                      <a:gd name="T25" fmla="*/ 3 h 10"/>
                      <a:gd name="T26" fmla="*/ 3 w 13"/>
                      <a:gd name="T27" fmla="*/ 8 h 10"/>
                      <a:gd name="T28" fmla="*/ 3 w 13"/>
                      <a:gd name="T29" fmla="*/ 8 h 10"/>
                      <a:gd name="T30" fmla="*/ 5 w 13"/>
                      <a:gd name="T31" fmla="*/ 10 h 10"/>
                      <a:gd name="T32" fmla="*/ 6 w 13"/>
                      <a:gd name="T33" fmla="*/ 10 h 10"/>
                      <a:gd name="T34" fmla="*/ 6 w 13"/>
                      <a:gd name="T35" fmla="*/ 10 h 10"/>
                      <a:gd name="T36" fmla="*/ 6 w 13"/>
                      <a:gd name="T3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 h="10">
                        <a:moveTo>
                          <a:pt x="6" y="10"/>
                        </a:moveTo>
                        <a:lnTo>
                          <a:pt x="6" y="10"/>
                        </a:lnTo>
                        <a:lnTo>
                          <a:pt x="10" y="10"/>
                        </a:lnTo>
                        <a:lnTo>
                          <a:pt x="13" y="6"/>
                        </a:lnTo>
                        <a:lnTo>
                          <a:pt x="13" y="6"/>
                        </a:lnTo>
                        <a:lnTo>
                          <a:pt x="11" y="3"/>
                        </a:lnTo>
                        <a:lnTo>
                          <a:pt x="8" y="1"/>
                        </a:lnTo>
                        <a:lnTo>
                          <a:pt x="8" y="1"/>
                        </a:lnTo>
                        <a:lnTo>
                          <a:pt x="6" y="0"/>
                        </a:lnTo>
                        <a:lnTo>
                          <a:pt x="5" y="0"/>
                        </a:lnTo>
                        <a:lnTo>
                          <a:pt x="1" y="0"/>
                        </a:lnTo>
                        <a:lnTo>
                          <a:pt x="0" y="3"/>
                        </a:lnTo>
                        <a:lnTo>
                          <a:pt x="0" y="3"/>
                        </a:lnTo>
                        <a:lnTo>
                          <a:pt x="3" y="8"/>
                        </a:lnTo>
                        <a:lnTo>
                          <a:pt x="3" y="8"/>
                        </a:lnTo>
                        <a:lnTo>
                          <a:pt x="5" y="10"/>
                        </a:lnTo>
                        <a:lnTo>
                          <a:pt x="6" y="10"/>
                        </a:lnTo>
                        <a:lnTo>
                          <a:pt x="6" y="10"/>
                        </a:lnTo>
                        <a:lnTo>
                          <a:pt x="6" y="1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a:latin typeface="Proxima Nova A" panose="02000506030000020004" pitchFamily="2" charset="0"/>
                    </a:endParaRPr>
                  </a:p>
                </p:txBody>
              </p:sp>
              <p:sp>
                <p:nvSpPr>
                  <p:cNvPr id="189" name="Freeform 1098">
                    <a:extLst>
                      <a:ext uri="{FF2B5EF4-FFF2-40B4-BE49-F238E27FC236}">
                        <a16:creationId xmlns:a16="http://schemas.microsoft.com/office/drawing/2014/main" id="{E890276B-522E-4CBC-AB82-ADF9BB445959}"/>
                      </a:ext>
                    </a:extLst>
                  </p:cNvPr>
                  <p:cNvSpPr>
                    <a:spLocks/>
                  </p:cNvSpPr>
                  <p:nvPr/>
                </p:nvSpPr>
                <p:spPr bwMode="auto">
                  <a:xfrm>
                    <a:off x="5758027" y="3660521"/>
                    <a:ext cx="13800" cy="13800"/>
                  </a:xfrm>
                  <a:custGeom>
                    <a:avLst/>
                    <a:gdLst>
                      <a:gd name="T0" fmla="*/ 5 w 10"/>
                      <a:gd name="T1" fmla="*/ 10 h 10"/>
                      <a:gd name="T2" fmla="*/ 5 w 10"/>
                      <a:gd name="T3" fmla="*/ 10 h 10"/>
                      <a:gd name="T4" fmla="*/ 6 w 10"/>
                      <a:gd name="T5" fmla="*/ 7 h 10"/>
                      <a:gd name="T6" fmla="*/ 10 w 10"/>
                      <a:gd name="T7" fmla="*/ 3 h 10"/>
                      <a:gd name="T8" fmla="*/ 10 w 10"/>
                      <a:gd name="T9" fmla="*/ 3 h 10"/>
                      <a:gd name="T10" fmla="*/ 10 w 10"/>
                      <a:gd name="T11" fmla="*/ 0 h 10"/>
                      <a:gd name="T12" fmla="*/ 6 w 10"/>
                      <a:gd name="T13" fmla="*/ 0 h 10"/>
                      <a:gd name="T14" fmla="*/ 6 w 10"/>
                      <a:gd name="T15" fmla="*/ 0 h 10"/>
                      <a:gd name="T16" fmla="*/ 3 w 10"/>
                      <a:gd name="T17" fmla="*/ 2 h 10"/>
                      <a:gd name="T18" fmla="*/ 0 w 10"/>
                      <a:gd name="T19" fmla="*/ 5 h 10"/>
                      <a:gd name="T20" fmla="*/ 1 w 10"/>
                      <a:gd name="T21" fmla="*/ 8 h 10"/>
                      <a:gd name="T22" fmla="*/ 5 w 10"/>
                      <a:gd name="T23" fmla="*/ 10 h 10"/>
                      <a:gd name="T24" fmla="*/ 5 w 10"/>
                      <a:gd name="T2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0">
                        <a:moveTo>
                          <a:pt x="5" y="10"/>
                        </a:moveTo>
                        <a:lnTo>
                          <a:pt x="5" y="10"/>
                        </a:lnTo>
                        <a:lnTo>
                          <a:pt x="6" y="7"/>
                        </a:lnTo>
                        <a:lnTo>
                          <a:pt x="10" y="3"/>
                        </a:lnTo>
                        <a:lnTo>
                          <a:pt x="10" y="3"/>
                        </a:lnTo>
                        <a:lnTo>
                          <a:pt x="10" y="0"/>
                        </a:lnTo>
                        <a:lnTo>
                          <a:pt x="6" y="0"/>
                        </a:lnTo>
                        <a:lnTo>
                          <a:pt x="6" y="0"/>
                        </a:lnTo>
                        <a:lnTo>
                          <a:pt x="3" y="2"/>
                        </a:lnTo>
                        <a:lnTo>
                          <a:pt x="0" y="5"/>
                        </a:lnTo>
                        <a:lnTo>
                          <a:pt x="1" y="8"/>
                        </a:lnTo>
                        <a:lnTo>
                          <a:pt x="5" y="10"/>
                        </a:lnTo>
                        <a:lnTo>
                          <a:pt x="5" y="1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a:latin typeface="Proxima Nova A" panose="02000506030000020004" pitchFamily="2" charset="0"/>
                    </a:endParaRPr>
                  </a:p>
                </p:txBody>
              </p:sp>
              <p:sp>
                <p:nvSpPr>
                  <p:cNvPr id="190" name="Freeform 1102">
                    <a:extLst>
                      <a:ext uri="{FF2B5EF4-FFF2-40B4-BE49-F238E27FC236}">
                        <a16:creationId xmlns:a16="http://schemas.microsoft.com/office/drawing/2014/main" id="{7AB133E0-0480-48C7-94DD-421CC0C275FD}"/>
                      </a:ext>
                    </a:extLst>
                  </p:cNvPr>
                  <p:cNvSpPr>
                    <a:spLocks/>
                  </p:cNvSpPr>
                  <p:nvPr/>
                </p:nvSpPr>
                <p:spPr bwMode="auto">
                  <a:xfrm>
                    <a:off x="5851868" y="3657761"/>
                    <a:ext cx="11040" cy="26220"/>
                  </a:xfrm>
                  <a:custGeom>
                    <a:avLst/>
                    <a:gdLst>
                      <a:gd name="T0" fmla="*/ 6 w 8"/>
                      <a:gd name="T1" fmla="*/ 19 h 19"/>
                      <a:gd name="T2" fmla="*/ 6 w 8"/>
                      <a:gd name="T3" fmla="*/ 19 h 19"/>
                      <a:gd name="T4" fmla="*/ 6 w 8"/>
                      <a:gd name="T5" fmla="*/ 10 h 19"/>
                      <a:gd name="T6" fmla="*/ 8 w 8"/>
                      <a:gd name="T7" fmla="*/ 2 h 19"/>
                      <a:gd name="T8" fmla="*/ 8 w 8"/>
                      <a:gd name="T9" fmla="*/ 2 h 19"/>
                      <a:gd name="T10" fmla="*/ 6 w 8"/>
                      <a:gd name="T11" fmla="*/ 0 h 19"/>
                      <a:gd name="T12" fmla="*/ 3 w 8"/>
                      <a:gd name="T13" fmla="*/ 2 h 19"/>
                      <a:gd name="T14" fmla="*/ 3 w 8"/>
                      <a:gd name="T15" fmla="*/ 2 h 19"/>
                      <a:gd name="T16" fmla="*/ 2 w 8"/>
                      <a:gd name="T17" fmla="*/ 7 h 19"/>
                      <a:gd name="T18" fmla="*/ 0 w 8"/>
                      <a:gd name="T19" fmla="*/ 10 h 19"/>
                      <a:gd name="T20" fmla="*/ 0 w 8"/>
                      <a:gd name="T21" fmla="*/ 10 h 19"/>
                      <a:gd name="T22" fmla="*/ 0 w 8"/>
                      <a:gd name="T23" fmla="*/ 15 h 19"/>
                      <a:gd name="T24" fmla="*/ 0 w 8"/>
                      <a:gd name="T25" fmla="*/ 17 h 19"/>
                      <a:gd name="T26" fmla="*/ 2 w 8"/>
                      <a:gd name="T27" fmla="*/ 19 h 19"/>
                      <a:gd name="T28" fmla="*/ 6 w 8"/>
                      <a:gd name="T29" fmla="*/ 19 h 19"/>
                      <a:gd name="T30" fmla="*/ 6 w 8"/>
                      <a:gd name="T31"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9">
                        <a:moveTo>
                          <a:pt x="6" y="19"/>
                        </a:moveTo>
                        <a:lnTo>
                          <a:pt x="6" y="19"/>
                        </a:lnTo>
                        <a:lnTo>
                          <a:pt x="6" y="10"/>
                        </a:lnTo>
                        <a:lnTo>
                          <a:pt x="8" y="2"/>
                        </a:lnTo>
                        <a:lnTo>
                          <a:pt x="8" y="2"/>
                        </a:lnTo>
                        <a:lnTo>
                          <a:pt x="6" y="0"/>
                        </a:lnTo>
                        <a:lnTo>
                          <a:pt x="3" y="2"/>
                        </a:lnTo>
                        <a:lnTo>
                          <a:pt x="3" y="2"/>
                        </a:lnTo>
                        <a:lnTo>
                          <a:pt x="2" y="7"/>
                        </a:lnTo>
                        <a:lnTo>
                          <a:pt x="0" y="10"/>
                        </a:lnTo>
                        <a:lnTo>
                          <a:pt x="0" y="10"/>
                        </a:lnTo>
                        <a:lnTo>
                          <a:pt x="0" y="15"/>
                        </a:lnTo>
                        <a:lnTo>
                          <a:pt x="0" y="17"/>
                        </a:lnTo>
                        <a:lnTo>
                          <a:pt x="2" y="19"/>
                        </a:lnTo>
                        <a:lnTo>
                          <a:pt x="6" y="19"/>
                        </a:lnTo>
                        <a:lnTo>
                          <a:pt x="6" y="19"/>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a:latin typeface="Proxima Nova A" panose="02000506030000020004" pitchFamily="2" charset="0"/>
                    </a:endParaRPr>
                  </a:p>
                </p:txBody>
              </p:sp>
              <p:sp>
                <p:nvSpPr>
                  <p:cNvPr id="191" name="Freeform 1104">
                    <a:extLst>
                      <a:ext uri="{FF2B5EF4-FFF2-40B4-BE49-F238E27FC236}">
                        <a16:creationId xmlns:a16="http://schemas.microsoft.com/office/drawing/2014/main" id="{7C7514BA-DCDE-4B50-B0C4-398A77693374}"/>
                      </a:ext>
                    </a:extLst>
                  </p:cNvPr>
                  <p:cNvSpPr>
                    <a:spLocks/>
                  </p:cNvSpPr>
                  <p:nvPr/>
                </p:nvSpPr>
                <p:spPr bwMode="auto">
                  <a:xfrm>
                    <a:off x="5803567" y="3692262"/>
                    <a:ext cx="13800" cy="13800"/>
                  </a:xfrm>
                  <a:custGeom>
                    <a:avLst/>
                    <a:gdLst>
                      <a:gd name="T0" fmla="*/ 10 w 10"/>
                      <a:gd name="T1" fmla="*/ 10 h 10"/>
                      <a:gd name="T2" fmla="*/ 10 w 10"/>
                      <a:gd name="T3" fmla="*/ 10 h 10"/>
                      <a:gd name="T4" fmla="*/ 8 w 10"/>
                      <a:gd name="T5" fmla="*/ 5 h 10"/>
                      <a:gd name="T6" fmla="*/ 7 w 10"/>
                      <a:gd name="T7" fmla="*/ 0 h 10"/>
                      <a:gd name="T8" fmla="*/ 7 w 10"/>
                      <a:gd name="T9" fmla="*/ 0 h 10"/>
                      <a:gd name="T10" fmla="*/ 0 w 10"/>
                      <a:gd name="T11" fmla="*/ 0 h 10"/>
                      <a:gd name="T12" fmla="*/ 0 w 10"/>
                      <a:gd name="T13" fmla="*/ 0 h 10"/>
                      <a:gd name="T14" fmla="*/ 0 w 10"/>
                      <a:gd name="T15" fmla="*/ 2 h 10"/>
                      <a:gd name="T16" fmla="*/ 0 w 10"/>
                      <a:gd name="T17" fmla="*/ 4 h 10"/>
                      <a:gd name="T18" fmla="*/ 0 w 10"/>
                      <a:gd name="T19" fmla="*/ 4 h 10"/>
                      <a:gd name="T20" fmla="*/ 0 w 10"/>
                      <a:gd name="T21" fmla="*/ 7 h 10"/>
                      <a:gd name="T22" fmla="*/ 2 w 10"/>
                      <a:gd name="T23" fmla="*/ 9 h 10"/>
                      <a:gd name="T24" fmla="*/ 10 w 10"/>
                      <a:gd name="T25" fmla="*/ 10 h 10"/>
                      <a:gd name="T26" fmla="*/ 10 w 10"/>
                      <a:gd name="T2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10">
                        <a:moveTo>
                          <a:pt x="10" y="10"/>
                        </a:moveTo>
                        <a:lnTo>
                          <a:pt x="10" y="10"/>
                        </a:lnTo>
                        <a:lnTo>
                          <a:pt x="8" y="5"/>
                        </a:lnTo>
                        <a:lnTo>
                          <a:pt x="7" y="0"/>
                        </a:lnTo>
                        <a:lnTo>
                          <a:pt x="7" y="0"/>
                        </a:lnTo>
                        <a:lnTo>
                          <a:pt x="0" y="0"/>
                        </a:lnTo>
                        <a:lnTo>
                          <a:pt x="0" y="0"/>
                        </a:lnTo>
                        <a:lnTo>
                          <a:pt x="0" y="2"/>
                        </a:lnTo>
                        <a:lnTo>
                          <a:pt x="0" y="4"/>
                        </a:lnTo>
                        <a:lnTo>
                          <a:pt x="0" y="4"/>
                        </a:lnTo>
                        <a:lnTo>
                          <a:pt x="0" y="7"/>
                        </a:lnTo>
                        <a:lnTo>
                          <a:pt x="2" y="9"/>
                        </a:lnTo>
                        <a:lnTo>
                          <a:pt x="10" y="10"/>
                        </a:lnTo>
                        <a:lnTo>
                          <a:pt x="10" y="1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a:latin typeface="Proxima Nova A" panose="02000506030000020004" pitchFamily="2" charset="0"/>
                    </a:endParaRPr>
                  </a:p>
                </p:txBody>
              </p:sp>
              <p:sp>
                <p:nvSpPr>
                  <p:cNvPr id="192" name="Freeform 1108">
                    <a:extLst>
                      <a:ext uri="{FF2B5EF4-FFF2-40B4-BE49-F238E27FC236}">
                        <a16:creationId xmlns:a16="http://schemas.microsoft.com/office/drawing/2014/main" id="{B9D71558-281B-405A-B116-2B8957CB7BD3}"/>
                      </a:ext>
                    </a:extLst>
                  </p:cNvPr>
                  <p:cNvSpPr>
                    <a:spLocks/>
                  </p:cNvSpPr>
                  <p:nvPr/>
                </p:nvSpPr>
                <p:spPr bwMode="auto">
                  <a:xfrm>
                    <a:off x="5858768" y="3642581"/>
                    <a:ext cx="11040" cy="8280"/>
                  </a:xfrm>
                  <a:custGeom>
                    <a:avLst/>
                    <a:gdLst>
                      <a:gd name="T0" fmla="*/ 3 w 8"/>
                      <a:gd name="T1" fmla="*/ 6 h 6"/>
                      <a:gd name="T2" fmla="*/ 3 w 8"/>
                      <a:gd name="T3" fmla="*/ 6 h 6"/>
                      <a:gd name="T4" fmla="*/ 6 w 8"/>
                      <a:gd name="T5" fmla="*/ 6 h 6"/>
                      <a:gd name="T6" fmla="*/ 6 w 8"/>
                      <a:gd name="T7" fmla="*/ 6 h 6"/>
                      <a:gd name="T8" fmla="*/ 8 w 8"/>
                      <a:gd name="T9" fmla="*/ 5 h 6"/>
                      <a:gd name="T10" fmla="*/ 6 w 8"/>
                      <a:gd name="T11" fmla="*/ 1 h 6"/>
                      <a:gd name="T12" fmla="*/ 1 w 8"/>
                      <a:gd name="T13" fmla="*/ 0 h 6"/>
                      <a:gd name="T14" fmla="*/ 1 w 8"/>
                      <a:gd name="T15" fmla="*/ 0 h 6"/>
                      <a:gd name="T16" fmla="*/ 0 w 8"/>
                      <a:gd name="T17" fmla="*/ 1 h 6"/>
                      <a:gd name="T18" fmla="*/ 0 w 8"/>
                      <a:gd name="T19" fmla="*/ 3 h 6"/>
                      <a:gd name="T20" fmla="*/ 1 w 8"/>
                      <a:gd name="T21" fmla="*/ 5 h 6"/>
                      <a:gd name="T22" fmla="*/ 3 w 8"/>
                      <a:gd name="T23" fmla="*/ 6 h 6"/>
                      <a:gd name="T24" fmla="*/ 3 w 8"/>
                      <a:gd name="T2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3" y="6"/>
                        </a:moveTo>
                        <a:lnTo>
                          <a:pt x="3" y="6"/>
                        </a:lnTo>
                        <a:lnTo>
                          <a:pt x="6" y="6"/>
                        </a:lnTo>
                        <a:lnTo>
                          <a:pt x="6" y="6"/>
                        </a:lnTo>
                        <a:lnTo>
                          <a:pt x="8" y="5"/>
                        </a:lnTo>
                        <a:lnTo>
                          <a:pt x="6" y="1"/>
                        </a:lnTo>
                        <a:lnTo>
                          <a:pt x="1" y="0"/>
                        </a:lnTo>
                        <a:lnTo>
                          <a:pt x="1" y="0"/>
                        </a:lnTo>
                        <a:lnTo>
                          <a:pt x="0" y="1"/>
                        </a:lnTo>
                        <a:lnTo>
                          <a:pt x="0" y="3"/>
                        </a:lnTo>
                        <a:lnTo>
                          <a:pt x="1" y="5"/>
                        </a:lnTo>
                        <a:lnTo>
                          <a:pt x="3" y="6"/>
                        </a:lnTo>
                        <a:lnTo>
                          <a:pt x="3" y="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a:latin typeface="Proxima Nova A" panose="02000506030000020004" pitchFamily="2" charset="0"/>
                    </a:endParaRPr>
                  </a:p>
                </p:txBody>
              </p:sp>
              <p:sp>
                <p:nvSpPr>
                  <p:cNvPr id="193" name="Freeform 1109">
                    <a:extLst>
                      <a:ext uri="{FF2B5EF4-FFF2-40B4-BE49-F238E27FC236}">
                        <a16:creationId xmlns:a16="http://schemas.microsoft.com/office/drawing/2014/main" id="{A1356F34-FBC4-4677-B216-FA46C8D91BCB}"/>
                      </a:ext>
                    </a:extLst>
                  </p:cNvPr>
                  <p:cNvSpPr>
                    <a:spLocks/>
                  </p:cNvSpPr>
                  <p:nvPr/>
                </p:nvSpPr>
                <p:spPr bwMode="auto">
                  <a:xfrm>
                    <a:off x="5873949" y="3649481"/>
                    <a:ext cx="9660" cy="6900"/>
                  </a:xfrm>
                  <a:custGeom>
                    <a:avLst/>
                    <a:gdLst>
                      <a:gd name="T0" fmla="*/ 7 w 7"/>
                      <a:gd name="T1" fmla="*/ 3 h 5"/>
                      <a:gd name="T2" fmla="*/ 7 w 7"/>
                      <a:gd name="T3" fmla="*/ 3 h 5"/>
                      <a:gd name="T4" fmla="*/ 7 w 7"/>
                      <a:gd name="T5" fmla="*/ 1 h 5"/>
                      <a:gd name="T6" fmla="*/ 7 w 7"/>
                      <a:gd name="T7" fmla="*/ 1 h 5"/>
                      <a:gd name="T8" fmla="*/ 2 w 7"/>
                      <a:gd name="T9" fmla="*/ 0 h 5"/>
                      <a:gd name="T10" fmla="*/ 2 w 7"/>
                      <a:gd name="T11" fmla="*/ 0 h 5"/>
                      <a:gd name="T12" fmla="*/ 0 w 7"/>
                      <a:gd name="T13" fmla="*/ 1 h 5"/>
                      <a:gd name="T14" fmla="*/ 0 w 7"/>
                      <a:gd name="T15" fmla="*/ 3 h 5"/>
                      <a:gd name="T16" fmla="*/ 2 w 7"/>
                      <a:gd name="T17" fmla="*/ 5 h 5"/>
                      <a:gd name="T18" fmla="*/ 2 w 7"/>
                      <a:gd name="T19" fmla="*/ 5 h 5"/>
                      <a:gd name="T20" fmla="*/ 5 w 7"/>
                      <a:gd name="T21" fmla="*/ 5 h 5"/>
                      <a:gd name="T22" fmla="*/ 7 w 7"/>
                      <a:gd name="T23" fmla="*/ 3 h 5"/>
                      <a:gd name="T24" fmla="*/ 7 w 7"/>
                      <a:gd name="T2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5">
                        <a:moveTo>
                          <a:pt x="7" y="3"/>
                        </a:moveTo>
                        <a:lnTo>
                          <a:pt x="7" y="3"/>
                        </a:lnTo>
                        <a:lnTo>
                          <a:pt x="7" y="1"/>
                        </a:lnTo>
                        <a:lnTo>
                          <a:pt x="7" y="1"/>
                        </a:lnTo>
                        <a:lnTo>
                          <a:pt x="2" y="0"/>
                        </a:lnTo>
                        <a:lnTo>
                          <a:pt x="2" y="0"/>
                        </a:lnTo>
                        <a:lnTo>
                          <a:pt x="0" y="1"/>
                        </a:lnTo>
                        <a:lnTo>
                          <a:pt x="0" y="3"/>
                        </a:lnTo>
                        <a:lnTo>
                          <a:pt x="2" y="5"/>
                        </a:lnTo>
                        <a:lnTo>
                          <a:pt x="2" y="5"/>
                        </a:lnTo>
                        <a:lnTo>
                          <a:pt x="5" y="5"/>
                        </a:lnTo>
                        <a:lnTo>
                          <a:pt x="7" y="3"/>
                        </a:lnTo>
                        <a:lnTo>
                          <a:pt x="7" y="3"/>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a:latin typeface="Proxima Nova A" panose="02000506030000020004" pitchFamily="2" charset="0"/>
                    </a:endParaRPr>
                  </a:p>
                </p:txBody>
              </p:sp>
              <p:sp>
                <p:nvSpPr>
                  <p:cNvPr id="194" name="Freeform 1145">
                    <a:extLst>
                      <a:ext uri="{FF2B5EF4-FFF2-40B4-BE49-F238E27FC236}">
                        <a16:creationId xmlns:a16="http://schemas.microsoft.com/office/drawing/2014/main" id="{1F440750-3B99-4DDF-87F9-D23059C660E0}"/>
                      </a:ext>
                    </a:extLst>
                  </p:cNvPr>
                  <p:cNvSpPr>
                    <a:spLocks/>
                  </p:cNvSpPr>
                  <p:nvPr/>
                </p:nvSpPr>
                <p:spPr bwMode="auto">
                  <a:xfrm>
                    <a:off x="3413368" y="5749875"/>
                    <a:ext cx="13800" cy="27600"/>
                  </a:xfrm>
                  <a:custGeom>
                    <a:avLst/>
                    <a:gdLst>
                      <a:gd name="T0" fmla="*/ 2 w 10"/>
                      <a:gd name="T1" fmla="*/ 20 h 20"/>
                      <a:gd name="T2" fmla="*/ 2 w 10"/>
                      <a:gd name="T3" fmla="*/ 20 h 20"/>
                      <a:gd name="T4" fmla="*/ 9 w 10"/>
                      <a:gd name="T5" fmla="*/ 18 h 20"/>
                      <a:gd name="T6" fmla="*/ 10 w 10"/>
                      <a:gd name="T7" fmla="*/ 18 h 20"/>
                      <a:gd name="T8" fmla="*/ 10 w 10"/>
                      <a:gd name="T9" fmla="*/ 15 h 20"/>
                      <a:gd name="T10" fmla="*/ 10 w 10"/>
                      <a:gd name="T11" fmla="*/ 15 h 20"/>
                      <a:gd name="T12" fmla="*/ 10 w 10"/>
                      <a:gd name="T13" fmla="*/ 6 h 20"/>
                      <a:gd name="T14" fmla="*/ 10 w 10"/>
                      <a:gd name="T15" fmla="*/ 3 h 20"/>
                      <a:gd name="T16" fmla="*/ 9 w 10"/>
                      <a:gd name="T17" fmla="*/ 0 h 20"/>
                      <a:gd name="T18" fmla="*/ 9 w 10"/>
                      <a:gd name="T19" fmla="*/ 0 h 20"/>
                      <a:gd name="T20" fmla="*/ 5 w 10"/>
                      <a:gd name="T21" fmla="*/ 1 h 20"/>
                      <a:gd name="T22" fmla="*/ 4 w 10"/>
                      <a:gd name="T23" fmla="*/ 5 h 20"/>
                      <a:gd name="T24" fmla="*/ 4 w 10"/>
                      <a:gd name="T25" fmla="*/ 5 h 20"/>
                      <a:gd name="T26" fmla="*/ 2 w 10"/>
                      <a:gd name="T27" fmla="*/ 10 h 20"/>
                      <a:gd name="T28" fmla="*/ 0 w 10"/>
                      <a:gd name="T29" fmla="*/ 13 h 20"/>
                      <a:gd name="T30" fmla="*/ 0 w 10"/>
                      <a:gd name="T31" fmla="*/ 13 h 20"/>
                      <a:gd name="T32" fmla="*/ 0 w 10"/>
                      <a:gd name="T33" fmla="*/ 16 h 20"/>
                      <a:gd name="T34" fmla="*/ 0 w 10"/>
                      <a:gd name="T35" fmla="*/ 18 h 20"/>
                      <a:gd name="T36" fmla="*/ 0 w 10"/>
                      <a:gd name="T37" fmla="*/ 18 h 20"/>
                      <a:gd name="T38" fmla="*/ 2 w 10"/>
                      <a:gd name="T39" fmla="*/ 20 h 20"/>
                      <a:gd name="T40" fmla="*/ 2 w 10"/>
                      <a:gd name="T41" fmla="*/ 20 h 20"/>
                      <a:gd name="T42" fmla="*/ 2 w 10"/>
                      <a:gd name="T43" fmla="*/ 18 h 20"/>
                      <a:gd name="T44" fmla="*/ 2 w 10"/>
                      <a:gd name="T45" fmla="*/ 20 h 20"/>
                      <a:gd name="T46" fmla="*/ 2 w 10"/>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 h="20">
                        <a:moveTo>
                          <a:pt x="2" y="20"/>
                        </a:moveTo>
                        <a:lnTo>
                          <a:pt x="2" y="20"/>
                        </a:lnTo>
                        <a:lnTo>
                          <a:pt x="9" y="18"/>
                        </a:lnTo>
                        <a:lnTo>
                          <a:pt x="10" y="18"/>
                        </a:lnTo>
                        <a:lnTo>
                          <a:pt x="10" y="15"/>
                        </a:lnTo>
                        <a:lnTo>
                          <a:pt x="10" y="15"/>
                        </a:lnTo>
                        <a:lnTo>
                          <a:pt x="10" y="6"/>
                        </a:lnTo>
                        <a:lnTo>
                          <a:pt x="10" y="3"/>
                        </a:lnTo>
                        <a:lnTo>
                          <a:pt x="9" y="0"/>
                        </a:lnTo>
                        <a:lnTo>
                          <a:pt x="9" y="0"/>
                        </a:lnTo>
                        <a:lnTo>
                          <a:pt x="5" y="1"/>
                        </a:lnTo>
                        <a:lnTo>
                          <a:pt x="4" y="5"/>
                        </a:lnTo>
                        <a:lnTo>
                          <a:pt x="4" y="5"/>
                        </a:lnTo>
                        <a:lnTo>
                          <a:pt x="2" y="10"/>
                        </a:lnTo>
                        <a:lnTo>
                          <a:pt x="0" y="13"/>
                        </a:lnTo>
                        <a:lnTo>
                          <a:pt x="0" y="13"/>
                        </a:lnTo>
                        <a:lnTo>
                          <a:pt x="0" y="16"/>
                        </a:lnTo>
                        <a:lnTo>
                          <a:pt x="0" y="18"/>
                        </a:lnTo>
                        <a:lnTo>
                          <a:pt x="0" y="18"/>
                        </a:lnTo>
                        <a:lnTo>
                          <a:pt x="2" y="20"/>
                        </a:lnTo>
                        <a:lnTo>
                          <a:pt x="2" y="20"/>
                        </a:lnTo>
                        <a:lnTo>
                          <a:pt x="2" y="18"/>
                        </a:lnTo>
                        <a:lnTo>
                          <a:pt x="2" y="20"/>
                        </a:lnTo>
                        <a:lnTo>
                          <a:pt x="2" y="2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IN">
                      <a:latin typeface="Proxima Nova A" panose="02000506030000020004" pitchFamily="2" charset="0"/>
                    </a:endParaRPr>
                  </a:p>
                </p:txBody>
              </p:sp>
            </p:grpSp>
            <p:sp>
              <p:nvSpPr>
                <p:cNvPr id="142" name="Freeform 161">
                  <a:extLst>
                    <a:ext uri="{FF2B5EF4-FFF2-40B4-BE49-F238E27FC236}">
                      <a16:creationId xmlns:a16="http://schemas.microsoft.com/office/drawing/2014/main" id="{FB8AB189-9E7E-4BA1-9BF5-56F0CF732808}"/>
                    </a:ext>
                  </a:extLst>
                </p:cNvPr>
                <p:cNvSpPr>
                  <a:spLocks/>
                </p:cNvSpPr>
                <p:nvPr/>
              </p:nvSpPr>
              <p:spPr bwMode="auto">
                <a:xfrm>
                  <a:off x="3623372" y="2344640"/>
                  <a:ext cx="47625" cy="55562"/>
                </a:xfrm>
                <a:custGeom>
                  <a:avLst/>
                  <a:gdLst/>
                  <a:ahLst/>
                  <a:cxnLst>
                    <a:cxn ang="0">
                      <a:pos x="14" y="0"/>
                    </a:cxn>
                    <a:cxn ang="0">
                      <a:pos x="0" y="9"/>
                    </a:cxn>
                    <a:cxn ang="0">
                      <a:pos x="8" y="25"/>
                    </a:cxn>
                    <a:cxn ang="0">
                      <a:pos x="24" y="28"/>
                    </a:cxn>
                    <a:cxn ang="0">
                      <a:pos x="14" y="0"/>
                    </a:cxn>
                  </a:cxnLst>
                  <a:rect l="0" t="0" r="r" b="b"/>
                  <a:pathLst>
                    <a:path w="30" h="35">
                      <a:moveTo>
                        <a:pt x="14" y="0"/>
                      </a:moveTo>
                      <a:cubicBezTo>
                        <a:pt x="5" y="1"/>
                        <a:pt x="3" y="1"/>
                        <a:pt x="0" y="9"/>
                      </a:cubicBezTo>
                      <a:cubicBezTo>
                        <a:pt x="4" y="16"/>
                        <a:pt x="1" y="21"/>
                        <a:pt x="8" y="25"/>
                      </a:cubicBezTo>
                      <a:cubicBezTo>
                        <a:pt x="10" y="35"/>
                        <a:pt x="16" y="32"/>
                        <a:pt x="24" y="28"/>
                      </a:cubicBezTo>
                      <a:cubicBezTo>
                        <a:pt x="30" y="16"/>
                        <a:pt x="28" y="2"/>
                        <a:pt x="14" y="0"/>
                      </a:cubicBezTo>
                      <a:close/>
                    </a:path>
                  </a:pathLst>
                </a:custGeom>
                <a:solidFill>
                  <a:srgbClr val="B79FCC"/>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Proxima Nova A" panose="02000506030000020004" pitchFamily="2" charset="0"/>
                  </a:endParaRPr>
                </a:p>
              </p:txBody>
            </p:sp>
          </p:grpSp>
          <p:sp>
            <p:nvSpPr>
              <p:cNvPr id="256" name="Rectangle: Rounded Corners 255">
                <a:extLst>
                  <a:ext uri="{FF2B5EF4-FFF2-40B4-BE49-F238E27FC236}">
                    <a16:creationId xmlns:a16="http://schemas.microsoft.com/office/drawing/2014/main" id="{6729BA4A-8F6F-47CA-8A60-D3DD07CE8A45}"/>
                  </a:ext>
                </a:extLst>
              </p:cNvPr>
              <p:cNvSpPr/>
              <p:nvPr/>
            </p:nvSpPr>
            <p:spPr>
              <a:xfrm>
                <a:off x="5044510" y="4301924"/>
                <a:ext cx="2848234" cy="1182047"/>
              </a:xfrm>
              <a:prstGeom prst="roundRect">
                <a:avLst/>
              </a:prstGeom>
              <a:solidFill>
                <a:srgbClr val="F2F2F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400" rtl="0" eaLnBrk="1" latinLnBrk="0" hangingPunct="1">
                  <a:lnSpc>
                    <a:spcPct val="114000"/>
                  </a:lnSpc>
                  <a:spcBef>
                    <a:spcPts val="0"/>
                  </a:spcBef>
                </a:pPr>
                <a:r>
                  <a:rPr lang="en-US" sz="1400" b="1" kern="1200" dirty="0">
                    <a:solidFill>
                      <a:srgbClr val="B79FCC"/>
                    </a:solidFill>
                    <a:latin typeface="Proxima Nova A" panose="02000506030000020004" pitchFamily="2" charset="0"/>
                    <a:cs typeface="Arial" pitchFamily="34" charset="0"/>
                  </a:rPr>
                  <a:t>Pulse survey</a:t>
                </a:r>
              </a:p>
              <a:p>
                <a:pPr defTabSz="914400">
                  <a:lnSpc>
                    <a:spcPct val="114000"/>
                  </a:lnSpc>
                </a:pPr>
                <a:r>
                  <a:rPr lang="en-US" sz="1400" b="1" dirty="0">
                    <a:solidFill>
                      <a:srgbClr val="707274"/>
                    </a:solidFill>
                    <a:latin typeface="Proxima Nova A" panose="02000506030000020004" pitchFamily="2" charset="0"/>
                    <a:cs typeface="Arial" pitchFamily="34" charset="0"/>
                  </a:rPr>
                  <a:t>147,868</a:t>
                </a:r>
                <a:r>
                  <a:rPr lang="en-US" sz="1400" dirty="0">
                    <a:solidFill>
                      <a:srgbClr val="707274"/>
                    </a:solidFill>
                    <a:latin typeface="Proxima Nova A" panose="02000506030000020004" pitchFamily="2" charset="0"/>
                    <a:cs typeface="Arial" pitchFamily="34" charset="0"/>
                  </a:rPr>
                  <a:t> households</a:t>
                </a:r>
              </a:p>
              <a:p>
                <a:pPr defTabSz="914400">
                  <a:lnSpc>
                    <a:spcPct val="114000"/>
                  </a:lnSpc>
                </a:pPr>
                <a:r>
                  <a:rPr lang="en-US" sz="1400" b="1" dirty="0">
                    <a:solidFill>
                      <a:srgbClr val="707274"/>
                    </a:solidFill>
                    <a:latin typeface="Proxima Nova A" panose="02000506030000020004" pitchFamily="2" charset="0"/>
                    <a:cs typeface="Arial" pitchFamily="34" charset="0"/>
                  </a:rPr>
                  <a:t>28</a:t>
                </a:r>
                <a:r>
                  <a:rPr lang="en-US" sz="1400" dirty="0">
                    <a:solidFill>
                      <a:srgbClr val="707274"/>
                    </a:solidFill>
                    <a:latin typeface="Proxima Nova A" panose="02000506030000020004" pitchFamily="2" charset="0"/>
                    <a:cs typeface="Arial" pitchFamily="34" charset="0"/>
                  </a:rPr>
                  <a:t> states and union territories</a:t>
                </a:r>
              </a:p>
              <a:p>
                <a:pPr defTabSz="914400">
                  <a:lnSpc>
                    <a:spcPct val="114000"/>
                  </a:lnSpc>
                </a:pPr>
                <a:r>
                  <a:rPr lang="en-US" sz="1400" b="1" dirty="0">
                    <a:solidFill>
                      <a:srgbClr val="707274"/>
                    </a:solidFill>
                    <a:latin typeface="Proxima Nova A" panose="02000506030000020004" pitchFamily="2" charset="0"/>
                    <a:cs typeface="Arial" pitchFamily="34" charset="0"/>
                  </a:rPr>
                  <a:t>10</a:t>
                </a:r>
                <a:r>
                  <a:rPr lang="en-US" sz="1400" dirty="0">
                    <a:solidFill>
                      <a:srgbClr val="707274"/>
                    </a:solidFill>
                    <a:latin typeface="Proxima Nova A" panose="02000506030000020004" pitchFamily="2" charset="0"/>
                    <a:cs typeface="Arial" pitchFamily="34" charset="0"/>
                  </a:rPr>
                  <a:t> to </a:t>
                </a:r>
                <a:r>
                  <a:rPr lang="en-US" sz="1400" b="1" dirty="0">
                    <a:solidFill>
                      <a:srgbClr val="707274"/>
                    </a:solidFill>
                    <a:latin typeface="Proxima Nova A" panose="02000506030000020004" pitchFamily="2" charset="0"/>
                    <a:cs typeface="Arial" pitchFamily="34" charset="0"/>
                  </a:rPr>
                  <a:t>15</a:t>
                </a:r>
                <a:r>
                  <a:rPr lang="en-US" sz="1400" dirty="0">
                    <a:solidFill>
                      <a:srgbClr val="707274"/>
                    </a:solidFill>
                    <a:latin typeface="Proxima Nova A" panose="02000506030000020004" pitchFamily="2" charset="0"/>
                    <a:cs typeface="Arial" pitchFamily="34" charset="0"/>
                  </a:rPr>
                  <a:t> minutes</a:t>
                </a:r>
              </a:p>
              <a:p>
                <a:pPr algn="l" defTabSz="914400" rtl="0" eaLnBrk="1" latinLnBrk="0" hangingPunct="1">
                  <a:lnSpc>
                    <a:spcPct val="114000"/>
                  </a:lnSpc>
                  <a:spcBef>
                    <a:spcPts val="0"/>
                  </a:spcBef>
                </a:pPr>
                <a:endParaRPr lang="en-US" sz="1400" kern="1200" dirty="0">
                  <a:solidFill>
                    <a:schemeClr val="bg1">
                      <a:lumMod val="50000"/>
                    </a:schemeClr>
                  </a:solidFill>
                  <a:latin typeface="Proxima Nova A" panose="02000506030000020004" pitchFamily="2" charset="0"/>
                  <a:cs typeface="Arial" pitchFamily="34" charset="0"/>
                </a:endParaRPr>
              </a:p>
            </p:txBody>
          </p:sp>
          <p:sp>
            <p:nvSpPr>
              <p:cNvPr id="145" name="Rectangle: Rounded Corners 144">
                <a:extLst>
                  <a:ext uri="{FF2B5EF4-FFF2-40B4-BE49-F238E27FC236}">
                    <a16:creationId xmlns:a16="http://schemas.microsoft.com/office/drawing/2014/main" id="{673755DA-D01C-4CC2-93C6-BB9E745F5326}"/>
                  </a:ext>
                </a:extLst>
              </p:cNvPr>
              <p:cNvSpPr/>
              <p:nvPr/>
            </p:nvSpPr>
            <p:spPr>
              <a:xfrm>
                <a:off x="5315318" y="176069"/>
                <a:ext cx="2847975" cy="1198775"/>
              </a:xfrm>
              <a:prstGeom prst="roundRect">
                <a:avLst/>
              </a:prstGeom>
              <a:solidFill>
                <a:srgbClr val="F2F2F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50000"/>
                  </a:lnSpc>
                  <a:spcBef>
                    <a:spcPts val="0"/>
                  </a:spcBef>
                </a:pPr>
                <a:r>
                  <a:rPr lang="en-US" sz="1400" b="1" kern="1200" dirty="0">
                    <a:solidFill>
                      <a:srgbClr val="78B8E5"/>
                    </a:solidFill>
                    <a:latin typeface="Proxima Nova A" panose="02000506030000020004" pitchFamily="2" charset="0"/>
                    <a:cs typeface="Arial" pitchFamily="34" charset="0"/>
                  </a:rPr>
                  <a:t>In-depth survey</a:t>
                </a:r>
              </a:p>
              <a:p>
                <a:pPr defTabSz="914400">
                  <a:lnSpc>
                    <a:spcPct val="114000"/>
                  </a:lnSpc>
                </a:pPr>
                <a:r>
                  <a:rPr lang="en-US" sz="1400" b="1" dirty="0">
                    <a:solidFill>
                      <a:srgbClr val="707274"/>
                    </a:solidFill>
                    <a:latin typeface="Proxima Nova A" panose="02000506030000020004" pitchFamily="2" charset="0"/>
                    <a:cs typeface="Arial" pitchFamily="34" charset="0"/>
                  </a:rPr>
                  <a:t>19,209</a:t>
                </a:r>
                <a:r>
                  <a:rPr lang="en-US" sz="1400" dirty="0">
                    <a:solidFill>
                      <a:srgbClr val="707274"/>
                    </a:solidFill>
                    <a:latin typeface="Proxima Nova A" panose="02000506030000020004" pitchFamily="2" charset="0"/>
                    <a:cs typeface="Arial" pitchFamily="34" charset="0"/>
                  </a:rPr>
                  <a:t> households</a:t>
                </a:r>
              </a:p>
              <a:p>
                <a:pPr defTabSz="914400">
                  <a:lnSpc>
                    <a:spcPct val="114000"/>
                  </a:lnSpc>
                </a:pPr>
                <a:r>
                  <a:rPr lang="en-US" sz="1400" b="1" dirty="0">
                    <a:solidFill>
                      <a:srgbClr val="707274"/>
                    </a:solidFill>
                    <a:latin typeface="Proxima Nova A" panose="02000506030000020004" pitchFamily="2" charset="0"/>
                    <a:cs typeface="Arial" pitchFamily="34" charset="0"/>
                  </a:rPr>
                  <a:t>16</a:t>
                </a:r>
                <a:r>
                  <a:rPr lang="en-US" sz="1400" dirty="0">
                    <a:solidFill>
                      <a:srgbClr val="707274"/>
                    </a:solidFill>
                    <a:latin typeface="Proxima Nova A" panose="02000506030000020004" pitchFamily="2" charset="0"/>
                    <a:cs typeface="Arial" pitchFamily="34" charset="0"/>
                  </a:rPr>
                  <a:t> states and </a:t>
                </a:r>
                <a:r>
                  <a:rPr lang="en-US" sz="1400" b="1" dirty="0">
                    <a:solidFill>
                      <a:srgbClr val="707274"/>
                    </a:solidFill>
                    <a:latin typeface="Proxima Nova A" panose="02000506030000020004" pitchFamily="2" charset="0"/>
                    <a:cs typeface="Arial" pitchFamily="34" charset="0"/>
                  </a:rPr>
                  <a:t>1</a:t>
                </a:r>
                <a:r>
                  <a:rPr lang="en-US" sz="1400" dirty="0">
                    <a:solidFill>
                      <a:srgbClr val="707274"/>
                    </a:solidFill>
                    <a:latin typeface="Proxima Nova A" panose="02000506030000020004" pitchFamily="2" charset="0"/>
                    <a:cs typeface="Arial" pitchFamily="34" charset="0"/>
                  </a:rPr>
                  <a:t> union territory</a:t>
                </a:r>
              </a:p>
              <a:p>
                <a:pPr defTabSz="914400">
                  <a:lnSpc>
                    <a:spcPct val="114000"/>
                  </a:lnSpc>
                </a:pPr>
                <a:r>
                  <a:rPr lang="en-US" sz="1400" b="1" dirty="0">
                    <a:solidFill>
                      <a:srgbClr val="707274"/>
                    </a:solidFill>
                    <a:latin typeface="Proxima Nova A" panose="02000506030000020004" pitchFamily="2" charset="0"/>
                    <a:cs typeface="Arial" pitchFamily="34" charset="0"/>
                  </a:rPr>
                  <a:t>45</a:t>
                </a:r>
                <a:r>
                  <a:rPr lang="en-US" sz="1400" dirty="0">
                    <a:solidFill>
                      <a:srgbClr val="707274"/>
                    </a:solidFill>
                    <a:latin typeface="Proxima Nova A" panose="02000506030000020004" pitchFamily="2" charset="0"/>
                    <a:cs typeface="Arial" pitchFamily="34" charset="0"/>
                  </a:rPr>
                  <a:t> to </a:t>
                </a:r>
                <a:r>
                  <a:rPr lang="en-US" sz="1400" b="1" dirty="0">
                    <a:solidFill>
                      <a:srgbClr val="707274"/>
                    </a:solidFill>
                    <a:latin typeface="Proxima Nova A" panose="02000506030000020004" pitchFamily="2" charset="0"/>
                    <a:cs typeface="Arial" pitchFamily="34" charset="0"/>
                  </a:rPr>
                  <a:t>60</a:t>
                </a:r>
                <a:r>
                  <a:rPr lang="en-US" sz="1400" dirty="0">
                    <a:solidFill>
                      <a:srgbClr val="707274"/>
                    </a:solidFill>
                    <a:latin typeface="Proxima Nova A" panose="02000506030000020004" pitchFamily="2" charset="0"/>
                    <a:cs typeface="Arial" pitchFamily="34" charset="0"/>
                  </a:rPr>
                  <a:t> minutes</a:t>
                </a:r>
              </a:p>
            </p:txBody>
          </p:sp>
          <p:sp>
            <p:nvSpPr>
              <p:cNvPr id="260" name="Oval 259">
                <a:extLst>
                  <a:ext uri="{FF2B5EF4-FFF2-40B4-BE49-F238E27FC236}">
                    <a16:creationId xmlns:a16="http://schemas.microsoft.com/office/drawing/2014/main" id="{25AF5D25-06BF-4994-AB3A-601DB07ED7E2}"/>
                  </a:ext>
                </a:extLst>
              </p:cNvPr>
              <p:cNvSpPr/>
              <p:nvPr/>
            </p:nvSpPr>
            <p:spPr>
              <a:xfrm>
                <a:off x="5497096" y="2329858"/>
                <a:ext cx="75630" cy="75630"/>
              </a:xfrm>
              <a:prstGeom prst="ellipse">
                <a:avLst/>
              </a:prstGeom>
              <a:solidFill>
                <a:srgbClr val="CBE7D7"/>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dirty="0" err="1">
                  <a:solidFill>
                    <a:schemeClr val="bg1"/>
                  </a:solidFill>
                  <a:latin typeface="Proxima Nova A" panose="02000506030000020004" pitchFamily="2" charset="0"/>
                  <a:cs typeface="Arial" pitchFamily="34" charset="0"/>
                </a:endParaRPr>
              </a:p>
            </p:txBody>
          </p:sp>
          <p:sp>
            <p:nvSpPr>
              <p:cNvPr id="262" name="Oval 261">
                <a:extLst>
                  <a:ext uri="{FF2B5EF4-FFF2-40B4-BE49-F238E27FC236}">
                    <a16:creationId xmlns:a16="http://schemas.microsoft.com/office/drawing/2014/main" id="{E4915C28-C005-4945-89D7-761D47BF3903}"/>
                  </a:ext>
                </a:extLst>
              </p:cNvPr>
              <p:cNvSpPr/>
              <p:nvPr/>
            </p:nvSpPr>
            <p:spPr>
              <a:xfrm>
                <a:off x="3684439" y="3488737"/>
                <a:ext cx="75630" cy="75630"/>
              </a:xfrm>
              <a:prstGeom prst="ellipse">
                <a:avLst/>
              </a:prstGeom>
              <a:solidFill>
                <a:srgbClr val="CBE7D7"/>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dirty="0" err="1">
                  <a:solidFill>
                    <a:schemeClr val="bg1"/>
                  </a:solidFill>
                  <a:latin typeface="Proxima Nova A" panose="02000506030000020004" pitchFamily="2" charset="0"/>
                  <a:cs typeface="Arial" pitchFamily="34" charset="0"/>
                </a:endParaRPr>
              </a:p>
            </p:txBody>
          </p:sp>
          <p:sp>
            <p:nvSpPr>
              <p:cNvPr id="263" name="Oval 262">
                <a:extLst>
                  <a:ext uri="{FF2B5EF4-FFF2-40B4-BE49-F238E27FC236}">
                    <a16:creationId xmlns:a16="http://schemas.microsoft.com/office/drawing/2014/main" id="{744549EE-BDF2-457C-878C-CD62B5204F9D}"/>
                  </a:ext>
                </a:extLst>
              </p:cNvPr>
              <p:cNvSpPr/>
              <p:nvPr/>
            </p:nvSpPr>
            <p:spPr>
              <a:xfrm>
                <a:off x="3684439" y="4429398"/>
                <a:ext cx="75630" cy="75630"/>
              </a:xfrm>
              <a:prstGeom prst="ellipse">
                <a:avLst/>
              </a:prstGeom>
              <a:solidFill>
                <a:srgbClr val="CBE7D7"/>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dirty="0" err="1">
                  <a:solidFill>
                    <a:schemeClr val="bg1"/>
                  </a:solidFill>
                  <a:latin typeface="Proxima Nova A" panose="02000506030000020004" pitchFamily="2" charset="0"/>
                  <a:cs typeface="Arial" pitchFamily="34" charset="0"/>
                </a:endParaRPr>
              </a:p>
            </p:txBody>
          </p:sp>
          <p:sp>
            <p:nvSpPr>
              <p:cNvPr id="264" name="Oval 263">
                <a:extLst>
                  <a:ext uri="{FF2B5EF4-FFF2-40B4-BE49-F238E27FC236}">
                    <a16:creationId xmlns:a16="http://schemas.microsoft.com/office/drawing/2014/main" id="{960DD289-0D7B-4A40-BC06-BBEC3B2C3AC8}"/>
                  </a:ext>
                </a:extLst>
              </p:cNvPr>
              <p:cNvSpPr/>
              <p:nvPr/>
            </p:nvSpPr>
            <p:spPr>
              <a:xfrm>
                <a:off x="6724580" y="2124426"/>
                <a:ext cx="75630" cy="75630"/>
              </a:xfrm>
              <a:prstGeom prst="ellipse">
                <a:avLst/>
              </a:prstGeom>
              <a:solidFill>
                <a:srgbClr val="CBE7D7"/>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dirty="0" err="1">
                  <a:solidFill>
                    <a:schemeClr val="bg1"/>
                  </a:solidFill>
                  <a:latin typeface="Proxima Nova A" panose="02000506030000020004" pitchFamily="2" charset="0"/>
                  <a:cs typeface="Arial" pitchFamily="34" charset="0"/>
                </a:endParaRPr>
              </a:p>
            </p:txBody>
          </p:sp>
          <p:grpSp>
            <p:nvGrpSpPr>
              <p:cNvPr id="276" name="Group 275">
                <a:extLst>
                  <a:ext uri="{FF2B5EF4-FFF2-40B4-BE49-F238E27FC236}">
                    <a16:creationId xmlns:a16="http://schemas.microsoft.com/office/drawing/2014/main" id="{86B67254-178E-41F4-901E-00D3F047FCDB}"/>
                  </a:ext>
                </a:extLst>
              </p:cNvPr>
              <p:cNvGrpSpPr/>
              <p:nvPr/>
            </p:nvGrpSpPr>
            <p:grpSpPr>
              <a:xfrm>
                <a:off x="745294" y="5690015"/>
                <a:ext cx="2550737" cy="288960"/>
                <a:chOff x="712784" y="5773145"/>
                <a:chExt cx="2550737" cy="288960"/>
              </a:xfrm>
            </p:grpSpPr>
            <p:sp>
              <p:nvSpPr>
                <p:cNvPr id="274" name="TextBox 273">
                  <a:extLst>
                    <a:ext uri="{FF2B5EF4-FFF2-40B4-BE49-F238E27FC236}">
                      <a16:creationId xmlns:a16="http://schemas.microsoft.com/office/drawing/2014/main" id="{4928D8E7-6D5D-445E-B964-600B9770DC2A}"/>
                    </a:ext>
                  </a:extLst>
                </p:cNvPr>
                <p:cNvSpPr txBox="1"/>
                <p:nvPr/>
              </p:nvSpPr>
              <p:spPr bwMode="gray">
                <a:xfrm>
                  <a:off x="857667" y="5773145"/>
                  <a:ext cx="2405854" cy="288960"/>
                </a:xfrm>
                <a:prstGeom prst="rect">
                  <a:avLst/>
                </a:prstGeom>
              </p:spPr>
              <p:txBody>
                <a:bodyPr vert="horz" wrap="square" lIns="0" tIns="0" rIns="0" bIns="0" rtlCol="0" anchor="ctr">
                  <a:noAutofit/>
                </a:bodyPr>
                <a:lstStyle/>
                <a:p>
                  <a:pPr>
                    <a:spcBef>
                      <a:spcPts val="600"/>
                    </a:spcBef>
                  </a:pPr>
                  <a:r>
                    <a:rPr lang="en-US" sz="1200" dirty="0">
                      <a:solidFill>
                        <a:srgbClr val="707274"/>
                      </a:solidFill>
                      <a:latin typeface="Proxima Nova A" panose="02000506030000020004" pitchFamily="2" charset="0"/>
                    </a:rPr>
                    <a:t>States included in the human </a:t>
                  </a:r>
                  <a:r>
                    <a:rPr lang="en-US" sz="1200" dirty="0" err="1">
                      <a:solidFill>
                        <a:srgbClr val="707274"/>
                      </a:solidFill>
                      <a:latin typeface="Proxima Nova A" panose="02000506030000020004" pitchFamily="2" charset="0"/>
                    </a:rPr>
                    <a:t>centred</a:t>
                  </a:r>
                  <a:r>
                    <a:rPr lang="en-US" sz="1200" dirty="0">
                      <a:solidFill>
                        <a:srgbClr val="707274"/>
                      </a:solidFill>
                      <a:latin typeface="Proxima Nova A" panose="02000506030000020004" pitchFamily="2" charset="0"/>
                    </a:rPr>
                    <a:t> design research</a:t>
                  </a:r>
                </a:p>
              </p:txBody>
            </p:sp>
            <p:sp>
              <p:nvSpPr>
                <p:cNvPr id="275" name="Oval 274">
                  <a:extLst>
                    <a:ext uri="{FF2B5EF4-FFF2-40B4-BE49-F238E27FC236}">
                      <a16:creationId xmlns:a16="http://schemas.microsoft.com/office/drawing/2014/main" id="{04E043A4-85DF-4A25-8BE1-6E391F216ABA}"/>
                    </a:ext>
                  </a:extLst>
                </p:cNvPr>
                <p:cNvSpPr/>
                <p:nvPr/>
              </p:nvSpPr>
              <p:spPr>
                <a:xfrm>
                  <a:off x="712784" y="5879810"/>
                  <a:ext cx="75630" cy="75630"/>
                </a:xfrm>
                <a:prstGeom prst="ellipse">
                  <a:avLst/>
                </a:prstGeom>
                <a:solidFill>
                  <a:srgbClr val="CBE7D7"/>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dirty="0" err="1">
                    <a:solidFill>
                      <a:schemeClr val="bg1"/>
                    </a:solidFill>
                    <a:latin typeface="Proxima Nova A" panose="02000506030000020004" pitchFamily="2" charset="0"/>
                    <a:cs typeface="Arial" pitchFamily="34" charset="0"/>
                  </a:endParaRPr>
                </a:p>
              </p:txBody>
            </p:sp>
          </p:grpSp>
        </p:grpSp>
        <p:pic>
          <p:nvPicPr>
            <p:cNvPr id="6" name="Picture 5">
              <a:extLst>
                <a:ext uri="{FF2B5EF4-FFF2-40B4-BE49-F238E27FC236}">
                  <a16:creationId xmlns:a16="http://schemas.microsoft.com/office/drawing/2014/main" id="{BCCBD52E-9C3D-4C68-A9A8-2F6683DB706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14940" y="76857"/>
              <a:ext cx="1297238" cy="1115400"/>
            </a:xfrm>
            <a:prstGeom prst="rect">
              <a:avLst/>
            </a:prstGeom>
          </p:spPr>
        </p:pic>
      </p:grpSp>
      <p:sp>
        <p:nvSpPr>
          <p:cNvPr id="8" name="Oval 7">
            <a:extLst>
              <a:ext uri="{FF2B5EF4-FFF2-40B4-BE49-F238E27FC236}">
                <a16:creationId xmlns:a16="http://schemas.microsoft.com/office/drawing/2014/main" id="{7A01390F-8229-4113-AF0D-89E28F15D553}"/>
              </a:ext>
            </a:extLst>
          </p:cNvPr>
          <p:cNvSpPr/>
          <p:nvPr/>
        </p:nvSpPr>
        <p:spPr>
          <a:xfrm>
            <a:off x="3466862" y="452244"/>
            <a:ext cx="64228" cy="45719"/>
          </a:xfrm>
          <a:prstGeom prst="ellipse">
            <a:avLst/>
          </a:prstGeom>
          <a:solidFill>
            <a:srgbClr val="FFFFFF"/>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dirty="0" err="1">
              <a:solidFill>
                <a:schemeClr val="bg1"/>
              </a:solidFill>
              <a:ea typeface="+mn-ea"/>
              <a:cs typeface="Arial" pitchFamily="34" charset="0"/>
            </a:endParaRPr>
          </a:p>
        </p:txBody>
      </p:sp>
    </p:spTree>
    <p:extLst>
      <p:ext uri="{BB962C8B-B14F-4D97-AF65-F5344CB8AC3E}">
        <p14:creationId xmlns:p14="http://schemas.microsoft.com/office/powerpoint/2010/main" val="28204685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74B91FCE-88A1-408F-B54A-DFA24B838DAA}"/>
              </a:ext>
            </a:extLst>
          </p:cNvPr>
          <p:cNvGraphicFramePr>
            <a:graphicFrameLocks noChangeAspect="1"/>
          </p:cNvGraphicFramePr>
          <p:nvPr>
            <p:custDataLst>
              <p:tags r:id="rId2"/>
            </p:custDataLst>
            <p:extLst>
              <p:ext uri="{D42A27DB-BD31-4B8C-83A1-F6EECF244321}">
                <p14:modId xmlns:p14="http://schemas.microsoft.com/office/powerpoint/2010/main" val="1208176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5035" name="think-cell Slide" r:id="rId15" imgW="498" imgH="499" progId="TCLayout.ActiveDocument.1">
                  <p:embed/>
                </p:oleObj>
              </mc:Choice>
              <mc:Fallback>
                <p:oleObj name="think-cell Slide" r:id="rId15" imgW="498" imgH="499" progId="TCLayout.ActiveDocument.1">
                  <p:embed/>
                  <p:pic>
                    <p:nvPicPr>
                      <p:cNvPr id="15" name="Object 14" hidden="1">
                        <a:extLst>
                          <a:ext uri="{FF2B5EF4-FFF2-40B4-BE49-F238E27FC236}">
                            <a16:creationId xmlns:a16="http://schemas.microsoft.com/office/drawing/2014/main" id="{74B91FCE-88A1-408F-B54A-DFA24B838DAA}"/>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5BD5596-C6C7-4F54-9287-F151E1FE1F7C}"/>
              </a:ext>
            </a:extLst>
          </p:cNvPr>
          <p:cNvSpPr/>
          <p:nvPr>
            <p:custDataLst>
              <p:tags r:id="rId3"/>
            </p:custDataLst>
          </p:nvPr>
        </p:nvSpPr>
        <p:spPr>
          <a:xfrm>
            <a:off x="0" y="0"/>
            <a:ext cx="158750" cy="158750"/>
          </a:xfrm>
          <a:prstGeom prst="rect">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14423"/>
            <a:endParaRPr lang="en-US" sz="600" dirty="0" err="1">
              <a:solidFill>
                <a:schemeClr val="bg1"/>
              </a:solidFill>
              <a:latin typeface="Proxima Nova A" panose="02000506030000020004" pitchFamily="2" charset="0"/>
              <a:ea typeface="+mj-ea"/>
              <a:cs typeface="+mj-cs"/>
              <a:sym typeface="Proxima Nova A" panose="02000506030000020004" pitchFamily="2" charset="0"/>
            </a:endParaRPr>
          </a:p>
        </p:txBody>
      </p:sp>
      <p:cxnSp>
        <p:nvCxnSpPr>
          <p:cNvPr id="71" name="Straight Connector 70">
            <a:extLst>
              <a:ext uri="{FF2B5EF4-FFF2-40B4-BE49-F238E27FC236}">
                <a16:creationId xmlns:a16="http://schemas.microsoft.com/office/drawing/2014/main" id="{205C8C99-A165-45BB-9DB8-2B45FD86633C}"/>
              </a:ext>
            </a:extLst>
          </p:cNvPr>
          <p:cNvCxnSpPr/>
          <p:nvPr>
            <p:custDataLst>
              <p:tags r:id="rId4"/>
            </p:custDataLst>
          </p:nvPr>
        </p:nvCxnSpPr>
        <p:spPr bwMode="gray">
          <a:xfrm>
            <a:off x="6405563" y="3713163"/>
            <a:ext cx="323850" cy="0"/>
          </a:xfrm>
          <a:prstGeom prst="line">
            <a:avLst/>
          </a:prstGeom>
          <a:ln w="3175" cap="flat" cmpd="sng" algn="ctr">
            <a:solidFill>
              <a:srgbClr val="D6D6D6"/>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14C8BBE5-16DF-4978-A481-B2B8D7B120EF}"/>
              </a:ext>
            </a:extLst>
          </p:cNvPr>
          <p:cNvCxnSpPr/>
          <p:nvPr>
            <p:custDataLst>
              <p:tags r:id="rId5"/>
            </p:custDataLst>
          </p:nvPr>
        </p:nvCxnSpPr>
        <p:spPr bwMode="gray">
          <a:xfrm>
            <a:off x="5672138" y="3260725"/>
            <a:ext cx="325438" cy="0"/>
          </a:xfrm>
          <a:prstGeom prst="line">
            <a:avLst/>
          </a:prstGeom>
          <a:ln w="3175" cap="flat" cmpd="sng" algn="ctr">
            <a:solidFill>
              <a:srgbClr val="D6D6D6"/>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E32939E5-99F1-4B53-ACA7-168F060BCA07}"/>
              </a:ext>
            </a:extLst>
          </p:cNvPr>
          <p:cNvCxnSpPr/>
          <p:nvPr>
            <p:custDataLst>
              <p:tags r:id="rId6"/>
            </p:custDataLst>
          </p:nvPr>
        </p:nvCxnSpPr>
        <p:spPr bwMode="gray">
          <a:xfrm>
            <a:off x="4938713" y="3013075"/>
            <a:ext cx="325438" cy="0"/>
          </a:xfrm>
          <a:prstGeom prst="line">
            <a:avLst/>
          </a:prstGeom>
          <a:ln w="3175" cap="flat" cmpd="sng" algn="ctr">
            <a:solidFill>
              <a:srgbClr val="D6D6D6"/>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AFF94924-E0DF-43E8-86E9-2CFA1C56C441}"/>
              </a:ext>
            </a:extLst>
          </p:cNvPr>
          <p:cNvCxnSpPr/>
          <p:nvPr>
            <p:custDataLst>
              <p:tags r:id="rId7"/>
            </p:custDataLst>
          </p:nvPr>
        </p:nvCxnSpPr>
        <p:spPr bwMode="gray">
          <a:xfrm>
            <a:off x="7137400" y="3902075"/>
            <a:ext cx="325438" cy="0"/>
          </a:xfrm>
          <a:prstGeom prst="line">
            <a:avLst/>
          </a:prstGeom>
          <a:ln w="3175" cap="flat" cmpd="sng" algn="ctr">
            <a:solidFill>
              <a:srgbClr val="D6D6D6"/>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1" name="Chart 20">
            <a:extLst>
              <a:ext uri="{FF2B5EF4-FFF2-40B4-BE49-F238E27FC236}">
                <a16:creationId xmlns:a16="http://schemas.microsoft.com/office/drawing/2014/main" id="{438256EE-7A1A-4132-A911-D516E0AE8F05}"/>
              </a:ext>
            </a:extLst>
          </p:cNvPr>
          <p:cNvGraphicFramePr/>
          <p:nvPr>
            <p:custDataLst>
              <p:tags r:id="rId8"/>
            </p:custDataLst>
            <p:extLst>
              <p:ext uri="{D42A27DB-BD31-4B8C-83A1-F6EECF244321}">
                <p14:modId xmlns:p14="http://schemas.microsoft.com/office/powerpoint/2010/main" val="3194511432"/>
              </p:ext>
            </p:extLst>
          </p:nvPr>
        </p:nvGraphicFramePr>
        <p:xfrm>
          <a:off x="4286250" y="2873375"/>
          <a:ext cx="3830638" cy="1177925"/>
        </p:xfrm>
        <a:graphic>
          <a:graphicData uri="http://schemas.openxmlformats.org/drawingml/2006/chart">
            <c:chart xmlns:c="http://schemas.openxmlformats.org/drawingml/2006/chart" xmlns:r="http://schemas.openxmlformats.org/officeDocument/2006/relationships" r:id="rId17"/>
          </a:graphicData>
        </a:graphic>
      </p:graphicFrame>
      <p:sp>
        <p:nvSpPr>
          <p:cNvPr id="81" name="Text Placeholder 2">
            <a:extLst>
              <a:ext uri="{FF2B5EF4-FFF2-40B4-BE49-F238E27FC236}">
                <a16:creationId xmlns:a16="http://schemas.microsoft.com/office/drawing/2014/main" id="{63E6CABF-A487-47FA-BBA5-2A9ED6A69107}"/>
              </a:ext>
            </a:extLst>
          </p:cNvPr>
          <p:cNvSpPr>
            <a:spLocks noGrp="1"/>
          </p:cNvSpPr>
          <p:nvPr>
            <p:custDataLst>
              <p:tags r:id="rId9"/>
            </p:custDataLst>
          </p:nvPr>
        </p:nvSpPr>
        <p:spPr bwMode="auto">
          <a:xfrm>
            <a:off x="7307263" y="3994150"/>
            <a:ext cx="719138" cy="184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01162" indent="-201162" algn="l" defTabSz="1072866" rtl="0" eaLnBrk="1" latinLnBrk="0" hangingPunct="1">
              <a:lnSpc>
                <a:spcPct val="100000"/>
              </a:lnSpc>
              <a:spcBef>
                <a:spcPts val="0"/>
              </a:spcBef>
              <a:buFont typeface="Arial" panose="020B0604020202020204" pitchFamily="34" charset="0"/>
              <a:buChar char="•"/>
              <a:defRPr sz="1600" kern="1200">
                <a:solidFill>
                  <a:srgbClr val="606060"/>
                </a:solidFill>
                <a:latin typeface="Lato" panose="020F0502020204030203" pitchFamily="34" charset="0"/>
                <a:ea typeface="+mn-ea"/>
                <a:cs typeface="Arial" pitchFamily="34" charset="0"/>
              </a:defRPr>
            </a:lvl1pPr>
            <a:lvl2pPr marL="402325" indent="-201162"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2pPr>
            <a:lvl3pPr marL="603487" indent="-201162"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3pPr>
            <a:lvl4pPr marL="804649" indent="-201162"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4pPr>
            <a:lvl5pPr marL="1005811" indent="-201162"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5pPr>
            <a:lvl6pPr marL="1206974" indent="-201162"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6pPr>
            <a:lvl7pPr marL="1408136" indent="-197437"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7pPr>
            <a:lvl8pPr marL="1609298" indent="-204888"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8pPr>
            <a:lvl9pPr marL="1743406" indent="-197437"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9pPr>
          </a:lstStyle>
          <a:p>
            <a:pPr marL="0" indent="0" algn="ctr">
              <a:spcBef>
                <a:spcPct val="0"/>
              </a:spcBef>
              <a:spcAft>
                <a:spcPct val="0"/>
              </a:spcAft>
              <a:buNone/>
            </a:pPr>
            <a:r>
              <a:rPr lang="en-GB" altLang="en-US" sz="600" dirty="0">
                <a:solidFill>
                  <a:srgbClr val="707274"/>
                </a:solidFill>
                <a:latin typeface="Proxima Nova A" panose="02000506030000020004" pitchFamily="2" charset="0"/>
                <a:ea typeface="+mj-ea"/>
                <a:cs typeface="+mj-cs"/>
                <a:sym typeface="Proxima Nova A" panose="02000506030000020004" pitchFamily="2" charset="0"/>
              </a:rPr>
              <a:t>Adults in other states and union territories</a:t>
            </a:r>
            <a:endParaRPr lang="en-GB" sz="600" dirty="0">
              <a:solidFill>
                <a:srgbClr val="707274"/>
              </a:solidFill>
              <a:latin typeface="Proxima Nova A" panose="02000506030000020004" pitchFamily="2" charset="0"/>
              <a:ea typeface="+mj-ea"/>
              <a:cs typeface="+mj-cs"/>
              <a:sym typeface="Proxima Nova A" panose="02000506030000020004" pitchFamily="2" charset="0"/>
            </a:endParaRPr>
          </a:p>
        </p:txBody>
      </p:sp>
      <p:sp>
        <p:nvSpPr>
          <p:cNvPr id="76" name="Text Placeholder 2">
            <a:extLst>
              <a:ext uri="{FF2B5EF4-FFF2-40B4-BE49-F238E27FC236}">
                <a16:creationId xmlns:a16="http://schemas.microsoft.com/office/drawing/2014/main" id="{3E11545C-BEC8-429A-A2C6-5807D50E41B0}"/>
              </a:ext>
            </a:extLst>
          </p:cNvPr>
          <p:cNvSpPr>
            <a:spLocks noGrp="1"/>
          </p:cNvSpPr>
          <p:nvPr>
            <p:custDataLst>
              <p:tags r:id="rId10"/>
            </p:custDataLst>
          </p:nvPr>
        </p:nvSpPr>
        <p:spPr bwMode="auto">
          <a:xfrm>
            <a:off x="4449763" y="3994150"/>
            <a:ext cx="569913" cy="184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01162" indent="-201162" algn="l" defTabSz="1072866" rtl="0" eaLnBrk="1" latinLnBrk="0" hangingPunct="1">
              <a:lnSpc>
                <a:spcPct val="100000"/>
              </a:lnSpc>
              <a:spcBef>
                <a:spcPts val="0"/>
              </a:spcBef>
              <a:buFont typeface="Arial" panose="020B0604020202020204" pitchFamily="34" charset="0"/>
              <a:buChar char="•"/>
              <a:defRPr sz="1600" kern="1200">
                <a:solidFill>
                  <a:srgbClr val="606060"/>
                </a:solidFill>
                <a:latin typeface="Lato" panose="020F0502020204030203" pitchFamily="34" charset="0"/>
                <a:ea typeface="+mn-ea"/>
                <a:cs typeface="Arial" pitchFamily="34" charset="0"/>
              </a:defRPr>
            </a:lvl1pPr>
            <a:lvl2pPr marL="402325" indent="-201162"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2pPr>
            <a:lvl3pPr marL="603487" indent="-201162"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3pPr>
            <a:lvl4pPr marL="804649" indent="-201162"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4pPr>
            <a:lvl5pPr marL="1005811" indent="-201162"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5pPr>
            <a:lvl6pPr marL="1206974" indent="-201162"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6pPr>
            <a:lvl7pPr marL="1408136" indent="-197437"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7pPr>
            <a:lvl8pPr marL="1609298" indent="-204888"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8pPr>
            <a:lvl9pPr marL="1743406" indent="-197437"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9pPr>
          </a:lstStyle>
          <a:p>
            <a:pPr marL="0" indent="0" algn="ctr">
              <a:spcBef>
                <a:spcPct val="0"/>
              </a:spcBef>
              <a:spcAft>
                <a:spcPct val="0"/>
              </a:spcAft>
              <a:buNone/>
            </a:pPr>
            <a:fld id="{689F92CA-1534-4D68-A64D-88030E3BFDE2}" type="datetime'All'' ''i''n''dividu''als witho''ut'''''''' Aad''''''ha''ar'">
              <a:rPr lang="en-GB" altLang="en-US" sz="600" smtClean="0">
                <a:solidFill>
                  <a:srgbClr val="707274"/>
                </a:solidFill>
                <a:latin typeface="Proxima Nova A" panose="02000506030000020004" pitchFamily="2" charset="0"/>
                <a:ea typeface="+mj-ea"/>
                <a:cs typeface="+mj-cs"/>
                <a:sym typeface="Proxima Nova A" panose="02000506030000020004" pitchFamily="2" charset="0"/>
              </a:rPr>
              <a:pPr/>
              <a:t>All individuals without Aadhaar</a:t>
            </a:fld>
            <a:endParaRPr lang="en-GB" sz="600" dirty="0">
              <a:solidFill>
                <a:srgbClr val="707274"/>
              </a:solidFill>
              <a:latin typeface="Proxima Nova A" panose="02000506030000020004" pitchFamily="2" charset="0"/>
              <a:ea typeface="+mj-ea"/>
              <a:cs typeface="+mj-cs"/>
              <a:sym typeface="Proxima Nova A" panose="02000506030000020004" pitchFamily="2" charset="0"/>
            </a:endParaRPr>
          </a:p>
        </p:txBody>
      </p:sp>
      <p:sp>
        <p:nvSpPr>
          <p:cNvPr id="27" name="Text Placeholder 2">
            <a:extLst>
              <a:ext uri="{FF2B5EF4-FFF2-40B4-BE49-F238E27FC236}">
                <a16:creationId xmlns:a16="http://schemas.microsoft.com/office/drawing/2014/main" id="{793FC9C8-086E-4E24-9FCD-BBDB90328D0E}"/>
              </a:ext>
            </a:extLst>
          </p:cNvPr>
          <p:cNvSpPr>
            <a:spLocks noGrp="1"/>
          </p:cNvSpPr>
          <p:nvPr>
            <p:custDataLst>
              <p:tags r:id="rId11"/>
            </p:custDataLst>
          </p:nvPr>
        </p:nvSpPr>
        <p:spPr bwMode="auto">
          <a:xfrm>
            <a:off x="5984875" y="3994150"/>
            <a:ext cx="433388" cy="184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01162" indent="-201162" algn="l" defTabSz="1072866" rtl="0" eaLnBrk="1" latinLnBrk="0" hangingPunct="1">
              <a:lnSpc>
                <a:spcPct val="100000"/>
              </a:lnSpc>
              <a:spcBef>
                <a:spcPts val="0"/>
              </a:spcBef>
              <a:buFont typeface="Arial" panose="020B0604020202020204" pitchFamily="34" charset="0"/>
              <a:buChar char="•"/>
              <a:defRPr sz="1600" kern="1200">
                <a:solidFill>
                  <a:srgbClr val="606060"/>
                </a:solidFill>
                <a:latin typeface="Lato" panose="020F0502020204030203" pitchFamily="34" charset="0"/>
                <a:ea typeface="+mn-ea"/>
                <a:cs typeface="Arial" pitchFamily="34" charset="0"/>
              </a:defRPr>
            </a:lvl1pPr>
            <a:lvl2pPr marL="402325" indent="-201162"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2pPr>
            <a:lvl3pPr marL="603487" indent="-201162"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3pPr>
            <a:lvl4pPr marL="804649" indent="-201162"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4pPr>
            <a:lvl5pPr marL="1005811" indent="-201162"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5pPr>
            <a:lvl6pPr marL="1206974" indent="-201162"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6pPr>
            <a:lvl7pPr marL="1408136" indent="-197437"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7pPr>
            <a:lvl8pPr marL="1609298" indent="-204888"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8pPr>
            <a:lvl9pPr marL="1743406" indent="-197437"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9pPr>
          </a:lstStyle>
          <a:p>
            <a:pPr marL="0" indent="0" algn="ctr">
              <a:spcBef>
                <a:spcPct val="0"/>
              </a:spcBef>
              <a:spcAft>
                <a:spcPct val="0"/>
              </a:spcAft>
              <a:buNone/>
            </a:pPr>
            <a:r>
              <a:rPr lang="en-US" altLang="en-US" sz="600" dirty="0">
                <a:solidFill>
                  <a:srgbClr val="707274"/>
                </a:solidFill>
                <a:latin typeface="Proxima Nova A" panose="02000506030000020004" pitchFamily="2" charset="0"/>
                <a:ea typeface="+mj-ea"/>
                <a:cs typeface="+mj-cs"/>
                <a:sym typeface="Proxima Nova A" panose="02000506030000020004" pitchFamily="2" charset="0"/>
              </a:rPr>
              <a:t>Children, </a:t>
            </a:r>
          </a:p>
          <a:p>
            <a:pPr marL="0" indent="0" algn="ctr">
              <a:spcBef>
                <a:spcPct val="0"/>
              </a:spcBef>
              <a:spcAft>
                <a:spcPct val="0"/>
              </a:spcAft>
              <a:buNone/>
            </a:pPr>
            <a:r>
              <a:rPr lang="en-US" altLang="en-US" sz="600" dirty="0">
                <a:solidFill>
                  <a:srgbClr val="707274"/>
                </a:solidFill>
                <a:latin typeface="Proxima Nova A" panose="02000506030000020004" pitchFamily="2" charset="0"/>
                <a:ea typeface="+mj-ea"/>
                <a:cs typeface="+mj-cs"/>
                <a:sym typeface="Proxima Nova A" panose="02000506030000020004" pitchFamily="2" charset="0"/>
              </a:rPr>
              <a:t>6 to 17 years</a:t>
            </a:r>
            <a:endParaRPr lang="en-GB" sz="600" dirty="0">
              <a:solidFill>
                <a:srgbClr val="707274"/>
              </a:solidFill>
              <a:latin typeface="Proxima Nova A" panose="02000506030000020004" pitchFamily="2" charset="0"/>
              <a:ea typeface="+mj-ea"/>
              <a:cs typeface="+mj-cs"/>
              <a:sym typeface="Proxima Nova A" panose="02000506030000020004" pitchFamily="2" charset="0"/>
            </a:endParaRPr>
          </a:p>
        </p:txBody>
      </p:sp>
      <p:sp>
        <p:nvSpPr>
          <p:cNvPr id="79" name="Text Placeholder 2">
            <a:extLst>
              <a:ext uri="{FF2B5EF4-FFF2-40B4-BE49-F238E27FC236}">
                <a16:creationId xmlns:a16="http://schemas.microsoft.com/office/drawing/2014/main" id="{15CC4FDF-B650-461D-845C-DBCB90166EA4}"/>
              </a:ext>
            </a:extLst>
          </p:cNvPr>
          <p:cNvSpPr>
            <a:spLocks noGrp="1"/>
          </p:cNvSpPr>
          <p:nvPr>
            <p:custDataLst>
              <p:tags r:id="rId12"/>
            </p:custDataLst>
          </p:nvPr>
        </p:nvSpPr>
        <p:spPr bwMode="auto">
          <a:xfrm>
            <a:off x="5260975" y="3994150"/>
            <a:ext cx="414338" cy="184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01162" indent="-201162" algn="l" defTabSz="1072866" rtl="0" eaLnBrk="1" latinLnBrk="0" hangingPunct="1">
              <a:lnSpc>
                <a:spcPct val="100000"/>
              </a:lnSpc>
              <a:spcBef>
                <a:spcPts val="0"/>
              </a:spcBef>
              <a:buFont typeface="Arial" panose="020B0604020202020204" pitchFamily="34" charset="0"/>
              <a:buChar char="•"/>
              <a:defRPr sz="1600" kern="1200">
                <a:solidFill>
                  <a:srgbClr val="606060"/>
                </a:solidFill>
                <a:latin typeface="Lato" panose="020F0502020204030203" pitchFamily="34" charset="0"/>
                <a:ea typeface="+mn-ea"/>
                <a:cs typeface="Arial" pitchFamily="34" charset="0"/>
              </a:defRPr>
            </a:lvl1pPr>
            <a:lvl2pPr marL="402325" indent="-201162"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2pPr>
            <a:lvl3pPr marL="603487" indent="-201162"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3pPr>
            <a:lvl4pPr marL="804649" indent="-201162"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4pPr>
            <a:lvl5pPr marL="1005811" indent="-201162"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5pPr>
            <a:lvl6pPr marL="1206974" indent="-201162"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6pPr>
            <a:lvl7pPr marL="1408136" indent="-197437"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7pPr>
            <a:lvl8pPr marL="1609298" indent="-204888"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8pPr>
            <a:lvl9pPr marL="1743406" indent="-197437"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9pPr>
          </a:lstStyle>
          <a:p>
            <a:pPr marL="0" indent="0" algn="ctr">
              <a:spcBef>
                <a:spcPct val="0"/>
              </a:spcBef>
              <a:spcAft>
                <a:spcPct val="0"/>
              </a:spcAft>
              <a:buNone/>
            </a:pPr>
            <a:r>
              <a:rPr lang="en-US" altLang="en-US" sz="600" dirty="0">
                <a:solidFill>
                  <a:srgbClr val="707274"/>
                </a:solidFill>
                <a:latin typeface="Proxima Nova A" panose="02000506030000020004" pitchFamily="2" charset="0"/>
                <a:ea typeface="+mj-ea"/>
                <a:cs typeface="+mj-cs"/>
                <a:sym typeface="Proxima Nova A" panose="02000506030000020004" pitchFamily="2" charset="0"/>
              </a:rPr>
              <a:t>Children, </a:t>
            </a:r>
          </a:p>
          <a:p>
            <a:pPr marL="0" indent="0" algn="ctr">
              <a:spcBef>
                <a:spcPct val="0"/>
              </a:spcBef>
              <a:spcAft>
                <a:spcPct val="0"/>
              </a:spcAft>
              <a:buNone/>
            </a:pPr>
            <a:r>
              <a:rPr lang="en-US" altLang="en-US" sz="600" dirty="0">
                <a:solidFill>
                  <a:srgbClr val="707274"/>
                </a:solidFill>
                <a:latin typeface="Proxima Nova A" panose="02000506030000020004" pitchFamily="2" charset="0"/>
                <a:ea typeface="+mj-ea"/>
                <a:cs typeface="+mj-cs"/>
                <a:sym typeface="Proxima Nova A" panose="02000506030000020004" pitchFamily="2" charset="0"/>
              </a:rPr>
              <a:t>0 to 5 years</a:t>
            </a:r>
            <a:endParaRPr lang="en-GB" sz="600" dirty="0">
              <a:solidFill>
                <a:srgbClr val="707274"/>
              </a:solidFill>
              <a:latin typeface="Proxima Nova A" panose="02000506030000020004" pitchFamily="2" charset="0"/>
              <a:ea typeface="+mj-ea"/>
              <a:cs typeface="+mj-cs"/>
              <a:sym typeface="Proxima Nova A" panose="02000506030000020004" pitchFamily="2" charset="0"/>
            </a:endParaRPr>
          </a:p>
        </p:txBody>
      </p:sp>
      <p:sp>
        <p:nvSpPr>
          <p:cNvPr id="80" name="Text Placeholder 2">
            <a:extLst>
              <a:ext uri="{FF2B5EF4-FFF2-40B4-BE49-F238E27FC236}">
                <a16:creationId xmlns:a16="http://schemas.microsoft.com/office/drawing/2014/main" id="{71859350-D297-467B-8E7F-C67492EC3770}"/>
              </a:ext>
            </a:extLst>
          </p:cNvPr>
          <p:cNvSpPr>
            <a:spLocks noGrp="1"/>
          </p:cNvSpPr>
          <p:nvPr>
            <p:custDataLst>
              <p:tags r:id="rId13"/>
            </p:custDataLst>
          </p:nvPr>
        </p:nvSpPr>
        <p:spPr bwMode="auto">
          <a:xfrm>
            <a:off x="6657975" y="3994150"/>
            <a:ext cx="550863" cy="184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01162" indent="-201162" algn="l" defTabSz="1072866" rtl="0" eaLnBrk="1" latinLnBrk="0" hangingPunct="1">
              <a:lnSpc>
                <a:spcPct val="100000"/>
              </a:lnSpc>
              <a:spcBef>
                <a:spcPts val="0"/>
              </a:spcBef>
              <a:buFont typeface="Arial" panose="020B0604020202020204" pitchFamily="34" charset="0"/>
              <a:buChar char="•"/>
              <a:defRPr sz="1600" kern="1200">
                <a:solidFill>
                  <a:srgbClr val="606060"/>
                </a:solidFill>
                <a:latin typeface="Lato" panose="020F0502020204030203" pitchFamily="34" charset="0"/>
                <a:ea typeface="+mn-ea"/>
                <a:cs typeface="Arial" pitchFamily="34" charset="0"/>
              </a:defRPr>
            </a:lvl1pPr>
            <a:lvl2pPr marL="402325" indent="-201162"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2pPr>
            <a:lvl3pPr marL="603487" indent="-201162"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3pPr>
            <a:lvl4pPr marL="804649" indent="-201162"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4pPr>
            <a:lvl5pPr marL="1005811" indent="-201162"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5pPr>
            <a:lvl6pPr marL="1206974" indent="-201162"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6pPr>
            <a:lvl7pPr marL="1408136" indent="-197437"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7pPr>
            <a:lvl8pPr marL="1609298" indent="-204888"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8pPr>
            <a:lvl9pPr marL="1743406" indent="-197437"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9pPr>
          </a:lstStyle>
          <a:p>
            <a:pPr marL="0" indent="0" algn="ctr">
              <a:spcBef>
                <a:spcPct val="0"/>
              </a:spcBef>
              <a:spcAft>
                <a:spcPct val="0"/>
              </a:spcAft>
              <a:buNone/>
            </a:pPr>
            <a:r>
              <a:rPr lang="en-GB" altLang="en-US" sz="600" dirty="0">
                <a:solidFill>
                  <a:srgbClr val="707274"/>
                </a:solidFill>
                <a:latin typeface="Proxima Nova A" panose="02000506030000020004" pitchFamily="2" charset="0"/>
                <a:ea typeface="+mj-ea"/>
                <a:cs typeface="+mj-cs"/>
                <a:sym typeface="Proxima Nova A" panose="02000506030000020004" pitchFamily="2" charset="0"/>
              </a:rPr>
              <a:t>Adults in Assam and Meghalaya</a:t>
            </a:r>
            <a:endParaRPr lang="en-GB" sz="600" dirty="0">
              <a:solidFill>
                <a:srgbClr val="707274"/>
              </a:solidFill>
              <a:latin typeface="Proxima Nova A" panose="02000506030000020004" pitchFamily="2" charset="0"/>
              <a:ea typeface="+mj-ea"/>
              <a:cs typeface="+mj-cs"/>
              <a:sym typeface="Proxima Nova A" panose="02000506030000020004" pitchFamily="2" charset="0"/>
            </a:endParaRPr>
          </a:p>
        </p:txBody>
      </p:sp>
      <p:grpSp>
        <p:nvGrpSpPr>
          <p:cNvPr id="6" name="Group 5">
            <a:extLst>
              <a:ext uri="{FF2B5EF4-FFF2-40B4-BE49-F238E27FC236}">
                <a16:creationId xmlns:a16="http://schemas.microsoft.com/office/drawing/2014/main" id="{448CA607-A1D5-4F8E-9B93-91569DD3589F}"/>
              </a:ext>
            </a:extLst>
          </p:cNvPr>
          <p:cNvGrpSpPr/>
          <p:nvPr/>
        </p:nvGrpSpPr>
        <p:grpSpPr>
          <a:xfrm>
            <a:off x="4368799" y="3013076"/>
            <a:ext cx="3505200" cy="1464674"/>
            <a:chOff x="447675" y="2968669"/>
            <a:chExt cx="4232390" cy="1464777"/>
          </a:xfrm>
        </p:grpSpPr>
        <p:sp>
          <p:nvSpPr>
            <p:cNvPr id="86" name="Text Placeholder 3">
              <a:extLst>
                <a:ext uri="{FF2B5EF4-FFF2-40B4-BE49-F238E27FC236}">
                  <a16:creationId xmlns:a16="http://schemas.microsoft.com/office/drawing/2014/main" id="{0A5F06FE-0FC7-4ABC-A53D-28237CD1B77C}"/>
                </a:ext>
              </a:extLst>
            </p:cNvPr>
            <p:cNvSpPr txBox="1">
              <a:spLocks/>
            </p:cNvSpPr>
            <p:nvPr/>
          </p:nvSpPr>
          <p:spPr bwMode="gray">
            <a:xfrm>
              <a:off x="447675" y="4225682"/>
              <a:ext cx="4232390" cy="207764"/>
            </a:xfrm>
            <a:prstGeom prst="rect">
              <a:avLst/>
            </a:prstGeom>
            <a:noFill/>
            <a:ln>
              <a:noFill/>
            </a:ln>
          </p:spPr>
          <p:txBody>
            <a:bodyPr vert="horz" wrap="square" lIns="0" tIns="0" rIns="0" bIns="0" rtlCol="0" anchor="t">
              <a:spAutoFit/>
            </a:bodyPr>
            <a:lstStyle>
              <a:lvl1pPr marL="0" indent="0" algn="l" defTabSz="1072866" rtl="0" eaLnBrk="1" latinLnBrk="0" hangingPunct="1">
                <a:lnSpc>
                  <a:spcPct val="100000"/>
                </a:lnSpc>
                <a:spcBef>
                  <a:spcPts val="0"/>
                </a:spcBef>
                <a:buFont typeface="Arial" panose="020B0604020202020204" pitchFamily="34" charset="0"/>
                <a:buNone/>
                <a:defRPr sz="1000" kern="1200" baseline="0">
                  <a:solidFill>
                    <a:srgbClr val="606060"/>
                  </a:solidFill>
                  <a:latin typeface="Lato" panose="020F0502020204030203" pitchFamily="34" charset="0"/>
                  <a:ea typeface="+mn-ea"/>
                  <a:cs typeface="Arial" pitchFamily="34" charset="0"/>
                </a:defRPr>
              </a:lvl1pPr>
              <a:lvl2pPr marL="402325" indent="-201162"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2pPr>
              <a:lvl3pPr marL="603487" indent="-201162"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3pPr>
              <a:lvl4pPr marL="804649" indent="-201162"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4pPr>
              <a:lvl5pPr marL="1005811" indent="-201162"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5pPr>
              <a:lvl6pPr marL="1206974" indent="-201162"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6pPr>
              <a:lvl7pPr marL="1408136" indent="-197437"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7pPr>
              <a:lvl8pPr marL="1609298" indent="-204888"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8pPr>
              <a:lvl9pPr marL="1743406" indent="-197437"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9pPr>
            </a:lstStyle>
            <a:p>
              <a:r>
                <a:rPr lang="en-GB" sz="450" dirty="0">
                  <a:solidFill>
                    <a:srgbClr val="707274"/>
                  </a:solidFill>
                  <a:latin typeface="Proxima Nova A" panose="02000506030000020004" pitchFamily="2" charset="0"/>
                </a:rPr>
                <a:t>Source: State of Aadhaar pulse survey, 2019 (N = 575,127)</a:t>
              </a:r>
            </a:p>
            <a:p>
              <a:r>
                <a:rPr lang="en-GB" sz="450" dirty="0">
                  <a:solidFill>
                    <a:srgbClr val="707274"/>
                  </a:solidFill>
                  <a:latin typeface="Proxima Nova A" panose="02000506030000020004" pitchFamily="2" charset="0"/>
                </a:rPr>
                <a:t>Note: </a:t>
              </a:r>
              <a:r>
                <a:rPr lang="en-US" sz="450" dirty="0">
                  <a:solidFill>
                    <a:srgbClr val="707274"/>
                  </a:solidFill>
                  <a:latin typeface="Proxima Nova A" panose="02000506030000020004" pitchFamily="2" charset="0"/>
                </a:rPr>
                <a:t>Respondents and household members present during the interview were asked to respond on behalf of themselves and all absent household members. Numbers in the text and the chart may not match due to rounding.</a:t>
              </a:r>
              <a:endParaRPr lang="en-GB" sz="450" dirty="0">
                <a:solidFill>
                  <a:srgbClr val="707274"/>
                </a:solidFill>
                <a:latin typeface="Proxima Nova A" panose="02000506030000020004" pitchFamily="2" charset="0"/>
              </a:endParaRPr>
            </a:p>
          </p:txBody>
        </p:sp>
        <p:sp>
          <p:nvSpPr>
            <p:cNvPr id="2" name="TextBox 1">
              <a:extLst>
                <a:ext uri="{FF2B5EF4-FFF2-40B4-BE49-F238E27FC236}">
                  <a16:creationId xmlns:a16="http://schemas.microsoft.com/office/drawing/2014/main" id="{811E800B-6833-45A1-8C6D-92B59E63B14E}"/>
                </a:ext>
              </a:extLst>
            </p:cNvPr>
            <p:cNvSpPr txBox="1"/>
            <p:nvPr/>
          </p:nvSpPr>
          <p:spPr bwMode="gray">
            <a:xfrm>
              <a:off x="647520" y="2968669"/>
              <a:ext cx="481823" cy="919353"/>
            </a:xfrm>
            <a:prstGeom prst="rect">
              <a:avLst/>
            </a:prstGeom>
            <a:noFill/>
            <a:ln>
              <a:noFill/>
            </a:ln>
          </p:spPr>
          <p:txBody>
            <a:bodyPr vert="horz" wrap="square" lIns="0" tIns="0" rIns="0" bIns="0" rtlCol="0" anchor="ctr">
              <a:noAutofit/>
            </a:bodyPr>
            <a:lstStyle/>
            <a:p>
              <a:pPr algn="ctr">
                <a:spcBef>
                  <a:spcPts val="600"/>
                </a:spcBef>
              </a:pPr>
              <a:r>
                <a:rPr lang="en-IN" sz="600" dirty="0">
                  <a:solidFill>
                    <a:schemeClr val="bg2"/>
                  </a:solidFill>
                  <a:latin typeface="Proxima Nova A" panose="02000506030000020004" pitchFamily="2" charset="0"/>
                </a:rPr>
                <a:t>102 million</a:t>
              </a:r>
            </a:p>
          </p:txBody>
        </p:sp>
        <p:sp>
          <p:nvSpPr>
            <p:cNvPr id="42" name="TextBox 41">
              <a:extLst>
                <a:ext uri="{FF2B5EF4-FFF2-40B4-BE49-F238E27FC236}">
                  <a16:creationId xmlns:a16="http://schemas.microsoft.com/office/drawing/2014/main" id="{213AA3C7-DF89-457C-8E87-93C34231D3F3}"/>
                </a:ext>
              </a:extLst>
            </p:cNvPr>
            <p:cNvSpPr txBox="1"/>
            <p:nvPr/>
          </p:nvSpPr>
          <p:spPr bwMode="gray">
            <a:xfrm>
              <a:off x="1533075" y="2968669"/>
              <a:ext cx="492552" cy="247667"/>
            </a:xfrm>
            <a:prstGeom prst="rect">
              <a:avLst/>
            </a:prstGeom>
            <a:noFill/>
            <a:ln>
              <a:noFill/>
            </a:ln>
          </p:spPr>
          <p:txBody>
            <a:bodyPr vert="horz" wrap="square" lIns="0" tIns="0" rIns="0" bIns="0" rtlCol="0" anchor="ctr">
              <a:noAutofit/>
            </a:bodyPr>
            <a:lstStyle/>
            <a:p>
              <a:pPr algn="ctr">
                <a:spcBef>
                  <a:spcPts val="600"/>
                </a:spcBef>
              </a:pPr>
              <a:r>
                <a:rPr lang="en-IN" sz="600" dirty="0">
                  <a:solidFill>
                    <a:schemeClr val="bg2"/>
                  </a:solidFill>
                  <a:latin typeface="Proxima Nova A" panose="02000506030000020004" pitchFamily="2" charset="0"/>
                </a:rPr>
                <a:t>27 million</a:t>
              </a:r>
            </a:p>
          </p:txBody>
        </p:sp>
        <p:sp>
          <p:nvSpPr>
            <p:cNvPr id="43" name="TextBox 42">
              <a:extLst>
                <a:ext uri="{FF2B5EF4-FFF2-40B4-BE49-F238E27FC236}">
                  <a16:creationId xmlns:a16="http://schemas.microsoft.com/office/drawing/2014/main" id="{CBFB88EA-04D0-4A0F-AFB1-2CD59E7961F4}"/>
                </a:ext>
              </a:extLst>
            </p:cNvPr>
            <p:cNvSpPr txBox="1"/>
            <p:nvPr/>
          </p:nvSpPr>
          <p:spPr bwMode="gray">
            <a:xfrm>
              <a:off x="2417888" y="3216336"/>
              <a:ext cx="492552" cy="448516"/>
            </a:xfrm>
            <a:prstGeom prst="rect">
              <a:avLst/>
            </a:prstGeom>
            <a:noFill/>
            <a:ln>
              <a:noFill/>
            </a:ln>
          </p:spPr>
          <p:txBody>
            <a:bodyPr vert="horz" wrap="square" lIns="0" tIns="0" rIns="0" bIns="0" rtlCol="0" anchor="ctr">
              <a:noAutofit/>
            </a:bodyPr>
            <a:lstStyle/>
            <a:p>
              <a:pPr algn="ctr">
                <a:spcBef>
                  <a:spcPts val="600"/>
                </a:spcBef>
              </a:pPr>
              <a:r>
                <a:rPr lang="en-IN" sz="600" dirty="0">
                  <a:solidFill>
                    <a:schemeClr val="bg2"/>
                  </a:solidFill>
                  <a:latin typeface="Proxima Nova A" panose="02000506030000020004" pitchFamily="2" charset="0"/>
                </a:rPr>
                <a:t>49 million</a:t>
              </a:r>
            </a:p>
          </p:txBody>
        </p:sp>
        <p:sp>
          <p:nvSpPr>
            <p:cNvPr id="44" name="TextBox 43">
              <a:extLst>
                <a:ext uri="{FF2B5EF4-FFF2-40B4-BE49-F238E27FC236}">
                  <a16:creationId xmlns:a16="http://schemas.microsoft.com/office/drawing/2014/main" id="{B5BF70EA-86CB-4DC1-AE16-F76CA528137E}"/>
                </a:ext>
              </a:extLst>
            </p:cNvPr>
            <p:cNvSpPr txBox="1"/>
            <p:nvPr/>
          </p:nvSpPr>
          <p:spPr bwMode="gray">
            <a:xfrm>
              <a:off x="3303443" y="3668805"/>
              <a:ext cx="491810" cy="188925"/>
            </a:xfrm>
            <a:prstGeom prst="rect">
              <a:avLst/>
            </a:prstGeom>
            <a:noFill/>
            <a:ln>
              <a:noFill/>
            </a:ln>
          </p:spPr>
          <p:txBody>
            <a:bodyPr vert="horz" wrap="square" lIns="0" tIns="0" rIns="0" bIns="0" rtlCol="0" anchor="ctr">
              <a:noAutofit/>
            </a:bodyPr>
            <a:lstStyle/>
            <a:p>
              <a:pPr algn="ctr">
                <a:spcBef>
                  <a:spcPts val="600"/>
                </a:spcBef>
              </a:pPr>
              <a:r>
                <a:rPr lang="en-IN" sz="600" dirty="0">
                  <a:solidFill>
                    <a:schemeClr val="bg2"/>
                  </a:solidFill>
                  <a:latin typeface="Proxima Nova A" panose="02000506030000020004" pitchFamily="2" charset="0"/>
                </a:rPr>
                <a:t>20 million</a:t>
              </a:r>
            </a:p>
          </p:txBody>
        </p:sp>
        <p:sp>
          <p:nvSpPr>
            <p:cNvPr id="45" name="TextBox 44">
              <a:extLst>
                <a:ext uri="{FF2B5EF4-FFF2-40B4-BE49-F238E27FC236}">
                  <a16:creationId xmlns:a16="http://schemas.microsoft.com/office/drawing/2014/main" id="{5F839706-12B3-40C6-B533-B4AFB6FB7BFA}"/>
                </a:ext>
              </a:extLst>
            </p:cNvPr>
            <p:cNvSpPr txBox="1"/>
            <p:nvPr/>
          </p:nvSpPr>
          <p:spPr bwMode="gray">
            <a:xfrm>
              <a:off x="4188256" y="3857730"/>
              <a:ext cx="491809" cy="61124"/>
            </a:xfrm>
            <a:prstGeom prst="rect">
              <a:avLst/>
            </a:prstGeom>
            <a:noFill/>
            <a:ln>
              <a:noFill/>
            </a:ln>
          </p:spPr>
          <p:txBody>
            <a:bodyPr vert="horz" wrap="square" lIns="0" tIns="0" rIns="0" bIns="0" rtlCol="0" anchor="ctr">
              <a:noAutofit/>
            </a:bodyPr>
            <a:lstStyle/>
            <a:p>
              <a:pPr algn="ctr">
                <a:spcBef>
                  <a:spcPts val="600"/>
                </a:spcBef>
              </a:pPr>
              <a:r>
                <a:rPr lang="en-IN" sz="600" dirty="0">
                  <a:solidFill>
                    <a:schemeClr val="bg2"/>
                  </a:solidFill>
                  <a:latin typeface="Proxima Nova A" panose="02000506030000020004" pitchFamily="2" charset="0"/>
                </a:rPr>
                <a:t>7 million</a:t>
              </a:r>
            </a:p>
          </p:txBody>
        </p:sp>
      </p:grpSp>
    </p:spTree>
    <p:extLst>
      <p:ext uri="{BB962C8B-B14F-4D97-AF65-F5344CB8AC3E}">
        <p14:creationId xmlns:p14="http://schemas.microsoft.com/office/powerpoint/2010/main" val="11420832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038FF5B6-5421-40C4-B8CD-956AE213E45A}"/>
              </a:ext>
            </a:extLst>
          </p:cNvPr>
          <p:cNvGraphicFramePr>
            <a:graphicFrameLocks noChangeAspect="1"/>
          </p:cNvGraphicFramePr>
          <p:nvPr>
            <p:custDataLst>
              <p:tags r:id="rId2"/>
            </p:custDataLst>
            <p:extLst>
              <p:ext uri="{D42A27DB-BD31-4B8C-83A1-F6EECF244321}">
                <p14:modId xmlns:p14="http://schemas.microsoft.com/office/powerpoint/2010/main" val="874202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3071" name="think-cell Slide" r:id="rId9" imgW="473" imgH="473" progId="TCLayout.ActiveDocument.1">
                  <p:embed/>
                </p:oleObj>
              </mc:Choice>
              <mc:Fallback>
                <p:oleObj name="think-cell Slide" r:id="rId9" imgW="473" imgH="473"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7DAFDAB-B105-4C3E-8B23-0C62A3E37111}"/>
              </a:ext>
            </a:extLst>
          </p:cNvPr>
          <p:cNvSpPr/>
          <p:nvPr>
            <p:custDataLst>
              <p:tags r:id="rId3"/>
            </p:custDataLst>
          </p:nvPr>
        </p:nvSpPr>
        <p:spPr>
          <a:xfrm>
            <a:off x="0" y="0"/>
            <a:ext cx="158750" cy="158750"/>
          </a:xfrm>
          <a:prstGeom prst="rect">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14400"/>
            <a:endParaRPr lang="en-US" sz="600" b="1" kern="1200" dirty="0" err="1">
              <a:solidFill>
                <a:schemeClr val="bg1"/>
              </a:solidFill>
              <a:latin typeface="Proxima Nova A" panose="02000506030000020004" pitchFamily="2" charset="0"/>
              <a:cs typeface="Arial" panose="020B0604020202020204" pitchFamily="34" charset="0"/>
              <a:sym typeface="Proxima Nova A" panose="02000506030000020004" pitchFamily="2" charset="0"/>
            </a:endParaRPr>
          </a:p>
        </p:txBody>
      </p:sp>
      <p:cxnSp>
        <p:nvCxnSpPr>
          <p:cNvPr id="74" name="Straight Connector 73">
            <a:extLst>
              <a:ext uri="{FF2B5EF4-FFF2-40B4-BE49-F238E27FC236}">
                <a16:creationId xmlns:a16="http://schemas.microsoft.com/office/drawing/2014/main" id="{05A0202C-D320-4C3D-AC81-91AF4DF6483D}"/>
              </a:ext>
            </a:extLst>
          </p:cNvPr>
          <p:cNvCxnSpPr/>
          <p:nvPr>
            <p:custDataLst>
              <p:tags r:id="rId4"/>
            </p:custDataLst>
          </p:nvPr>
        </p:nvCxnSpPr>
        <p:spPr bwMode="gray">
          <a:xfrm>
            <a:off x="4660900" y="2387600"/>
            <a:ext cx="1257300" cy="0"/>
          </a:xfrm>
          <a:prstGeom prst="line">
            <a:avLst/>
          </a:prstGeom>
          <a:ln w="3175" cap="flat" cmpd="sng" algn="ctr">
            <a:solidFill>
              <a:srgbClr val="D6D6D6"/>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31" name="Chart 30">
            <a:extLst>
              <a:ext uri="{FF2B5EF4-FFF2-40B4-BE49-F238E27FC236}">
                <a16:creationId xmlns:a16="http://schemas.microsoft.com/office/drawing/2014/main" id="{FEBF43A5-BECC-41A6-A4DC-3CC3B617D6F6}"/>
              </a:ext>
            </a:extLst>
          </p:cNvPr>
          <p:cNvGraphicFramePr/>
          <p:nvPr>
            <p:custDataLst>
              <p:tags r:id="rId5"/>
            </p:custDataLst>
            <p:extLst>
              <p:ext uri="{D42A27DB-BD31-4B8C-83A1-F6EECF244321}">
                <p14:modId xmlns:p14="http://schemas.microsoft.com/office/powerpoint/2010/main" val="2551757008"/>
              </p:ext>
            </p:extLst>
          </p:nvPr>
        </p:nvGraphicFramePr>
        <p:xfrm>
          <a:off x="3902075" y="2195513"/>
          <a:ext cx="2776538" cy="2354262"/>
        </p:xfrm>
        <a:graphic>
          <a:graphicData uri="http://schemas.openxmlformats.org/drawingml/2006/chart">
            <c:chart xmlns:c="http://schemas.openxmlformats.org/drawingml/2006/chart" xmlns:r="http://schemas.openxmlformats.org/officeDocument/2006/relationships" r:id="rId11"/>
          </a:graphicData>
        </a:graphic>
      </p:graphicFrame>
      <p:sp>
        <p:nvSpPr>
          <p:cNvPr id="7" name="Text Placeholder 2">
            <a:extLst>
              <a:ext uri="{FF2B5EF4-FFF2-40B4-BE49-F238E27FC236}">
                <a16:creationId xmlns:a16="http://schemas.microsoft.com/office/drawing/2014/main" id="{47BDA5DB-1CC0-4CC1-B2B2-5E4F6A3E0283}"/>
              </a:ext>
            </a:extLst>
          </p:cNvPr>
          <p:cNvSpPr>
            <a:spLocks noGrp="1"/>
          </p:cNvSpPr>
          <p:nvPr>
            <p:custDataLst>
              <p:tags r:id="rId6"/>
            </p:custDataLst>
          </p:nvPr>
        </p:nvSpPr>
        <p:spPr bwMode="auto">
          <a:xfrm>
            <a:off x="4208463" y="4492625"/>
            <a:ext cx="420688" cy="184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01167" indent="-201167" algn="l" defTabSz="1072893" rtl="0" eaLnBrk="1" latinLnBrk="0" hangingPunct="1">
              <a:lnSpc>
                <a:spcPct val="100000"/>
              </a:lnSpc>
              <a:spcBef>
                <a:spcPts val="0"/>
              </a:spcBef>
              <a:buFont typeface="Arial" panose="020B0604020202020204" pitchFamily="34" charset="0"/>
              <a:buChar char="•"/>
              <a:defRPr sz="1600" kern="1200">
                <a:solidFill>
                  <a:srgbClr val="606060"/>
                </a:solidFill>
                <a:latin typeface="Lato" panose="020F0502020204030203" pitchFamily="34" charset="0"/>
                <a:ea typeface="+mn-ea"/>
                <a:cs typeface="Arial" pitchFamily="34" charset="0"/>
              </a:defRPr>
            </a:lvl1pPr>
            <a:lvl2pPr marL="402335"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2pPr>
            <a:lvl3pPr marL="603502" indent="-201167"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3pPr>
            <a:lvl4pPr marL="804669"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4pPr>
            <a:lvl5pPr marL="1005836" indent="-201167"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5pPr>
            <a:lvl6pPr marL="1207004"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6pPr>
            <a:lvl7pPr marL="1408172" indent="-197442"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7pPr>
            <a:lvl8pPr marL="1609339" indent="-204894"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8pPr>
            <a:lvl9pPr marL="1743449" indent="-197442"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9pPr>
          </a:lstStyle>
          <a:p>
            <a:pPr marL="0" indent="0" algn="ctr">
              <a:spcBef>
                <a:spcPct val="0"/>
              </a:spcBef>
              <a:spcAft>
                <a:spcPct val="0"/>
              </a:spcAft>
              <a:buNone/>
            </a:pPr>
            <a:fld id="{DD1B0344-A491-4FA7-A8CE-4AF382036506}" type="datetime'''''''''''''Do'''' not'''''''' ''''h''ave&#10;A''''adha''ar'''">
              <a:rPr lang="en-US" altLang="en-US" sz="600" smtClean="0">
                <a:solidFill>
                  <a:srgbClr val="707274"/>
                </a:solidFill>
                <a:latin typeface="Proxima Nova A" panose="02000506030000020004" pitchFamily="2" charset="0"/>
                <a:sym typeface="Proxima Nova A" panose="02000506030000020004" pitchFamily="2" charset="0"/>
              </a:rPr>
              <a:pPr/>
              <a:t>Do not have
Aadhaar</a:t>
            </a:fld>
            <a:endParaRPr lang="en-US" sz="600" dirty="0">
              <a:solidFill>
                <a:srgbClr val="707274"/>
              </a:solidFill>
              <a:latin typeface="Proxima Nova A" panose="02000506030000020004" pitchFamily="2" charset="0"/>
              <a:sym typeface="Proxima Nova A" panose="02000506030000020004" pitchFamily="2" charset="0"/>
            </a:endParaRPr>
          </a:p>
        </p:txBody>
      </p:sp>
      <p:sp>
        <p:nvSpPr>
          <p:cNvPr id="20" name="Text Placeholder 2">
            <a:extLst>
              <a:ext uri="{FF2B5EF4-FFF2-40B4-BE49-F238E27FC236}">
                <a16:creationId xmlns:a16="http://schemas.microsoft.com/office/drawing/2014/main" id="{AA9C2C2A-7AE4-43AF-82BB-89BDC349DCC3}"/>
              </a:ext>
            </a:extLst>
          </p:cNvPr>
          <p:cNvSpPr>
            <a:spLocks noGrp="1"/>
          </p:cNvSpPr>
          <p:nvPr>
            <p:custDataLst>
              <p:tags r:id="rId7"/>
            </p:custDataLst>
          </p:nvPr>
        </p:nvSpPr>
        <p:spPr bwMode="auto">
          <a:xfrm>
            <a:off x="5927725" y="4492625"/>
            <a:ext cx="463550" cy="184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01167" indent="-201167" algn="l" defTabSz="1072893" rtl="0" eaLnBrk="1" latinLnBrk="0" hangingPunct="1">
              <a:lnSpc>
                <a:spcPct val="100000"/>
              </a:lnSpc>
              <a:spcBef>
                <a:spcPts val="0"/>
              </a:spcBef>
              <a:buFont typeface="Arial" panose="020B0604020202020204" pitchFamily="34" charset="0"/>
              <a:buChar char="•"/>
              <a:defRPr sz="1600" kern="1200">
                <a:solidFill>
                  <a:srgbClr val="606060"/>
                </a:solidFill>
                <a:latin typeface="Lato" panose="020F0502020204030203" pitchFamily="34" charset="0"/>
                <a:ea typeface="+mn-ea"/>
                <a:cs typeface="Arial" pitchFamily="34" charset="0"/>
              </a:defRPr>
            </a:lvl1pPr>
            <a:lvl2pPr marL="402335"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2pPr>
            <a:lvl3pPr marL="603502" indent="-201167"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3pPr>
            <a:lvl4pPr marL="804669"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4pPr>
            <a:lvl5pPr marL="1005836" indent="-201167"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5pPr>
            <a:lvl6pPr marL="1207004"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6pPr>
            <a:lvl7pPr marL="1408172" indent="-197442"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7pPr>
            <a:lvl8pPr marL="1609339" indent="-204894"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8pPr>
            <a:lvl9pPr marL="1743449" indent="-197442"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9pPr>
          </a:lstStyle>
          <a:p>
            <a:pPr marL="0" indent="0" algn="ctr">
              <a:spcBef>
                <a:spcPct val="0"/>
              </a:spcBef>
              <a:spcAft>
                <a:spcPct val="0"/>
              </a:spcAft>
              <a:buNone/>
            </a:pPr>
            <a:fld id="{8E8BCA59-B39D-469A-BF86-EEE12B56151D}" type="datetime'''''Wa''n''''''t ''''to ''enrol'''' ''i''nto ''''A''adhaa''r'">
              <a:rPr lang="en-US" altLang="en-US" sz="600" smtClean="0">
                <a:solidFill>
                  <a:srgbClr val="707274"/>
                </a:solidFill>
                <a:latin typeface="Proxima Nova A" panose="02000506030000020004" pitchFamily="2" charset="0"/>
                <a:sym typeface="Proxima Nova A" panose="02000506030000020004" pitchFamily="2" charset="0"/>
              </a:rPr>
              <a:pPr/>
              <a:t>Want to enrol into Aadhaar</a:t>
            </a:fld>
            <a:endParaRPr lang="en-US" sz="600" dirty="0">
              <a:solidFill>
                <a:srgbClr val="707274"/>
              </a:solidFill>
              <a:latin typeface="Proxima Nova A" panose="02000506030000020004" pitchFamily="2" charset="0"/>
              <a:sym typeface="Proxima Nova A" panose="02000506030000020004" pitchFamily="2" charset="0"/>
            </a:endParaRPr>
          </a:p>
        </p:txBody>
      </p:sp>
      <p:grpSp>
        <p:nvGrpSpPr>
          <p:cNvPr id="2" name="Group 1">
            <a:extLst>
              <a:ext uri="{FF2B5EF4-FFF2-40B4-BE49-F238E27FC236}">
                <a16:creationId xmlns:a16="http://schemas.microsoft.com/office/drawing/2014/main" id="{359E73F1-9522-4EBD-86E7-1048C53C1FBD}"/>
              </a:ext>
            </a:extLst>
          </p:cNvPr>
          <p:cNvGrpSpPr/>
          <p:nvPr/>
        </p:nvGrpSpPr>
        <p:grpSpPr>
          <a:xfrm>
            <a:off x="4008438" y="2155825"/>
            <a:ext cx="4248150" cy="2738438"/>
            <a:chOff x="1949450" y="1249125"/>
            <a:chExt cx="7359934" cy="4743735"/>
          </a:xfrm>
        </p:grpSpPr>
        <p:grpSp>
          <p:nvGrpSpPr>
            <p:cNvPr id="87" name="Group 86">
              <a:extLst>
                <a:ext uri="{FF2B5EF4-FFF2-40B4-BE49-F238E27FC236}">
                  <a16:creationId xmlns:a16="http://schemas.microsoft.com/office/drawing/2014/main" id="{38F58F66-CE94-44A6-BDCE-AC68930E53A8}"/>
                </a:ext>
              </a:extLst>
            </p:cNvPr>
            <p:cNvGrpSpPr/>
            <p:nvPr/>
          </p:nvGrpSpPr>
          <p:grpSpPr>
            <a:xfrm>
              <a:off x="6108953" y="1795463"/>
              <a:ext cx="3200431" cy="1378660"/>
              <a:chOff x="5115416" y="1795463"/>
              <a:chExt cx="3200431" cy="1378660"/>
            </a:xfrm>
          </p:grpSpPr>
          <p:sp>
            <p:nvSpPr>
              <p:cNvPr id="57" name="Speech Bubble: Rectangle with Corners Rounded 56">
                <a:extLst>
                  <a:ext uri="{FF2B5EF4-FFF2-40B4-BE49-F238E27FC236}">
                    <a16:creationId xmlns:a16="http://schemas.microsoft.com/office/drawing/2014/main" id="{AD2CAF37-F04A-45E9-BF38-9FCB09340E03}"/>
                  </a:ext>
                </a:extLst>
              </p:cNvPr>
              <p:cNvSpPr/>
              <p:nvPr/>
            </p:nvSpPr>
            <p:spPr>
              <a:xfrm>
                <a:off x="5281454" y="2164003"/>
                <a:ext cx="2981640" cy="1010120"/>
              </a:xfrm>
              <a:prstGeom prst="wedgeRoundRectCallout">
                <a:avLst>
                  <a:gd name="adj1" fmla="val -54775"/>
                  <a:gd name="adj2" fmla="val -15997"/>
                  <a:gd name="adj3" fmla="val 16667"/>
                </a:avLst>
              </a:prstGeom>
              <a:solidFill>
                <a:srgbClr val="F2F2F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marL="57150" indent="-57150" defTabSz="914423">
                  <a:buFont typeface="Arial" panose="020B0604020202020204" pitchFamily="34" charset="0"/>
                  <a:buChar char="•"/>
                </a:pPr>
                <a:r>
                  <a:rPr lang="en-GB" sz="600" dirty="0">
                    <a:solidFill>
                      <a:srgbClr val="707274"/>
                    </a:solidFill>
                    <a:latin typeface="Proxima Nova A" panose="02000506030000020004" pitchFamily="2" charset="0"/>
                    <a:cs typeface="Arial" pitchFamily="34" charset="0"/>
                  </a:rPr>
                  <a:t>Respondents spent an average of </a:t>
                </a:r>
                <a:r>
                  <a:rPr lang="en-GB" sz="600" b="1" dirty="0">
                    <a:solidFill>
                      <a:srgbClr val="707274"/>
                    </a:solidFill>
                    <a:latin typeface="Proxima Nova A" panose="02000506030000020004" pitchFamily="2" charset="0"/>
                    <a:cs typeface="Arial" pitchFamily="34" charset="0"/>
                  </a:rPr>
                  <a:t>Rs. 70</a:t>
                </a:r>
                <a:r>
                  <a:rPr lang="en-GB" sz="600" dirty="0">
                    <a:solidFill>
                      <a:srgbClr val="707274"/>
                    </a:solidFill>
                    <a:latin typeface="Proxima Nova A" panose="02000506030000020004" pitchFamily="2" charset="0"/>
                    <a:cs typeface="Arial" pitchFamily="34" charset="0"/>
                  </a:rPr>
                  <a:t> for the entire process</a:t>
                </a:r>
              </a:p>
              <a:p>
                <a:pPr marL="57150" indent="-57150" defTabSz="914423">
                  <a:buFont typeface="Arial" panose="020B0604020202020204" pitchFamily="34" charset="0"/>
                  <a:buChar char="•"/>
                </a:pPr>
                <a:r>
                  <a:rPr lang="en-GB" sz="600" b="1" dirty="0">
                    <a:solidFill>
                      <a:srgbClr val="707274"/>
                    </a:solidFill>
                    <a:latin typeface="Proxima Nova A" panose="02000506030000020004" pitchFamily="2" charset="0"/>
                    <a:cs typeface="Arial" pitchFamily="34" charset="0"/>
                  </a:rPr>
                  <a:t>9% </a:t>
                </a:r>
                <a:r>
                  <a:rPr lang="en-GB" sz="600" dirty="0">
                    <a:solidFill>
                      <a:srgbClr val="707274"/>
                    </a:solidFill>
                    <a:latin typeface="Proxima Nova A" panose="02000506030000020004" pitchFamily="2" charset="0"/>
                    <a:cs typeface="Arial" pitchFamily="34" charset="0"/>
                  </a:rPr>
                  <a:t>used the Aadhaar helpline or registered a formal complaint during enrolment </a:t>
                </a:r>
              </a:p>
            </p:txBody>
          </p:sp>
          <p:grpSp>
            <p:nvGrpSpPr>
              <p:cNvPr id="86" name="Group 85">
                <a:extLst>
                  <a:ext uri="{FF2B5EF4-FFF2-40B4-BE49-F238E27FC236}">
                    <a16:creationId xmlns:a16="http://schemas.microsoft.com/office/drawing/2014/main" id="{82E59D84-ABC6-46AA-A0DE-A049D9538453}"/>
                  </a:ext>
                </a:extLst>
              </p:cNvPr>
              <p:cNvGrpSpPr/>
              <p:nvPr/>
            </p:nvGrpSpPr>
            <p:grpSpPr>
              <a:xfrm>
                <a:off x="5115416" y="1795463"/>
                <a:ext cx="3200431" cy="452751"/>
                <a:chOff x="5115416" y="1795463"/>
                <a:chExt cx="3200431" cy="452751"/>
              </a:xfrm>
            </p:grpSpPr>
            <p:sp>
              <p:nvSpPr>
                <p:cNvPr id="76" name="TextBox 75">
                  <a:extLst>
                    <a:ext uri="{FF2B5EF4-FFF2-40B4-BE49-F238E27FC236}">
                      <a16:creationId xmlns:a16="http://schemas.microsoft.com/office/drawing/2014/main" id="{7865FA3B-E105-4B62-BAAA-379E0D632A67}"/>
                    </a:ext>
                  </a:extLst>
                </p:cNvPr>
                <p:cNvSpPr txBox="1"/>
                <p:nvPr/>
              </p:nvSpPr>
              <p:spPr bwMode="gray">
                <a:xfrm>
                  <a:off x="5334207" y="1795463"/>
                  <a:ext cx="2981640" cy="368540"/>
                </a:xfrm>
                <a:prstGeom prst="rect">
                  <a:avLst/>
                </a:prstGeom>
              </p:spPr>
              <p:txBody>
                <a:bodyPr vert="horz" wrap="square" lIns="0" tIns="0" rIns="0" bIns="0" rtlCol="0" anchor="ctr">
                  <a:noAutofit/>
                </a:bodyPr>
                <a:lstStyle/>
                <a:p>
                  <a:pPr>
                    <a:spcBef>
                      <a:spcPts val="600"/>
                    </a:spcBef>
                  </a:pPr>
                  <a:r>
                    <a:rPr lang="en-US" sz="600" b="1" dirty="0">
                      <a:solidFill>
                        <a:srgbClr val="707274"/>
                      </a:solidFill>
                      <a:latin typeface="Proxima Nova A" panose="02000506030000020004" pitchFamily="2" charset="0"/>
                    </a:rPr>
                    <a:t>Tried but failed to </a:t>
                  </a:r>
                  <a:r>
                    <a:rPr lang="en-US" sz="600" b="1" dirty="0" err="1">
                      <a:solidFill>
                        <a:srgbClr val="707274"/>
                      </a:solidFill>
                      <a:latin typeface="Proxima Nova A" panose="02000506030000020004" pitchFamily="2" charset="0"/>
                    </a:rPr>
                    <a:t>enrol</a:t>
                  </a:r>
                  <a:endParaRPr lang="en-US" sz="600" b="1" dirty="0">
                    <a:solidFill>
                      <a:srgbClr val="707274"/>
                    </a:solidFill>
                    <a:latin typeface="Proxima Nova A" panose="02000506030000020004" pitchFamily="2" charset="0"/>
                  </a:endParaRPr>
                </a:p>
              </p:txBody>
            </p:sp>
            <p:cxnSp>
              <p:nvCxnSpPr>
                <p:cNvPr id="79" name="Straight Connector 78">
                  <a:extLst>
                    <a:ext uri="{FF2B5EF4-FFF2-40B4-BE49-F238E27FC236}">
                      <a16:creationId xmlns:a16="http://schemas.microsoft.com/office/drawing/2014/main" id="{12456817-D23B-4D5E-8CFA-5F599EA4C840}"/>
                    </a:ext>
                  </a:extLst>
                </p:cNvPr>
                <p:cNvCxnSpPr>
                  <a:cxnSpLocks/>
                </p:cNvCxnSpPr>
                <p:nvPr/>
              </p:nvCxnSpPr>
              <p:spPr>
                <a:xfrm flipH="1">
                  <a:off x="5115416" y="2034540"/>
                  <a:ext cx="166039" cy="213674"/>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grpSp>
          <p:nvGrpSpPr>
            <p:cNvPr id="88" name="Group 87">
              <a:extLst>
                <a:ext uri="{FF2B5EF4-FFF2-40B4-BE49-F238E27FC236}">
                  <a16:creationId xmlns:a16="http://schemas.microsoft.com/office/drawing/2014/main" id="{F7B378B9-344A-45B7-B297-BDFA5ED843E5}"/>
                </a:ext>
              </a:extLst>
            </p:cNvPr>
            <p:cNvGrpSpPr/>
            <p:nvPr/>
          </p:nvGrpSpPr>
          <p:grpSpPr>
            <a:xfrm>
              <a:off x="6108953" y="3649981"/>
              <a:ext cx="3200431" cy="1374704"/>
              <a:chOff x="5115416" y="3649981"/>
              <a:chExt cx="3200431" cy="1374704"/>
            </a:xfrm>
          </p:grpSpPr>
          <p:sp>
            <p:nvSpPr>
              <p:cNvPr id="56" name="Speech Bubble: Rectangle with Corners Rounded 55">
                <a:extLst>
                  <a:ext uri="{FF2B5EF4-FFF2-40B4-BE49-F238E27FC236}">
                    <a16:creationId xmlns:a16="http://schemas.microsoft.com/office/drawing/2014/main" id="{1E092741-1691-4293-8576-857042AEC1BC}"/>
                  </a:ext>
                </a:extLst>
              </p:cNvPr>
              <p:cNvSpPr/>
              <p:nvPr/>
            </p:nvSpPr>
            <p:spPr>
              <a:xfrm>
                <a:off x="5281454" y="4083280"/>
                <a:ext cx="2981640" cy="941405"/>
              </a:xfrm>
              <a:prstGeom prst="wedgeRoundRectCallout">
                <a:avLst>
                  <a:gd name="adj1" fmla="val -53915"/>
                  <a:gd name="adj2" fmla="val 3083"/>
                  <a:gd name="adj3" fmla="val 16667"/>
                </a:avLst>
              </a:prstGeom>
              <a:solidFill>
                <a:srgbClr val="F2F2F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defTabSz="914423"/>
                <a:r>
                  <a:rPr lang="en-GB" sz="600" dirty="0">
                    <a:solidFill>
                      <a:srgbClr val="707274"/>
                    </a:solidFill>
                    <a:latin typeface="Proxima Nova A" panose="02000506030000020004" pitchFamily="2" charset="0"/>
                    <a:cs typeface="Arial" pitchFamily="34" charset="0"/>
                  </a:rPr>
                  <a:t>Top three reasons for not enrolling</a:t>
                </a:r>
              </a:p>
              <a:p>
                <a:pPr marL="57150" indent="-57150" defTabSz="914423">
                  <a:buFont typeface="Arial" panose="020B0604020202020204" pitchFamily="34" charset="0"/>
                  <a:buChar char="•"/>
                  <a:tabLst>
                    <a:tab pos="57150" algn="l"/>
                  </a:tabLst>
                </a:pPr>
                <a:r>
                  <a:rPr lang="en-GB" sz="600" dirty="0">
                    <a:solidFill>
                      <a:srgbClr val="707274"/>
                    </a:solidFill>
                    <a:latin typeface="Proxima Nova A" panose="02000506030000020004" pitchFamily="2" charset="0"/>
                    <a:cs typeface="Arial" pitchFamily="34" charset="0"/>
                  </a:rPr>
                  <a:t>Did not have an enrolment centre nearby</a:t>
                </a:r>
              </a:p>
              <a:p>
                <a:pPr marL="57150" indent="-57150" defTabSz="914423">
                  <a:buFont typeface="Arial" panose="020B0604020202020204" pitchFamily="34" charset="0"/>
                  <a:buChar char="•"/>
                  <a:tabLst>
                    <a:tab pos="57150" algn="l"/>
                  </a:tabLst>
                </a:pPr>
                <a:r>
                  <a:rPr lang="en-GB" sz="600" dirty="0">
                    <a:solidFill>
                      <a:srgbClr val="707274"/>
                    </a:solidFill>
                    <a:latin typeface="Proxima Nova A" panose="02000506030000020004" pitchFamily="2" charset="0"/>
                    <a:cs typeface="Arial" pitchFamily="34" charset="0"/>
                  </a:rPr>
                  <a:t>Did not know where to enrol</a:t>
                </a:r>
              </a:p>
              <a:p>
                <a:pPr marL="57150" indent="-57150" defTabSz="914423">
                  <a:buFont typeface="Arial" panose="020B0604020202020204" pitchFamily="34" charset="0"/>
                  <a:buChar char="•"/>
                  <a:tabLst>
                    <a:tab pos="57150" algn="l"/>
                  </a:tabLst>
                </a:pPr>
                <a:r>
                  <a:rPr lang="en-GB" sz="600" dirty="0">
                    <a:solidFill>
                      <a:srgbClr val="707274"/>
                    </a:solidFill>
                    <a:latin typeface="Proxima Nova A" panose="02000506030000020004" pitchFamily="2" charset="0"/>
                    <a:cs typeface="Arial" pitchFamily="34" charset="0"/>
                  </a:rPr>
                  <a:t>Did not have the necessary documents</a:t>
                </a:r>
              </a:p>
            </p:txBody>
          </p:sp>
          <p:grpSp>
            <p:nvGrpSpPr>
              <p:cNvPr id="85" name="Group 84">
                <a:extLst>
                  <a:ext uri="{FF2B5EF4-FFF2-40B4-BE49-F238E27FC236}">
                    <a16:creationId xmlns:a16="http://schemas.microsoft.com/office/drawing/2014/main" id="{40142127-7FD2-4293-8802-521A39FEA769}"/>
                  </a:ext>
                </a:extLst>
              </p:cNvPr>
              <p:cNvGrpSpPr/>
              <p:nvPr/>
            </p:nvGrpSpPr>
            <p:grpSpPr>
              <a:xfrm>
                <a:off x="5115416" y="3649981"/>
                <a:ext cx="3200431" cy="438072"/>
                <a:chOff x="5115416" y="3649981"/>
                <a:chExt cx="3200431" cy="438072"/>
              </a:xfrm>
            </p:grpSpPr>
            <p:sp>
              <p:nvSpPr>
                <p:cNvPr id="77" name="TextBox 76">
                  <a:extLst>
                    <a:ext uri="{FF2B5EF4-FFF2-40B4-BE49-F238E27FC236}">
                      <a16:creationId xmlns:a16="http://schemas.microsoft.com/office/drawing/2014/main" id="{982327FB-FE4A-4B25-98EA-65BE65AE625C}"/>
                    </a:ext>
                  </a:extLst>
                </p:cNvPr>
                <p:cNvSpPr txBox="1"/>
                <p:nvPr/>
              </p:nvSpPr>
              <p:spPr bwMode="gray">
                <a:xfrm>
                  <a:off x="5334207" y="3719513"/>
                  <a:ext cx="2981640" cy="368540"/>
                </a:xfrm>
                <a:prstGeom prst="rect">
                  <a:avLst/>
                </a:prstGeom>
              </p:spPr>
              <p:txBody>
                <a:bodyPr vert="horz" wrap="square" lIns="0" tIns="0" rIns="0" bIns="0" rtlCol="0" anchor="ctr">
                  <a:noAutofit/>
                </a:bodyPr>
                <a:lstStyle/>
                <a:p>
                  <a:pPr>
                    <a:spcBef>
                      <a:spcPts val="600"/>
                    </a:spcBef>
                  </a:pPr>
                  <a:r>
                    <a:rPr lang="en-US" sz="600" b="1" dirty="0">
                      <a:solidFill>
                        <a:srgbClr val="707274"/>
                      </a:solidFill>
                      <a:latin typeface="Proxima Nova A" panose="02000506030000020004" pitchFamily="2" charset="0"/>
                    </a:rPr>
                    <a:t>Did not try to </a:t>
                  </a:r>
                  <a:r>
                    <a:rPr lang="en-US" sz="600" b="1" dirty="0" err="1">
                      <a:solidFill>
                        <a:srgbClr val="707274"/>
                      </a:solidFill>
                      <a:latin typeface="Proxima Nova A" panose="02000506030000020004" pitchFamily="2" charset="0"/>
                    </a:rPr>
                    <a:t>enrol</a:t>
                  </a:r>
                  <a:endParaRPr lang="en-US" sz="600" b="1" dirty="0">
                    <a:solidFill>
                      <a:srgbClr val="707274"/>
                    </a:solidFill>
                    <a:latin typeface="Proxima Nova A" panose="02000506030000020004" pitchFamily="2" charset="0"/>
                  </a:endParaRPr>
                </a:p>
              </p:txBody>
            </p:sp>
            <p:cxnSp>
              <p:nvCxnSpPr>
                <p:cNvPr id="82" name="Straight Connector 81">
                  <a:extLst>
                    <a:ext uri="{FF2B5EF4-FFF2-40B4-BE49-F238E27FC236}">
                      <a16:creationId xmlns:a16="http://schemas.microsoft.com/office/drawing/2014/main" id="{95771095-748A-4599-BD02-F102801D529C}"/>
                    </a:ext>
                  </a:extLst>
                </p:cNvPr>
                <p:cNvCxnSpPr>
                  <a:cxnSpLocks/>
                </p:cNvCxnSpPr>
                <p:nvPr/>
              </p:nvCxnSpPr>
              <p:spPr>
                <a:xfrm flipH="1" flipV="1">
                  <a:off x="5115416" y="3649981"/>
                  <a:ext cx="166039" cy="201903"/>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sp>
          <p:nvSpPr>
            <p:cNvPr id="102" name="TextBox 101">
              <a:extLst>
                <a:ext uri="{FF2B5EF4-FFF2-40B4-BE49-F238E27FC236}">
                  <a16:creationId xmlns:a16="http://schemas.microsoft.com/office/drawing/2014/main" id="{72674CC0-A7A8-42E9-A64C-7ED44ADE422F}"/>
                </a:ext>
              </a:extLst>
            </p:cNvPr>
            <p:cNvSpPr txBox="1"/>
            <p:nvPr/>
          </p:nvSpPr>
          <p:spPr bwMode="gray">
            <a:xfrm>
              <a:off x="2262557" y="3745526"/>
              <a:ext cx="834658" cy="212716"/>
            </a:xfrm>
            <a:prstGeom prst="rect">
              <a:avLst/>
            </a:prstGeom>
          </p:spPr>
          <p:txBody>
            <a:bodyPr vert="horz" wrap="square" lIns="0" tIns="0" rIns="0" bIns="0" rtlCol="0" anchor="t">
              <a:noAutofit/>
            </a:bodyPr>
            <a:lstStyle/>
            <a:p>
              <a:pPr algn="ctr">
                <a:spcBef>
                  <a:spcPts val="600"/>
                </a:spcBef>
              </a:pPr>
              <a:r>
                <a:rPr lang="en-US" sz="600" dirty="0">
                  <a:solidFill>
                    <a:schemeClr val="bg1"/>
                  </a:solidFill>
                  <a:latin typeface="Proxima Nova A" panose="02000506030000020004" pitchFamily="2" charset="0"/>
                </a:rPr>
                <a:t>25 million</a:t>
              </a:r>
            </a:p>
          </p:txBody>
        </p:sp>
        <p:grpSp>
          <p:nvGrpSpPr>
            <p:cNvPr id="120" name="Group 119">
              <a:extLst>
                <a:ext uri="{FF2B5EF4-FFF2-40B4-BE49-F238E27FC236}">
                  <a16:creationId xmlns:a16="http://schemas.microsoft.com/office/drawing/2014/main" id="{A114F8BC-2A15-46B0-AAE5-D978A66F1732}"/>
                </a:ext>
              </a:extLst>
            </p:cNvPr>
            <p:cNvGrpSpPr/>
            <p:nvPr/>
          </p:nvGrpSpPr>
          <p:grpSpPr>
            <a:xfrm>
              <a:off x="5272089" y="2488910"/>
              <a:ext cx="823912" cy="2067214"/>
              <a:chOff x="5917717" y="2488910"/>
              <a:chExt cx="1000125" cy="2067214"/>
            </a:xfrm>
          </p:grpSpPr>
          <p:sp>
            <p:nvSpPr>
              <p:cNvPr id="108" name="TextBox 107">
                <a:extLst>
                  <a:ext uri="{FF2B5EF4-FFF2-40B4-BE49-F238E27FC236}">
                    <a16:creationId xmlns:a16="http://schemas.microsoft.com/office/drawing/2014/main" id="{F5B84C50-6567-4C99-9A01-1D780070449C}"/>
                  </a:ext>
                </a:extLst>
              </p:cNvPr>
              <p:cNvSpPr txBox="1"/>
              <p:nvPr/>
            </p:nvSpPr>
            <p:spPr bwMode="gray">
              <a:xfrm>
                <a:off x="5917717" y="4343408"/>
                <a:ext cx="1000125" cy="212716"/>
              </a:xfrm>
              <a:prstGeom prst="rect">
                <a:avLst/>
              </a:prstGeom>
            </p:spPr>
            <p:txBody>
              <a:bodyPr vert="horz" wrap="square" lIns="0" tIns="0" rIns="0" bIns="0" rtlCol="0" anchor="t">
                <a:noAutofit/>
              </a:bodyPr>
              <a:lstStyle/>
              <a:p>
                <a:pPr algn="ctr">
                  <a:spcBef>
                    <a:spcPts val="600"/>
                  </a:spcBef>
                </a:pPr>
                <a:r>
                  <a:rPr lang="en-US" sz="600" dirty="0">
                    <a:solidFill>
                      <a:schemeClr val="bg1"/>
                    </a:solidFill>
                    <a:latin typeface="Proxima Nova A" panose="02000506030000020004" pitchFamily="2" charset="0"/>
                  </a:rPr>
                  <a:t>16 million</a:t>
                </a:r>
              </a:p>
            </p:txBody>
          </p:sp>
          <p:sp>
            <p:nvSpPr>
              <p:cNvPr id="109" name="TextBox 108">
                <a:extLst>
                  <a:ext uri="{FF2B5EF4-FFF2-40B4-BE49-F238E27FC236}">
                    <a16:creationId xmlns:a16="http://schemas.microsoft.com/office/drawing/2014/main" id="{412BE665-D7E6-45C5-BC26-68580C885414}"/>
                  </a:ext>
                </a:extLst>
              </p:cNvPr>
              <p:cNvSpPr txBox="1"/>
              <p:nvPr/>
            </p:nvSpPr>
            <p:spPr bwMode="gray">
              <a:xfrm>
                <a:off x="5917717" y="2488910"/>
                <a:ext cx="1000125" cy="212716"/>
              </a:xfrm>
              <a:prstGeom prst="rect">
                <a:avLst/>
              </a:prstGeom>
            </p:spPr>
            <p:txBody>
              <a:bodyPr vert="horz" wrap="square" lIns="0" tIns="0" rIns="0" bIns="0" rtlCol="0" anchor="t">
                <a:noAutofit/>
              </a:bodyPr>
              <a:lstStyle/>
              <a:p>
                <a:pPr algn="ctr">
                  <a:spcBef>
                    <a:spcPts val="600"/>
                  </a:spcBef>
                </a:pPr>
                <a:r>
                  <a:rPr lang="en-US" sz="600" dirty="0">
                    <a:solidFill>
                      <a:srgbClr val="94999F"/>
                    </a:solidFill>
                    <a:latin typeface="Proxima Nova A" panose="02000506030000020004" pitchFamily="2" charset="0"/>
                  </a:rPr>
                  <a:t>9 million</a:t>
                </a:r>
              </a:p>
            </p:txBody>
          </p:sp>
        </p:grpSp>
        <p:grpSp>
          <p:nvGrpSpPr>
            <p:cNvPr id="114" name="Group 113">
              <a:extLst>
                <a:ext uri="{FF2B5EF4-FFF2-40B4-BE49-F238E27FC236}">
                  <a16:creationId xmlns:a16="http://schemas.microsoft.com/office/drawing/2014/main" id="{571223E2-5405-4A44-80A0-E086759B5880}"/>
                </a:ext>
              </a:extLst>
            </p:cNvPr>
            <p:cNvGrpSpPr/>
            <p:nvPr/>
          </p:nvGrpSpPr>
          <p:grpSpPr>
            <a:xfrm>
              <a:off x="3097214" y="1249125"/>
              <a:ext cx="1755935" cy="318896"/>
              <a:chOff x="3325810" y="1751936"/>
              <a:chExt cx="1755934" cy="368540"/>
            </a:xfrm>
          </p:grpSpPr>
          <p:sp>
            <p:nvSpPr>
              <p:cNvPr id="115" name="TextBox 114">
                <a:extLst>
                  <a:ext uri="{FF2B5EF4-FFF2-40B4-BE49-F238E27FC236}">
                    <a16:creationId xmlns:a16="http://schemas.microsoft.com/office/drawing/2014/main" id="{44B44B64-7A5C-4488-9297-8170099D792C}"/>
                  </a:ext>
                </a:extLst>
              </p:cNvPr>
              <p:cNvSpPr txBox="1"/>
              <p:nvPr/>
            </p:nvSpPr>
            <p:spPr bwMode="gray">
              <a:xfrm>
                <a:off x="3526442" y="1751936"/>
                <a:ext cx="1555302" cy="368540"/>
              </a:xfrm>
              <a:prstGeom prst="rect">
                <a:avLst/>
              </a:prstGeom>
              <a:ln>
                <a:noFill/>
              </a:ln>
            </p:spPr>
            <p:txBody>
              <a:bodyPr vert="horz" wrap="square" lIns="0" tIns="0" rIns="0" bIns="0" rtlCol="0" anchor="ctr">
                <a:noAutofit/>
              </a:bodyPr>
              <a:lstStyle/>
              <a:p>
                <a:pPr>
                  <a:spcBef>
                    <a:spcPts val="600"/>
                  </a:spcBef>
                </a:pPr>
                <a:r>
                  <a:rPr lang="en-US" sz="600" b="1" dirty="0">
                    <a:solidFill>
                      <a:srgbClr val="707274"/>
                    </a:solidFill>
                    <a:latin typeface="Proxima Nova A" panose="02000506030000020004" pitchFamily="2" charset="0"/>
                  </a:rPr>
                  <a:t>Do not want to </a:t>
                </a:r>
                <a:r>
                  <a:rPr lang="en-US" sz="600" b="1" dirty="0" err="1">
                    <a:solidFill>
                      <a:srgbClr val="707274"/>
                    </a:solidFill>
                    <a:latin typeface="Proxima Nova A" panose="02000506030000020004" pitchFamily="2" charset="0"/>
                  </a:rPr>
                  <a:t>enrol</a:t>
                </a:r>
                <a:r>
                  <a:rPr lang="en-US" sz="600" b="1" dirty="0">
                    <a:solidFill>
                      <a:srgbClr val="707274"/>
                    </a:solidFill>
                    <a:latin typeface="Proxima Nova A" panose="02000506030000020004" pitchFamily="2" charset="0"/>
                  </a:rPr>
                  <a:t> into Aadhaar </a:t>
                </a:r>
              </a:p>
            </p:txBody>
          </p:sp>
          <p:cxnSp>
            <p:nvCxnSpPr>
              <p:cNvPr id="116" name="Straight Connector 115">
                <a:extLst>
                  <a:ext uri="{FF2B5EF4-FFF2-40B4-BE49-F238E27FC236}">
                    <a16:creationId xmlns:a16="http://schemas.microsoft.com/office/drawing/2014/main" id="{FB8FAD1B-92DD-4894-B010-84BE7825B5BB}"/>
                  </a:ext>
                </a:extLst>
              </p:cNvPr>
              <p:cNvCxnSpPr>
                <a:cxnSpLocks/>
              </p:cNvCxnSpPr>
              <p:nvPr/>
            </p:nvCxnSpPr>
            <p:spPr>
              <a:xfrm flipH="1">
                <a:off x="3325810" y="2003907"/>
                <a:ext cx="147368" cy="116569"/>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21" name="Text Placeholder 3">
              <a:extLst>
                <a:ext uri="{FF2B5EF4-FFF2-40B4-BE49-F238E27FC236}">
                  <a16:creationId xmlns:a16="http://schemas.microsoft.com/office/drawing/2014/main" id="{5D3294A0-34EB-41D2-8C06-C0C992FA8D73}"/>
                </a:ext>
              </a:extLst>
            </p:cNvPr>
            <p:cNvSpPr txBox="1">
              <a:spLocks/>
            </p:cNvSpPr>
            <p:nvPr/>
          </p:nvSpPr>
          <p:spPr bwMode="gray">
            <a:xfrm>
              <a:off x="1949450" y="5752912"/>
              <a:ext cx="7359934" cy="239948"/>
            </a:xfrm>
            <a:prstGeom prst="rect">
              <a:avLst/>
            </a:prstGeom>
          </p:spPr>
          <p:txBody>
            <a:bodyPr vert="horz" wrap="square" lIns="0" tIns="0" rIns="0" bIns="0" rtlCol="0" anchor="b">
              <a:spAutoFit/>
            </a:bodyPr>
            <a:lstStyle>
              <a:lvl1pPr marL="0" indent="0" algn="l" defTabSz="1072866" rtl="0" eaLnBrk="1" latinLnBrk="0" hangingPunct="1">
                <a:lnSpc>
                  <a:spcPct val="100000"/>
                </a:lnSpc>
                <a:spcBef>
                  <a:spcPts val="0"/>
                </a:spcBef>
                <a:buFont typeface="Arial" panose="020B0604020202020204" pitchFamily="34" charset="0"/>
                <a:buNone/>
                <a:defRPr sz="1000" kern="1200" baseline="0">
                  <a:solidFill>
                    <a:srgbClr val="606060"/>
                  </a:solidFill>
                  <a:latin typeface="Lato" panose="020F0502020204030203" pitchFamily="34" charset="0"/>
                  <a:ea typeface="+mn-ea"/>
                  <a:cs typeface="Arial" pitchFamily="34" charset="0"/>
                </a:defRPr>
              </a:lvl1pPr>
              <a:lvl2pPr marL="402325" indent="-201162"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2pPr>
              <a:lvl3pPr marL="603487" indent="-201162"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3pPr>
              <a:lvl4pPr marL="804649" indent="-201162"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4pPr>
              <a:lvl5pPr marL="1005811" indent="-201162"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5pPr>
              <a:lvl6pPr marL="1206974" indent="-201162"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6pPr>
              <a:lvl7pPr marL="1408136" indent="-197437"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7pPr>
              <a:lvl8pPr marL="1609298" indent="-204888"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8pPr>
              <a:lvl9pPr marL="1743406" indent="-197437"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9pPr>
            </a:lstStyle>
            <a:p>
              <a:r>
                <a:rPr lang="en-GB" sz="450" dirty="0">
                  <a:solidFill>
                    <a:srgbClr val="707274"/>
                  </a:solidFill>
                  <a:latin typeface="Proxima Nova A" panose="02000506030000020004" pitchFamily="2" charset="0"/>
                </a:rPr>
                <a:t>Source: State of Aadhaar in-depth survey, 2019  (N = 1,079)</a:t>
              </a:r>
            </a:p>
            <a:p>
              <a:r>
                <a:rPr lang="en-GB" sz="450" dirty="0">
                  <a:solidFill>
                    <a:srgbClr val="707274"/>
                  </a:solidFill>
                  <a:latin typeface="Proxima Nova A" panose="02000506030000020004" pitchFamily="2" charset="0"/>
                </a:rPr>
                <a:t>Note: </a:t>
              </a:r>
              <a:r>
                <a:rPr lang="en-US" sz="450" dirty="0">
                  <a:solidFill>
                    <a:srgbClr val="707274"/>
                  </a:solidFill>
                  <a:latin typeface="Proxima Nova A" panose="02000506030000020004" pitchFamily="2" charset="0"/>
                </a:rPr>
                <a:t>Numbers in the text and the chart may not match due to rounding.</a:t>
              </a:r>
              <a:endParaRPr lang="en-GB" sz="450" dirty="0">
                <a:solidFill>
                  <a:srgbClr val="707274"/>
                </a:solidFill>
                <a:latin typeface="Proxima Nova A" panose="02000506030000020004" pitchFamily="2" charset="0"/>
              </a:endParaRPr>
            </a:p>
          </p:txBody>
        </p:sp>
        <p:grpSp>
          <p:nvGrpSpPr>
            <p:cNvPr id="129" name="Group 128">
              <a:extLst>
                <a:ext uri="{FF2B5EF4-FFF2-40B4-BE49-F238E27FC236}">
                  <a16:creationId xmlns:a16="http://schemas.microsoft.com/office/drawing/2014/main" id="{097A473D-73CF-4DB1-B111-240BCF871092}"/>
                </a:ext>
              </a:extLst>
            </p:cNvPr>
            <p:cNvGrpSpPr/>
            <p:nvPr/>
          </p:nvGrpSpPr>
          <p:grpSpPr>
            <a:xfrm>
              <a:off x="3097215" y="2155443"/>
              <a:ext cx="1810068" cy="368540"/>
              <a:chOff x="3271676" y="1751936"/>
              <a:chExt cx="1810068" cy="368540"/>
            </a:xfrm>
          </p:grpSpPr>
          <p:sp>
            <p:nvSpPr>
              <p:cNvPr id="130" name="TextBox 129">
                <a:extLst>
                  <a:ext uri="{FF2B5EF4-FFF2-40B4-BE49-F238E27FC236}">
                    <a16:creationId xmlns:a16="http://schemas.microsoft.com/office/drawing/2014/main" id="{FFF6F838-82A7-4504-9B62-899D7DC296CE}"/>
                  </a:ext>
                </a:extLst>
              </p:cNvPr>
              <p:cNvSpPr txBox="1"/>
              <p:nvPr/>
            </p:nvSpPr>
            <p:spPr bwMode="gray">
              <a:xfrm>
                <a:off x="3526442" y="1751936"/>
                <a:ext cx="1555302" cy="368540"/>
              </a:xfrm>
              <a:prstGeom prst="rect">
                <a:avLst/>
              </a:prstGeom>
              <a:ln>
                <a:noFill/>
              </a:ln>
            </p:spPr>
            <p:txBody>
              <a:bodyPr vert="horz" wrap="square" lIns="0" tIns="0" rIns="0" bIns="0" rtlCol="0" anchor="ctr">
                <a:noAutofit/>
              </a:bodyPr>
              <a:lstStyle/>
              <a:p>
                <a:pPr>
                  <a:spcBef>
                    <a:spcPts val="600"/>
                  </a:spcBef>
                </a:pPr>
                <a:r>
                  <a:rPr lang="en-US" sz="600" b="1" dirty="0">
                    <a:solidFill>
                      <a:srgbClr val="707274"/>
                    </a:solidFill>
                    <a:latin typeface="Proxima Nova A" panose="02000506030000020004" pitchFamily="2" charset="0"/>
                  </a:rPr>
                  <a:t>Want to </a:t>
                </a:r>
                <a:r>
                  <a:rPr lang="en-US" sz="600" b="1" dirty="0" err="1">
                    <a:solidFill>
                      <a:srgbClr val="707274"/>
                    </a:solidFill>
                    <a:latin typeface="Proxima Nova A" panose="02000506030000020004" pitchFamily="2" charset="0"/>
                  </a:rPr>
                  <a:t>enrol</a:t>
                </a:r>
                <a:r>
                  <a:rPr lang="en-US" sz="600" b="1" dirty="0">
                    <a:solidFill>
                      <a:srgbClr val="707274"/>
                    </a:solidFill>
                    <a:latin typeface="Proxima Nova A" panose="02000506030000020004" pitchFamily="2" charset="0"/>
                  </a:rPr>
                  <a:t> into Aadhaar</a:t>
                </a:r>
              </a:p>
            </p:txBody>
          </p:sp>
          <p:cxnSp>
            <p:nvCxnSpPr>
              <p:cNvPr id="131" name="Straight Connector 130">
                <a:extLst>
                  <a:ext uri="{FF2B5EF4-FFF2-40B4-BE49-F238E27FC236}">
                    <a16:creationId xmlns:a16="http://schemas.microsoft.com/office/drawing/2014/main" id="{74D00BD3-B4CF-41F4-B444-A72F3F701570}"/>
                  </a:ext>
                </a:extLst>
              </p:cNvPr>
              <p:cNvCxnSpPr>
                <a:cxnSpLocks/>
              </p:cNvCxnSpPr>
              <p:nvPr/>
            </p:nvCxnSpPr>
            <p:spPr>
              <a:xfrm flipH="1" flipV="1">
                <a:off x="3271676" y="1844707"/>
                <a:ext cx="201502" cy="91499"/>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556540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2D99E88B-24E7-4C26-A9FD-6C98092C224D}"/>
              </a:ext>
            </a:extLst>
          </p:cNvPr>
          <p:cNvGraphicFramePr>
            <a:graphicFrameLocks noChangeAspect="1"/>
          </p:cNvGraphicFramePr>
          <p:nvPr>
            <p:custDataLst>
              <p:tags r:id="rId2"/>
            </p:custDataLst>
            <p:extLst>
              <p:ext uri="{D42A27DB-BD31-4B8C-83A1-F6EECF244321}">
                <p14:modId xmlns:p14="http://schemas.microsoft.com/office/powerpoint/2010/main" val="2313907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8081" name="think-cell Slide" r:id="rId15" imgW="473" imgH="473" progId="TCLayout.ActiveDocument.1">
                  <p:embed/>
                </p:oleObj>
              </mc:Choice>
              <mc:Fallback>
                <p:oleObj name="think-cell Slide" r:id="rId15" imgW="473" imgH="473" progId="TCLayout.ActiveDocument.1">
                  <p:embed/>
                  <p:pic>
                    <p:nvPicPr>
                      <p:cNvPr id="21" name="Object 20" hidden="1">
                        <a:extLst>
                          <a:ext uri="{FF2B5EF4-FFF2-40B4-BE49-F238E27FC236}">
                            <a16:creationId xmlns:a16="http://schemas.microsoft.com/office/drawing/2014/main" id="{2D99E88B-24E7-4C26-A9FD-6C98092C224D}"/>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E327B46-366A-4E33-855F-0B71B6FA7EB3}"/>
              </a:ext>
            </a:extLst>
          </p:cNvPr>
          <p:cNvSpPr/>
          <p:nvPr>
            <p:custDataLst>
              <p:tags r:id="rId3"/>
            </p:custDataLst>
          </p:nvPr>
        </p:nvSpPr>
        <p:spPr>
          <a:xfrm>
            <a:off x="0" y="0"/>
            <a:ext cx="158750" cy="158750"/>
          </a:xfrm>
          <a:prstGeom prst="rect">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14400"/>
            <a:endParaRPr lang="en-US" sz="600" kern="1200" dirty="0" err="1">
              <a:solidFill>
                <a:schemeClr val="bg1"/>
              </a:solidFill>
              <a:latin typeface="Proxima Nova A" panose="02000506030000020004" pitchFamily="2" charset="0"/>
              <a:sym typeface="Proxima Nova A" panose="02000506030000020004" pitchFamily="2" charset="0"/>
            </a:endParaRPr>
          </a:p>
        </p:txBody>
      </p:sp>
      <p:graphicFrame>
        <p:nvGraphicFramePr>
          <p:cNvPr id="32" name="Chart 31">
            <a:extLst>
              <a:ext uri="{FF2B5EF4-FFF2-40B4-BE49-F238E27FC236}">
                <a16:creationId xmlns:a16="http://schemas.microsoft.com/office/drawing/2014/main" id="{EC435378-B959-4BD5-A9AC-E51483BEE286}"/>
              </a:ext>
            </a:extLst>
          </p:cNvPr>
          <p:cNvGraphicFramePr/>
          <p:nvPr>
            <p:custDataLst>
              <p:tags r:id="rId4"/>
            </p:custDataLst>
            <p:extLst>
              <p:ext uri="{D42A27DB-BD31-4B8C-83A1-F6EECF244321}">
                <p14:modId xmlns:p14="http://schemas.microsoft.com/office/powerpoint/2010/main" val="2054446395"/>
              </p:ext>
            </p:extLst>
          </p:nvPr>
        </p:nvGraphicFramePr>
        <p:xfrm>
          <a:off x="3597275" y="2419350"/>
          <a:ext cx="4843463" cy="1209675"/>
        </p:xfrm>
        <a:graphic>
          <a:graphicData uri="http://schemas.openxmlformats.org/drawingml/2006/chart">
            <c:chart xmlns:c="http://schemas.openxmlformats.org/drawingml/2006/chart" xmlns:r="http://schemas.openxmlformats.org/officeDocument/2006/relationships" r:id="rId17"/>
          </a:graphicData>
        </a:graphic>
      </p:graphicFrame>
      <p:sp>
        <p:nvSpPr>
          <p:cNvPr id="29" name="Text Placeholder 2">
            <a:extLst>
              <a:ext uri="{FF2B5EF4-FFF2-40B4-BE49-F238E27FC236}">
                <a16:creationId xmlns:a16="http://schemas.microsoft.com/office/drawing/2014/main" id="{0202746B-441E-4E70-98E8-5CB7ED2D27AC}"/>
              </a:ext>
            </a:extLst>
          </p:cNvPr>
          <p:cNvSpPr>
            <a:spLocks noGrp="1"/>
          </p:cNvSpPr>
          <p:nvPr>
            <p:custDataLst>
              <p:tags r:id="rId5"/>
            </p:custDataLst>
          </p:nvPr>
        </p:nvSpPr>
        <p:spPr bwMode="auto">
          <a:xfrm>
            <a:off x="7821613" y="3571875"/>
            <a:ext cx="136525" cy="92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01167" indent="-201167" algn="l" defTabSz="1072893" rtl="0" eaLnBrk="1" latinLnBrk="0" hangingPunct="1">
              <a:lnSpc>
                <a:spcPct val="100000"/>
              </a:lnSpc>
              <a:spcBef>
                <a:spcPts val="0"/>
              </a:spcBef>
              <a:buFont typeface="Arial" panose="020B0604020202020204" pitchFamily="34" charset="0"/>
              <a:buChar char="•"/>
              <a:defRPr sz="1600" kern="1200">
                <a:solidFill>
                  <a:srgbClr val="606060"/>
                </a:solidFill>
                <a:latin typeface="Lato" panose="020F0502020204030203" pitchFamily="34" charset="0"/>
                <a:ea typeface="+mn-ea"/>
                <a:cs typeface="Arial" pitchFamily="34" charset="0"/>
              </a:defRPr>
            </a:lvl1pPr>
            <a:lvl2pPr marL="402335"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2pPr>
            <a:lvl3pPr marL="603502" indent="-201167"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3pPr>
            <a:lvl4pPr marL="804669"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4pPr>
            <a:lvl5pPr marL="1005836" indent="-201167"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5pPr>
            <a:lvl6pPr marL="1207004"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6pPr>
            <a:lvl7pPr marL="1408172" indent="-197442"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7pPr>
            <a:lvl8pPr marL="1609339" indent="-204894"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8pPr>
            <a:lvl9pPr marL="1743449" indent="-197442"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9pPr>
          </a:lstStyle>
          <a:p>
            <a:pPr marL="0" indent="0" algn="ctr">
              <a:spcBef>
                <a:spcPct val="0"/>
              </a:spcBef>
              <a:spcAft>
                <a:spcPct val="0"/>
              </a:spcAft>
              <a:buNone/>
            </a:pPr>
            <a:fld id="{33D63B79-5AB6-466E-BB45-2E699B756AB6}" type="datetime'''''''''''''''''''''''''''''''''SI''''''''''''M'''''''''''''">
              <a:rPr lang="en-US" altLang="en-US" sz="600" smtClean="0">
                <a:solidFill>
                  <a:srgbClr val="707274"/>
                </a:solidFill>
                <a:latin typeface="Proxima Nova A" panose="02000506030000020004" pitchFamily="2" charset="0"/>
                <a:cs typeface="+mn-cs"/>
                <a:sym typeface="Proxima Nova A" panose="02000506030000020004" pitchFamily="2" charset="0"/>
              </a:rPr>
              <a:pPr/>
              <a:t>SIM</a:t>
            </a:fld>
            <a:endParaRPr lang="en-US" sz="600" dirty="0">
              <a:solidFill>
                <a:srgbClr val="707274"/>
              </a:solidFill>
              <a:latin typeface="Proxima Nova A" panose="02000506030000020004" pitchFamily="2" charset="0"/>
              <a:cs typeface="+mn-cs"/>
              <a:sym typeface="Proxima Nova A" panose="02000506030000020004" pitchFamily="2" charset="0"/>
            </a:endParaRPr>
          </a:p>
        </p:txBody>
      </p:sp>
      <p:sp>
        <p:nvSpPr>
          <p:cNvPr id="137" name="Text Placeholder 2">
            <a:extLst>
              <a:ext uri="{FF2B5EF4-FFF2-40B4-BE49-F238E27FC236}">
                <a16:creationId xmlns:a16="http://schemas.microsoft.com/office/drawing/2014/main" id="{2A4DCD1F-FFC0-4FA5-B1DD-094CB86F02FD}"/>
              </a:ext>
            </a:extLst>
          </p:cNvPr>
          <p:cNvSpPr>
            <a:spLocks noGrp="1"/>
          </p:cNvSpPr>
          <p:nvPr>
            <p:custDataLst>
              <p:tags r:id="rId6"/>
            </p:custDataLst>
          </p:nvPr>
        </p:nvSpPr>
        <p:spPr bwMode="auto">
          <a:xfrm>
            <a:off x="6718300" y="3571875"/>
            <a:ext cx="473075" cy="92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01167" indent="-201167" algn="l" defTabSz="1072893" rtl="0" eaLnBrk="1" latinLnBrk="0" hangingPunct="1">
              <a:lnSpc>
                <a:spcPct val="100000"/>
              </a:lnSpc>
              <a:spcBef>
                <a:spcPts val="0"/>
              </a:spcBef>
              <a:buFont typeface="Arial" panose="020B0604020202020204" pitchFamily="34" charset="0"/>
              <a:buChar char="•"/>
              <a:defRPr sz="1600" kern="1200">
                <a:solidFill>
                  <a:srgbClr val="606060"/>
                </a:solidFill>
                <a:latin typeface="Lato" panose="020F0502020204030203" pitchFamily="34" charset="0"/>
                <a:ea typeface="+mn-ea"/>
                <a:cs typeface="Arial" pitchFamily="34" charset="0"/>
              </a:defRPr>
            </a:lvl1pPr>
            <a:lvl2pPr marL="402335"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2pPr>
            <a:lvl3pPr marL="603502" indent="-201167"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3pPr>
            <a:lvl4pPr marL="804669"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4pPr>
            <a:lvl5pPr marL="1005836" indent="-201167"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5pPr>
            <a:lvl6pPr marL="1207004"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6pPr>
            <a:lvl7pPr marL="1408172" indent="-197442"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7pPr>
            <a:lvl8pPr marL="1609339" indent="-204894"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8pPr>
            <a:lvl9pPr marL="1743449" indent="-197442"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9pPr>
          </a:lstStyle>
          <a:p>
            <a:pPr marL="0" indent="0" algn="ctr">
              <a:spcBef>
                <a:spcPct val="0"/>
              </a:spcBef>
              <a:spcAft>
                <a:spcPct val="0"/>
              </a:spcAft>
              <a:buNone/>
            </a:pPr>
            <a:fld id="{68454F58-1741-4B6A-9091-F622CC6C1E8E}" type="datetime'''''''Ba''''''n''k ''''''''ac''''c''''o''u''''''''n''''t'">
              <a:rPr lang="en-US" altLang="en-US" sz="600" smtClean="0">
                <a:solidFill>
                  <a:srgbClr val="707274"/>
                </a:solidFill>
                <a:latin typeface="Proxima Nova A" panose="02000506030000020004" pitchFamily="2" charset="0"/>
                <a:cs typeface="+mn-cs"/>
                <a:sym typeface="Proxima Nova A" panose="02000506030000020004" pitchFamily="2" charset="0"/>
              </a:rPr>
              <a:pPr/>
              <a:t>Bank account</a:t>
            </a:fld>
            <a:endParaRPr lang="en-US" sz="600" dirty="0">
              <a:solidFill>
                <a:srgbClr val="707274"/>
              </a:solidFill>
              <a:latin typeface="Proxima Nova A" panose="02000506030000020004" pitchFamily="2" charset="0"/>
              <a:cs typeface="+mn-cs"/>
              <a:sym typeface="Proxima Nova A" panose="02000506030000020004" pitchFamily="2" charset="0"/>
            </a:endParaRPr>
          </a:p>
        </p:txBody>
      </p:sp>
      <p:sp>
        <p:nvSpPr>
          <p:cNvPr id="35" name="Text Placeholder 2">
            <a:extLst>
              <a:ext uri="{FF2B5EF4-FFF2-40B4-BE49-F238E27FC236}">
                <a16:creationId xmlns:a16="http://schemas.microsoft.com/office/drawing/2014/main" id="{CCA755F7-60E5-4396-915B-0A058FDBF43F}"/>
              </a:ext>
            </a:extLst>
          </p:cNvPr>
          <p:cNvSpPr>
            <a:spLocks noGrp="1"/>
          </p:cNvSpPr>
          <p:nvPr>
            <p:custDataLst>
              <p:tags r:id="rId7"/>
            </p:custDataLst>
          </p:nvPr>
        </p:nvSpPr>
        <p:spPr bwMode="auto">
          <a:xfrm>
            <a:off x="5005388" y="3571875"/>
            <a:ext cx="155575" cy="92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01167" indent="-201167" algn="l" defTabSz="1072893" rtl="0" eaLnBrk="1" latinLnBrk="0" hangingPunct="1">
              <a:lnSpc>
                <a:spcPct val="100000"/>
              </a:lnSpc>
              <a:spcBef>
                <a:spcPts val="0"/>
              </a:spcBef>
              <a:buFont typeface="Arial" panose="020B0604020202020204" pitchFamily="34" charset="0"/>
              <a:buChar char="•"/>
              <a:defRPr sz="1600" kern="1200">
                <a:solidFill>
                  <a:srgbClr val="606060"/>
                </a:solidFill>
                <a:latin typeface="Lato" panose="020F0502020204030203" pitchFamily="34" charset="0"/>
                <a:ea typeface="+mn-ea"/>
                <a:cs typeface="Arial" pitchFamily="34" charset="0"/>
              </a:defRPr>
            </a:lvl1pPr>
            <a:lvl2pPr marL="402335"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2pPr>
            <a:lvl3pPr marL="603502" indent="-201167"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3pPr>
            <a:lvl4pPr marL="804669"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4pPr>
            <a:lvl5pPr marL="1005836" indent="-201167"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5pPr>
            <a:lvl6pPr marL="1207004"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6pPr>
            <a:lvl7pPr marL="1408172" indent="-197442"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7pPr>
            <a:lvl8pPr marL="1609339" indent="-204894"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8pPr>
            <a:lvl9pPr marL="1743449" indent="-197442"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9pPr>
          </a:lstStyle>
          <a:p>
            <a:pPr marL="0" indent="0" algn="ctr">
              <a:spcBef>
                <a:spcPct val="0"/>
              </a:spcBef>
              <a:spcAft>
                <a:spcPct val="0"/>
              </a:spcAft>
              <a:buNone/>
            </a:pPr>
            <a:fld id="{5C2EDD45-FAAD-46BF-A081-F0FF9EA4A1DF}" type="datetime'''''''''''''''''''''''''''''''''''''''P''''''''DS'''''''''">
              <a:rPr lang="en-US" altLang="en-US" sz="600" smtClean="0">
                <a:solidFill>
                  <a:srgbClr val="707274"/>
                </a:solidFill>
                <a:latin typeface="Proxima Nova A" panose="02000506030000020004" pitchFamily="2" charset="0"/>
                <a:cs typeface="+mn-cs"/>
                <a:sym typeface="Proxima Nova A" panose="02000506030000020004" pitchFamily="2" charset="0"/>
              </a:rPr>
              <a:pPr/>
              <a:t>PDS</a:t>
            </a:fld>
            <a:endParaRPr lang="en-US" sz="600" dirty="0">
              <a:solidFill>
                <a:srgbClr val="707274"/>
              </a:solidFill>
              <a:latin typeface="Proxima Nova A" panose="02000506030000020004" pitchFamily="2" charset="0"/>
              <a:cs typeface="+mn-cs"/>
              <a:sym typeface="Proxima Nova A" panose="02000506030000020004" pitchFamily="2" charset="0"/>
            </a:endParaRPr>
          </a:p>
        </p:txBody>
      </p:sp>
      <p:sp>
        <p:nvSpPr>
          <p:cNvPr id="131" name="Text Placeholder 2">
            <a:extLst>
              <a:ext uri="{FF2B5EF4-FFF2-40B4-BE49-F238E27FC236}">
                <a16:creationId xmlns:a16="http://schemas.microsoft.com/office/drawing/2014/main" id="{E7B01523-9656-4B7B-AEA6-67EA70531C5E}"/>
              </a:ext>
            </a:extLst>
          </p:cNvPr>
          <p:cNvSpPr>
            <a:spLocks noGrp="1"/>
          </p:cNvSpPr>
          <p:nvPr>
            <p:custDataLst>
              <p:tags r:id="rId8"/>
            </p:custDataLst>
          </p:nvPr>
        </p:nvSpPr>
        <p:spPr bwMode="auto">
          <a:xfrm>
            <a:off x="3959225" y="3571875"/>
            <a:ext cx="376238" cy="92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01167" indent="-201167" algn="l" defTabSz="1072893" rtl="0" eaLnBrk="1" latinLnBrk="0" hangingPunct="1">
              <a:lnSpc>
                <a:spcPct val="100000"/>
              </a:lnSpc>
              <a:spcBef>
                <a:spcPts val="0"/>
              </a:spcBef>
              <a:buFont typeface="Arial" panose="020B0604020202020204" pitchFamily="34" charset="0"/>
              <a:buChar char="•"/>
              <a:defRPr sz="1600" kern="1200">
                <a:solidFill>
                  <a:srgbClr val="606060"/>
                </a:solidFill>
                <a:latin typeface="Lato" panose="020F0502020204030203" pitchFamily="34" charset="0"/>
                <a:ea typeface="+mn-ea"/>
                <a:cs typeface="Arial" pitchFamily="34" charset="0"/>
              </a:defRPr>
            </a:lvl1pPr>
            <a:lvl2pPr marL="402335"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2pPr>
            <a:lvl3pPr marL="603502" indent="-201167"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3pPr>
            <a:lvl4pPr marL="804669"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4pPr>
            <a:lvl5pPr marL="1005836" indent="-201167"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5pPr>
            <a:lvl6pPr marL="1207004"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6pPr>
            <a:lvl7pPr marL="1408172" indent="-197442"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7pPr>
            <a:lvl8pPr marL="1609339" indent="-204894"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8pPr>
            <a:lvl9pPr marL="1743449" indent="-197442"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9pPr>
          </a:lstStyle>
          <a:p>
            <a:pPr marL="0" indent="0" algn="ctr">
              <a:spcBef>
                <a:spcPct val="0"/>
              </a:spcBef>
              <a:spcAft>
                <a:spcPct val="0"/>
              </a:spcAft>
              <a:buNone/>
            </a:pPr>
            <a:fld id="{64CC3FD3-AB2C-453F-B5A6-9C66FA39A11F}" type="datetime'''''''''''''M''G''''''NR''E''''''G''S'">
              <a:rPr lang="en-US" altLang="en-US" sz="600" smtClean="0">
                <a:solidFill>
                  <a:srgbClr val="707274"/>
                </a:solidFill>
                <a:latin typeface="Proxima Nova A" panose="02000506030000020004" pitchFamily="2" charset="0"/>
                <a:cs typeface="+mn-cs"/>
                <a:sym typeface="Proxima Nova A" panose="02000506030000020004" pitchFamily="2" charset="0"/>
              </a:rPr>
              <a:pPr/>
              <a:t>MGNREGS</a:t>
            </a:fld>
            <a:endParaRPr lang="en-US" sz="600" dirty="0">
              <a:solidFill>
                <a:srgbClr val="707274"/>
              </a:solidFill>
              <a:latin typeface="Proxima Nova A" panose="02000506030000020004" pitchFamily="2" charset="0"/>
              <a:cs typeface="+mn-cs"/>
              <a:sym typeface="Proxima Nova A" panose="02000506030000020004" pitchFamily="2" charset="0"/>
            </a:endParaRPr>
          </a:p>
        </p:txBody>
      </p:sp>
      <p:sp>
        <p:nvSpPr>
          <p:cNvPr id="33" name="Text Placeholder 2">
            <a:extLst>
              <a:ext uri="{FF2B5EF4-FFF2-40B4-BE49-F238E27FC236}">
                <a16:creationId xmlns:a16="http://schemas.microsoft.com/office/drawing/2014/main" id="{4207AA6E-4F77-4912-9557-E4D540B2E687}"/>
              </a:ext>
            </a:extLst>
          </p:cNvPr>
          <p:cNvSpPr>
            <a:spLocks noGrp="1"/>
          </p:cNvSpPr>
          <p:nvPr>
            <p:custDataLst>
              <p:tags r:id="rId9"/>
            </p:custDataLst>
          </p:nvPr>
        </p:nvSpPr>
        <p:spPr bwMode="auto">
          <a:xfrm>
            <a:off x="5748338" y="3571875"/>
            <a:ext cx="539750" cy="92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01167" indent="-201167" algn="l" defTabSz="1072893" rtl="0" eaLnBrk="1" latinLnBrk="0" hangingPunct="1">
              <a:lnSpc>
                <a:spcPct val="100000"/>
              </a:lnSpc>
              <a:spcBef>
                <a:spcPts val="0"/>
              </a:spcBef>
              <a:buFont typeface="Arial" panose="020B0604020202020204" pitchFamily="34" charset="0"/>
              <a:buChar char="•"/>
              <a:defRPr sz="1600" kern="1200">
                <a:solidFill>
                  <a:srgbClr val="606060"/>
                </a:solidFill>
                <a:latin typeface="Lato" panose="020F0502020204030203" pitchFamily="34" charset="0"/>
                <a:ea typeface="+mn-ea"/>
                <a:cs typeface="Arial" pitchFamily="34" charset="0"/>
              </a:defRPr>
            </a:lvl1pPr>
            <a:lvl2pPr marL="402335"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2pPr>
            <a:lvl3pPr marL="603502" indent="-201167"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3pPr>
            <a:lvl4pPr marL="804669"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4pPr>
            <a:lvl5pPr marL="1005836" indent="-201167"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5pPr>
            <a:lvl6pPr marL="1207004"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6pPr>
            <a:lvl7pPr marL="1408172" indent="-197442"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7pPr>
            <a:lvl8pPr marL="1609339" indent="-204894"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8pPr>
            <a:lvl9pPr marL="1743449" indent="-197442"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9pPr>
          </a:lstStyle>
          <a:p>
            <a:pPr marL="0" indent="0" algn="ctr">
              <a:spcBef>
                <a:spcPct val="0"/>
              </a:spcBef>
              <a:spcAft>
                <a:spcPct val="0"/>
              </a:spcAft>
              <a:buNone/>
            </a:pPr>
            <a:fld id="{A28835EA-7D53-4094-8BFA-DB0699197E34}" type="datetime'''''''''''S''oc''i''a''''''l ''p''''''e''nsi''''on''''''''''s'">
              <a:rPr lang="en-US" altLang="en-US" sz="600" smtClean="0">
                <a:solidFill>
                  <a:srgbClr val="707274"/>
                </a:solidFill>
                <a:latin typeface="Proxima Nova A" panose="02000506030000020004" pitchFamily="2" charset="0"/>
                <a:cs typeface="+mn-cs"/>
                <a:sym typeface="Proxima Nova A" panose="02000506030000020004" pitchFamily="2" charset="0"/>
              </a:rPr>
              <a:pPr/>
              <a:t>Social pensions</a:t>
            </a:fld>
            <a:endParaRPr lang="en-US" sz="600" dirty="0">
              <a:solidFill>
                <a:srgbClr val="707274"/>
              </a:solidFill>
              <a:latin typeface="Proxima Nova A" panose="02000506030000020004" pitchFamily="2" charset="0"/>
              <a:cs typeface="+mn-cs"/>
              <a:sym typeface="Proxima Nova A" panose="02000506030000020004" pitchFamily="2" charset="0"/>
            </a:endParaRPr>
          </a:p>
        </p:txBody>
      </p:sp>
      <p:sp>
        <p:nvSpPr>
          <p:cNvPr id="127" name="Rectangle 126">
            <a:extLst>
              <a:ext uri="{FF2B5EF4-FFF2-40B4-BE49-F238E27FC236}">
                <a16:creationId xmlns:a16="http://schemas.microsoft.com/office/drawing/2014/main" id="{B3305DBB-D544-4514-8EE5-608613DA9C52}"/>
              </a:ext>
            </a:extLst>
          </p:cNvPr>
          <p:cNvSpPr/>
          <p:nvPr>
            <p:custDataLst>
              <p:tags r:id="rId10"/>
            </p:custDataLst>
          </p:nvPr>
        </p:nvSpPr>
        <p:spPr bwMode="auto">
          <a:xfrm>
            <a:off x="7165975" y="2659063"/>
            <a:ext cx="107950" cy="80963"/>
          </a:xfrm>
          <a:prstGeom prst="rect">
            <a:avLst/>
          </a:prstGeom>
          <a:solidFill>
            <a:srgbClr val="F58A77"/>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dirty="0" err="1">
              <a:solidFill>
                <a:schemeClr val="bg1"/>
              </a:solidFill>
              <a:ea typeface="+mn-ea"/>
              <a:cs typeface="Arial" pitchFamily="34" charset="0"/>
            </a:endParaRPr>
          </a:p>
        </p:txBody>
      </p:sp>
      <p:sp>
        <p:nvSpPr>
          <p:cNvPr id="128" name="Rectangle 127">
            <a:extLst>
              <a:ext uri="{FF2B5EF4-FFF2-40B4-BE49-F238E27FC236}">
                <a16:creationId xmlns:a16="http://schemas.microsoft.com/office/drawing/2014/main" id="{9409D805-B0A5-457B-9BB8-3CD5516CAA18}"/>
              </a:ext>
            </a:extLst>
          </p:cNvPr>
          <p:cNvSpPr/>
          <p:nvPr>
            <p:custDataLst>
              <p:tags r:id="rId11"/>
            </p:custDataLst>
          </p:nvPr>
        </p:nvSpPr>
        <p:spPr bwMode="auto">
          <a:xfrm>
            <a:off x="7165975" y="2801938"/>
            <a:ext cx="107950" cy="80963"/>
          </a:xfrm>
          <a:prstGeom prst="rect">
            <a:avLst/>
          </a:prstGeom>
          <a:solidFill>
            <a:srgbClr val="D9D6D6"/>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dirty="0" err="1">
              <a:solidFill>
                <a:schemeClr val="bg1"/>
              </a:solidFill>
              <a:ea typeface="+mn-ea"/>
              <a:cs typeface="Arial" pitchFamily="34" charset="0"/>
            </a:endParaRPr>
          </a:p>
        </p:txBody>
      </p:sp>
      <p:sp>
        <p:nvSpPr>
          <p:cNvPr id="121" name="Text Placeholder 2">
            <a:extLst>
              <a:ext uri="{FF2B5EF4-FFF2-40B4-BE49-F238E27FC236}">
                <a16:creationId xmlns:a16="http://schemas.microsoft.com/office/drawing/2014/main" id="{434C24E0-A606-40CE-81B4-0A3A31869B73}"/>
              </a:ext>
            </a:extLst>
          </p:cNvPr>
          <p:cNvSpPr>
            <a:spLocks noGrp="1"/>
          </p:cNvSpPr>
          <p:nvPr>
            <p:custDataLst>
              <p:tags r:id="rId12"/>
            </p:custDataLst>
          </p:nvPr>
        </p:nvSpPr>
        <p:spPr bwMode="auto">
          <a:xfrm>
            <a:off x="7324725" y="2655888"/>
            <a:ext cx="846138" cy="92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01167" indent="-201167" algn="l" defTabSz="1072893" rtl="0" eaLnBrk="1" latinLnBrk="0" hangingPunct="1">
              <a:lnSpc>
                <a:spcPct val="100000"/>
              </a:lnSpc>
              <a:spcBef>
                <a:spcPts val="0"/>
              </a:spcBef>
              <a:buFont typeface="Arial" panose="020B0604020202020204" pitchFamily="34" charset="0"/>
              <a:buChar char="•"/>
              <a:defRPr sz="1600" kern="1200">
                <a:solidFill>
                  <a:srgbClr val="606060"/>
                </a:solidFill>
                <a:latin typeface="Lato" panose="020F0502020204030203" pitchFamily="34" charset="0"/>
                <a:ea typeface="+mn-ea"/>
                <a:cs typeface="Arial" pitchFamily="34" charset="0"/>
              </a:defRPr>
            </a:lvl1pPr>
            <a:lvl2pPr marL="402335"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2pPr>
            <a:lvl3pPr marL="603502" indent="-201167"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3pPr>
            <a:lvl4pPr marL="804669"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4pPr>
            <a:lvl5pPr marL="1005836" indent="-201167"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5pPr>
            <a:lvl6pPr marL="1207004"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6pPr>
            <a:lvl7pPr marL="1408172" indent="-197442"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7pPr>
            <a:lvl8pPr marL="1609339" indent="-204894"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8pPr>
            <a:lvl9pPr marL="1743449" indent="-197442"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9pPr>
          </a:lstStyle>
          <a:p>
            <a:pPr marL="0" indent="0">
              <a:spcBef>
                <a:spcPct val="0"/>
              </a:spcBef>
              <a:spcAft>
                <a:spcPct val="0"/>
              </a:spcAft>
              <a:buNone/>
            </a:pPr>
            <a:fld id="{E6C70F67-F5D7-4A75-AE09-5901C57FDA63}" type="datetime'''A''ad''''''''h''a''''a''r-r''elate''d reas''o''n''''''s'''">
              <a:rPr lang="en-US" altLang="en-US" sz="600" smtClean="0">
                <a:solidFill>
                  <a:srgbClr val="707274"/>
                </a:solidFill>
                <a:latin typeface="Proxima Nova A" panose="02000506030000020004" pitchFamily="2" charset="0"/>
                <a:cs typeface="+mn-cs"/>
                <a:sym typeface="Proxima Nova A" panose="02000506030000020004" pitchFamily="2" charset="0"/>
              </a:rPr>
              <a:pPr/>
              <a:t>Aadhaar-related reasons</a:t>
            </a:fld>
            <a:endParaRPr lang="en-US" sz="600" dirty="0">
              <a:solidFill>
                <a:srgbClr val="707274"/>
              </a:solidFill>
              <a:latin typeface="Proxima Nova A" panose="02000506030000020004" pitchFamily="2" charset="0"/>
              <a:cs typeface="+mn-cs"/>
              <a:sym typeface="Proxima Nova A" panose="02000506030000020004" pitchFamily="2" charset="0"/>
            </a:endParaRPr>
          </a:p>
        </p:txBody>
      </p:sp>
      <p:sp>
        <p:nvSpPr>
          <p:cNvPr id="122" name="Text Placeholder 2">
            <a:extLst>
              <a:ext uri="{FF2B5EF4-FFF2-40B4-BE49-F238E27FC236}">
                <a16:creationId xmlns:a16="http://schemas.microsoft.com/office/drawing/2014/main" id="{130FEABF-D6FF-4B40-A4B7-FF2CB215A91D}"/>
              </a:ext>
            </a:extLst>
          </p:cNvPr>
          <p:cNvSpPr>
            <a:spLocks noGrp="1"/>
          </p:cNvSpPr>
          <p:nvPr>
            <p:custDataLst>
              <p:tags r:id="rId13"/>
            </p:custDataLst>
          </p:nvPr>
        </p:nvSpPr>
        <p:spPr bwMode="auto">
          <a:xfrm>
            <a:off x="7324725" y="2798763"/>
            <a:ext cx="1003300" cy="92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01167" indent="-201167" algn="l" defTabSz="1072893" rtl="0" eaLnBrk="1" latinLnBrk="0" hangingPunct="1">
              <a:lnSpc>
                <a:spcPct val="100000"/>
              </a:lnSpc>
              <a:spcBef>
                <a:spcPts val="0"/>
              </a:spcBef>
              <a:buFont typeface="Arial" panose="020B0604020202020204" pitchFamily="34" charset="0"/>
              <a:buChar char="•"/>
              <a:defRPr sz="1600" kern="1200">
                <a:solidFill>
                  <a:srgbClr val="606060"/>
                </a:solidFill>
                <a:latin typeface="Lato" panose="020F0502020204030203" pitchFamily="34" charset="0"/>
                <a:ea typeface="+mn-ea"/>
                <a:cs typeface="Arial" pitchFamily="34" charset="0"/>
              </a:defRPr>
            </a:lvl1pPr>
            <a:lvl2pPr marL="402335"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2pPr>
            <a:lvl3pPr marL="603502" indent="-201167"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3pPr>
            <a:lvl4pPr marL="804669"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4pPr>
            <a:lvl5pPr marL="1005836" indent="-201167"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5pPr>
            <a:lvl6pPr marL="1207004"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6pPr>
            <a:lvl7pPr marL="1408172" indent="-197442"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7pPr>
            <a:lvl8pPr marL="1609339" indent="-204894"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8pPr>
            <a:lvl9pPr marL="1743449" indent="-197442"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9pPr>
          </a:lstStyle>
          <a:p>
            <a:pPr marL="0" indent="0">
              <a:spcBef>
                <a:spcPct val="0"/>
              </a:spcBef>
              <a:spcAft>
                <a:spcPct val="0"/>
              </a:spcAft>
              <a:buNone/>
            </a:pPr>
            <a:fld id="{9AC0146D-9618-402D-8404-64114D3BE74F}" type="datetime'''Non-''''''Aa''''dha''ar ''''related'' ''''r''ea''s''o''ns'">
              <a:rPr lang="en-US" altLang="en-US" sz="600" smtClean="0">
                <a:solidFill>
                  <a:srgbClr val="707274"/>
                </a:solidFill>
                <a:latin typeface="Proxima Nova A" panose="02000506030000020004" pitchFamily="2" charset="0"/>
                <a:cs typeface="+mn-cs"/>
                <a:sym typeface="Proxima Nova A" panose="02000506030000020004" pitchFamily="2" charset="0"/>
              </a:rPr>
              <a:pPr/>
              <a:t>Non-Aadhaar related reasons</a:t>
            </a:fld>
            <a:endParaRPr lang="en-US" sz="600" dirty="0">
              <a:solidFill>
                <a:srgbClr val="707274"/>
              </a:solidFill>
              <a:latin typeface="Proxima Nova A" panose="02000506030000020004" pitchFamily="2" charset="0"/>
              <a:cs typeface="+mn-cs"/>
              <a:sym typeface="Proxima Nova A" panose="02000506030000020004" pitchFamily="2" charset="0"/>
            </a:endParaRPr>
          </a:p>
        </p:txBody>
      </p:sp>
      <p:grpSp>
        <p:nvGrpSpPr>
          <p:cNvPr id="5" name="Group 4">
            <a:extLst>
              <a:ext uri="{FF2B5EF4-FFF2-40B4-BE49-F238E27FC236}">
                <a16:creationId xmlns:a16="http://schemas.microsoft.com/office/drawing/2014/main" id="{530FA597-0C3E-46F5-B106-5DF8A2278772}"/>
              </a:ext>
            </a:extLst>
          </p:cNvPr>
          <p:cNvGrpSpPr/>
          <p:nvPr/>
        </p:nvGrpSpPr>
        <p:grpSpPr>
          <a:xfrm>
            <a:off x="3757613" y="2449513"/>
            <a:ext cx="4683125" cy="1679575"/>
            <a:chOff x="656704" y="3533650"/>
            <a:chExt cx="6975448" cy="2551304"/>
          </a:xfrm>
        </p:grpSpPr>
        <p:sp>
          <p:nvSpPr>
            <p:cNvPr id="240" name="TextBox 239">
              <a:extLst>
                <a:ext uri="{FF2B5EF4-FFF2-40B4-BE49-F238E27FC236}">
                  <a16:creationId xmlns:a16="http://schemas.microsoft.com/office/drawing/2014/main" id="{269CFD3B-8632-4054-8B5E-6A68DDDAA0C1}"/>
                </a:ext>
              </a:extLst>
            </p:cNvPr>
            <p:cNvSpPr txBox="1"/>
            <p:nvPr/>
          </p:nvSpPr>
          <p:spPr bwMode="gray">
            <a:xfrm>
              <a:off x="656704" y="5709884"/>
              <a:ext cx="6975448" cy="375070"/>
            </a:xfrm>
            <a:prstGeom prst="rect">
              <a:avLst/>
            </a:prstGeom>
          </p:spPr>
          <p:txBody>
            <a:bodyPr vert="horz" wrap="square" lIns="0" tIns="0" rIns="0" bIns="0" rtlCol="0" anchor="t">
              <a:noAutofit/>
            </a:bodyPr>
            <a:lstStyle/>
            <a:p>
              <a:r>
                <a:rPr lang="en-US" sz="450" dirty="0">
                  <a:solidFill>
                    <a:srgbClr val="707274"/>
                  </a:solidFill>
                  <a:latin typeface="Proxima Nova A" panose="02000506030000020004" pitchFamily="2" charset="0"/>
                </a:rPr>
                <a:t>Source: </a:t>
              </a:r>
              <a:r>
                <a:rPr lang="en-GB" sz="450" dirty="0">
                  <a:solidFill>
                    <a:srgbClr val="707274"/>
                  </a:solidFill>
                  <a:latin typeface="Proxima Nova A" panose="02000506030000020004" pitchFamily="2" charset="0"/>
                </a:rPr>
                <a:t>State of Aadhaar in-depth survey, 2019  (N = 17,332)</a:t>
              </a:r>
              <a:endParaRPr lang="en-US" sz="450" dirty="0">
                <a:solidFill>
                  <a:srgbClr val="707274"/>
                </a:solidFill>
                <a:latin typeface="Proxima Nova A" panose="02000506030000020004" pitchFamily="2" charset="0"/>
              </a:endParaRPr>
            </a:p>
            <a:p>
              <a:r>
                <a:rPr lang="en-US" sz="450" dirty="0">
                  <a:solidFill>
                    <a:srgbClr val="707274"/>
                  </a:solidFill>
                  <a:latin typeface="Proxima Nova A" panose="02000506030000020004" pitchFamily="2" charset="0"/>
                </a:rPr>
                <a:t>Note: Aadhaar-related reasons include failure of biometric authentication, inability to link card/ service with Aadhaar, and not having Aadhaar. Non-Aadhaar related reasons include lack of knowledge to access the service, limited availability of the service, and mis-directed payments, among others. Numbers in the text and the chart may not match due to rounding.</a:t>
              </a:r>
            </a:p>
          </p:txBody>
        </p:sp>
        <p:sp>
          <p:nvSpPr>
            <p:cNvPr id="247" name="TextBox 246">
              <a:extLst>
                <a:ext uri="{FF2B5EF4-FFF2-40B4-BE49-F238E27FC236}">
                  <a16:creationId xmlns:a16="http://schemas.microsoft.com/office/drawing/2014/main" id="{7EB5D617-018E-4868-9722-14317BFADA6E}"/>
                </a:ext>
              </a:extLst>
            </p:cNvPr>
            <p:cNvSpPr txBox="1"/>
            <p:nvPr/>
          </p:nvSpPr>
          <p:spPr bwMode="gray">
            <a:xfrm>
              <a:off x="5718930" y="3533650"/>
              <a:ext cx="1745357" cy="248786"/>
            </a:xfrm>
            <a:prstGeom prst="rect">
              <a:avLst/>
            </a:prstGeom>
          </p:spPr>
          <p:txBody>
            <a:bodyPr vert="horz" wrap="square" lIns="0" tIns="0" rIns="0" bIns="0" rtlCol="0" anchor="t">
              <a:noAutofit/>
            </a:bodyPr>
            <a:lstStyle/>
            <a:p>
              <a:pPr>
                <a:spcBef>
                  <a:spcPts val="600"/>
                </a:spcBef>
              </a:pPr>
              <a:r>
                <a:rPr lang="en-US" sz="600" b="1" dirty="0">
                  <a:solidFill>
                    <a:srgbClr val="707274"/>
                  </a:solidFill>
                  <a:latin typeface="Proxima Nova A" panose="02000506030000020004" pitchFamily="2" charset="0"/>
                </a:rPr>
                <a:t>Legend</a:t>
              </a:r>
            </a:p>
          </p:txBody>
        </p:sp>
      </p:grpSp>
      <p:sp>
        <p:nvSpPr>
          <p:cNvPr id="38" name="Speech Bubble: Rectangle with Corners Rounded 37">
            <a:extLst>
              <a:ext uri="{FF2B5EF4-FFF2-40B4-BE49-F238E27FC236}">
                <a16:creationId xmlns:a16="http://schemas.microsoft.com/office/drawing/2014/main" id="{98DA1E37-A9BB-4E64-814F-21214A4249CA}"/>
              </a:ext>
            </a:extLst>
          </p:cNvPr>
          <p:cNvSpPr/>
          <p:nvPr/>
        </p:nvSpPr>
        <p:spPr>
          <a:xfrm>
            <a:off x="3414713" y="2922588"/>
            <a:ext cx="698500" cy="366713"/>
          </a:xfrm>
          <a:prstGeom prst="wedgeRoundRectCallout">
            <a:avLst>
              <a:gd name="adj1" fmla="val 27505"/>
              <a:gd name="adj2" fmla="val 60136"/>
              <a:gd name="adj3" fmla="val 16667"/>
            </a:avLst>
          </a:prstGeom>
          <a:solidFill>
            <a:srgbClr val="F2F2F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45720" tIns="0" rIns="45720" bIns="0" numCol="1" spcCol="0" rtlCol="0" fromWordArt="0" anchor="ctr" anchorCtr="0" forceAA="0" compatLnSpc="1">
            <a:prstTxWarp prst="textNoShape">
              <a:avLst/>
            </a:prstTxWarp>
            <a:noAutofit/>
          </a:bodyPr>
          <a:lstStyle/>
          <a:p>
            <a:pPr defTabSz="914400">
              <a:lnSpc>
                <a:spcPct val="114000"/>
              </a:lnSpc>
            </a:pPr>
            <a:r>
              <a:rPr lang="en-US" sz="600" b="1" dirty="0">
                <a:solidFill>
                  <a:srgbClr val="707274"/>
                </a:solidFill>
                <a:latin typeface="Proxima Nova A" panose="02000506030000020004" pitchFamily="2" charset="0"/>
                <a:cs typeface="Arial" pitchFamily="34" charset="0"/>
              </a:rPr>
              <a:t>0.2%</a:t>
            </a:r>
            <a:r>
              <a:rPr lang="en-US" sz="600" dirty="0">
                <a:solidFill>
                  <a:srgbClr val="707274"/>
                </a:solidFill>
                <a:latin typeface="Proxima Nova A" panose="02000506030000020004" pitchFamily="2" charset="0"/>
                <a:cs typeface="Arial" pitchFamily="34" charset="0"/>
              </a:rPr>
              <a:t> received the service earlier</a:t>
            </a:r>
          </a:p>
        </p:txBody>
      </p:sp>
      <p:sp>
        <p:nvSpPr>
          <p:cNvPr id="53" name="Speech Bubble: Rectangle with Corners Rounded 52">
            <a:extLst>
              <a:ext uri="{FF2B5EF4-FFF2-40B4-BE49-F238E27FC236}">
                <a16:creationId xmlns:a16="http://schemas.microsoft.com/office/drawing/2014/main" id="{243212C4-DE3B-4513-8B70-6599645CE04C}"/>
              </a:ext>
            </a:extLst>
          </p:cNvPr>
          <p:cNvSpPr/>
          <p:nvPr/>
        </p:nvSpPr>
        <p:spPr>
          <a:xfrm>
            <a:off x="4432300" y="2947988"/>
            <a:ext cx="628650" cy="366713"/>
          </a:xfrm>
          <a:prstGeom prst="wedgeRoundRectCallout">
            <a:avLst>
              <a:gd name="adj1" fmla="val 25274"/>
              <a:gd name="adj2" fmla="val 67595"/>
              <a:gd name="adj3" fmla="val 16667"/>
            </a:avLst>
          </a:prstGeom>
          <a:solidFill>
            <a:srgbClr val="F2F2F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45720" tIns="0" rIns="45720" bIns="0" numCol="1" spcCol="0" rtlCol="0" fromWordArt="0" anchor="ctr" anchorCtr="0" forceAA="0" compatLnSpc="1">
            <a:prstTxWarp prst="textNoShape">
              <a:avLst/>
            </a:prstTxWarp>
            <a:noAutofit/>
          </a:bodyPr>
          <a:lstStyle/>
          <a:p>
            <a:pPr defTabSz="914400">
              <a:lnSpc>
                <a:spcPct val="114000"/>
              </a:lnSpc>
            </a:pPr>
            <a:r>
              <a:rPr lang="en-US" sz="600" b="1" dirty="0">
                <a:solidFill>
                  <a:srgbClr val="707274"/>
                </a:solidFill>
                <a:latin typeface="Proxima Nova A" panose="02000506030000020004" pitchFamily="2" charset="0"/>
                <a:cs typeface="Arial" pitchFamily="34" charset="0"/>
              </a:rPr>
              <a:t>0.6%</a:t>
            </a:r>
            <a:r>
              <a:rPr lang="en-US" sz="600" dirty="0">
                <a:solidFill>
                  <a:srgbClr val="707274"/>
                </a:solidFill>
                <a:latin typeface="Proxima Nova A" panose="02000506030000020004" pitchFamily="2" charset="0"/>
                <a:cs typeface="Arial" pitchFamily="34" charset="0"/>
              </a:rPr>
              <a:t> received the service earlier</a:t>
            </a:r>
          </a:p>
        </p:txBody>
      </p:sp>
    </p:spTree>
    <p:extLst>
      <p:ext uri="{BB962C8B-B14F-4D97-AF65-F5344CB8AC3E}">
        <p14:creationId xmlns:p14="http://schemas.microsoft.com/office/powerpoint/2010/main" val="731954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4D850F2-4870-47DC-B219-9BBE48BB699F}"/>
              </a:ext>
            </a:extLst>
          </p:cNvPr>
          <p:cNvGraphicFramePr>
            <a:graphicFrameLocks noChangeAspect="1"/>
          </p:cNvGraphicFramePr>
          <p:nvPr>
            <p:custDataLst>
              <p:tags r:id="rId2"/>
            </p:custDataLst>
            <p:extLst>
              <p:ext uri="{D42A27DB-BD31-4B8C-83A1-F6EECF244321}">
                <p14:modId xmlns:p14="http://schemas.microsoft.com/office/powerpoint/2010/main" val="1017775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8999" name="think-cell Slide" r:id="rId18" imgW="473" imgH="473" progId="TCLayout.ActiveDocument.1">
                  <p:embed/>
                </p:oleObj>
              </mc:Choice>
              <mc:Fallback>
                <p:oleObj name="think-cell Slide" r:id="rId18" imgW="473" imgH="473" progId="TCLayout.ActiveDocument.1">
                  <p:embed/>
                  <p:pic>
                    <p:nvPicPr>
                      <p:cNvPr id="12" name="Object 11" hidden="1">
                        <a:extLst>
                          <a:ext uri="{FF2B5EF4-FFF2-40B4-BE49-F238E27FC236}">
                            <a16:creationId xmlns:a16="http://schemas.microsoft.com/office/drawing/2014/main" id="{94D850F2-4870-47DC-B219-9BBE48BB699F}"/>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59317CA-CA45-44AB-98A3-078221652534}"/>
              </a:ext>
            </a:extLst>
          </p:cNvPr>
          <p:cNvSpPr/>
          <p:nvPr>
            <p:custDataLst>
              <p:tags r:id="rId3"/>
            </p:custDataLst>
          </p:nvPr>
        </p:nvSpPr>
        <p:spPr>
          <a:xfrm>
            <a:off x="0" y="0"/>
            <a:ext cx="158750" cy="158750"/>
          </a:xfrm>
          <a:prstGeom prst="rect">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14400"/>
            <a:endParaRPr lang="en-US" sz="600" kern="1200" dirty="0" err="1">
              <a:solidFill>
                <a:schemeClr val="bg1"/>
              </a:solidFill>
              <a:latin typeface="Proxima Nova A" panose="02000506030000020004" pitchFamily="2" charset="0"/>
              <a:cs typeface="Arial" panose="020B0604020202020204" pitchFamily="34" charset="0"/>
              <a:sym typeface="Proxima Nova A" panose="02000506030000020004" pitchFamily="2" charset="0"/>
            </a:endParaRPr>
          </a:p>
        </p:txBody>
      </p:sp>
      <p:graphicFrame>
        <p:nvGraphicFramePr>
          <p:cNvPr id="21" name="Chart 20">
            <a:extLst>
              <a:ext uri="{FF2B5EF4-FFF2-40B4-BE49-F238E27FC236}">
                <a16:creationId xmlns:a16="http://schemas.microsoft.com/office/drawing/2014/main" id="{0936E8AF-DBC5-4D87-A865-24BFE6932ACA}"/>
              </a:ext>
            </a:extLst>
          </p:cNvPr>
          <p:cNvGraphicFramePr/>
          <p:nvPr>
            <p:custDataLst>
              <p:tags r:id="rId4"/>
            </p:custDataLst>
            <p:extLst>
              <p:ext uri="{D42A27DB-BD31-4B8C-83A1-F6EECF244321}">
                <p14:modId xmlns:p14="http://schemas.microsoft.com/office/powerpoint/2010/main" val="533343264"/>
              </p:ext>
            </p:extLst>
          </p:nvPr>
        </p:nvGraphicFramePr>
        <p:xfrm>
          <a:off x="4519613" y="2089150"/>
          <a:ext cx="1982787" cy="1947863"/>
        </p:xfrm>
        <a:graphic>
          <a:graphicData uri="http://schemas.openxmlformats.org/drawingml/2006/chart">
            <c:chart xmlns:c="http://schemas.openxmlformats.org/drawingml/2006/chart" xmlns:r="http://schemas.openxmlformats.org/officeDocument/2006/relationships" r:id="rId20"/>
          </a:graphicData>
        </a:graphic>
      </p:graphicFrame>
      <p:sp>
        <p:nvSpPr>
          <p:cNvPr id="42" name="Text Placeholder 2">
            <a:extLst>
              <a:ext uri="{FF2B5EF4-FFF2-40B4-BE49-F238E27FC236}">
                <a16:creationId xmlns:a16="http://schemas.microsoft.com/office/drawing/2014/main" id="{D271E5DC-E6B3-4F40-9788-265D0DBFE829}"/>
              </a:ext>
            </a:extLst>
          </p:cNvPr>
          <p:cNvSpPr>
            <a:spLocks noGrp="1"/>
          </p:cNvSpPr>
          <p:nvPr>
            <p:custDataLst>
              <p:tags r:id="rId5"/>
            </p:custDataLst>
          </p:nvPr>
        </p:nvSpPr>
        <p:spPr bwMode="gray">
          <a:xfrm>
            <a:off x="5359400" y="2195513"/>
            <a:ext cx="122238" cy="92075"/>
          </a:xfrm>
          <a:prstGeom prst="rect">
            <a:avLst/>
          </a:prstGeom>
          <a:solidFill>
            <a:srgbClr val="ACD0EE"/>
          </a:solidFill>
          <a:ln>
            <a:noFill/>
          </a:ln>
        </p:spPr>
        <p:txBody>
          <a:bodyPr vert="horz" wrap="none" lIns="11113" tIns="0" rIns="11113" bIns="0" numCol="1" spcCol="0" rtlCol="0" anchor="ctr" anchorCtr="0">
            <a:noAutofit/>
          </a:bodyPr>
          <a:lstStyle>
            <a:lvl1pPr marL="201167" indent="-201167" algn="l" defTabSz="1072893" rtl="0" eaLnBrk="1" latinLnBrk="0" hangingPunct="1">
              <a:lnSpc>
                <a:spcPct val="100000"/>
              </a:lnSpc>
              <a:spcBef>
                <a:spcPts val="0"/>
              </a:spcBef>
              <a:buFont typeface="Arial" panose="020B0604020202020204" pitchFamily="34" charset="0"/>
              <a:buChar char="•"/>
              <a:defRPr sz="1600" kern="1200">
                <a:solidFill>
                  <a:srgbClr val="606060"/>
                </a:solidFill>
                <a:latin typeface="Lato" panose="020F0502020204030203" pitchFamily="34" charset="0"/>
                <a:ea typeface="+mn-ea"/>
                <a:cs typeface="Arial" pitchFamily="34" charset="0"/>
              </a:defRPr>
            </a:lvl1pPr>
            <a:lvl2pPr marL="402335"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2pPr>
            <a:lvl3pPr marL="603502" indent="-201167"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3pPr>
            <a:lvl4pPr marL="804669"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4pPr>
            <a:lvl5pPr marL="1005836" indent="-201167"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5pPr>
            <a:lvl6pPr marL="1207004"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6pPr>
            <a:lvl7pPr marL="1408172" indent="-197442"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7pPr>
            <a:lvl8pPr marL="1609339" indent="-204894"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8pPr>
            <a:lvl9pPr marL="1743449" indent="-197442"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9pPr>
          </a:lstStyle>
          <a:p>
            <a:pPr marL="0" indent="0" algn="ctr">
              <a:spcBef>
                <a:spcPct val="0"/>
              </a:spcBef>
              <a:spcAft>
                <a:spcPct val="0"/>
              </a:spcAft>
              <a:buNone/>
            </a:pPr>
            <a:fld id="{8F1B2119-788B-45F9-A388-157902DD3085}" type="datetime'''''''''''''''''''2''''''''''''''''''''''%'''''''''''''''">
              <a:rPr lang="en-US" altLang="en-US" sz="600" smtClean="0">
                <a:solidFill>
                  <a:srgbClr val="FFFFFF"/>
                </a:solidFill>
                <a:latin typeface="Proxima Nova A" panose="02000506030000020004" pitchFamily="2" charset="0"/>
                <a:sym typeface="Proxima Nova A" panose="02000506030000020004" pitchFamily="2" charset="0"/>
              </a:rPr>
              <a:pPr/>
              <a:t>2%</a:t>
            </a:fld>
            <a:endParaRPr lang="en-US" sz="600" dirty="0">
              <a:solidFill>
                <a:srgbClr val="FFFFFF"/>
              </a:solidFill>
              <a:latin typeface="Proxima Nova A" panose="02000506030000020004" pitchFamily="2" charset="0"/>
              <a:sym typeface="Proxima Nova A" panose="02000506030000020004" pitchFamily="2" charset="0"/>
            </a:endParaRPr>
          </a:p>
        </p:txBody>
      </p:sp>
      <p:sp>
        <p:nvSpPr>
          <p:cNvPr id="43" name="Text Placeholder 2">
            <a:extLst>
              <a:ext uri="{FF2B5EF4-FFF2-40B4-BE49-F238E27FC236}">
                <a16:creationId xmlns:a16="http://schemas.microsoft.com/office/drawing/2014/main" id="{4BFA2514-0353-4513-ADEE-2A5AABA37236}"/>
              </a:ext>
            </a:extLst>
          </p:cNvPr>
          <p:cNvSpPr>
            <a:spLocks noGrp="1"/>
          </p:cNvSpPr>
          <p:nvPr>
            <p:custDataLst>
              <p:tags r:id="rId6"/>
            </p:custDataLst>
          </p:nvPr>
        </p:nvSpPr>
        <p:spPr bwMode="gray">
          <a:xfrm>
            <a:off x="5449888" y="2287588"/>
            <a:ext cx="103188" cy="92075"/>
          </a:xfrm>
          <a:prstGeom prst="rect">
            <a:avLst/>
          </a:prstGeom>
          <a:solidFill>
            <a:srgbClr val="E1EDF9"/>
          </a:solidFill>
          <a:ln>
            <a:noFill/>
          </a:ln>
        </p:spPr>
        <p:txBody>
          <a:bodyPr vert="horz" wrap="none" lIns="11113" tIns="0" rIns="11113" bIns="0" numCol="1" spcCol="0" rtlCol="0" anchor="ctr" anchorCtr="0">
            <a:noAutofit/>
          </a:bodyPr>
          <a:lstStyle>
            <a:lvl1pPr marL="201167" indent="-201167" algn="l" defTabSz="1072893" rtl="0" eaLnBrk="1" latinLnBrk="0" hangingPunct="1">
              <a:lnSpc>
                <a:spcPct val="100000"/>
              </a:lnSpc>
              <a:spcBef>
                <a:spcPts val="0"/>
              </a:spcBef>
              <a:buFont typeface="Arial" panose="020B0604020202020204" pitchFamily="34" charset="0"/>
              <a:buChar char="•"/>
              <a:defRPr sz="1600" kern="1200">
                <a:solidFill>
                  <a:srgbClr val="606060"/>
                </a:solidFill>
                <a:latin typeface="Lato" panose="020F0502020204030203" pitchFamily="34" charset="0"/>
                <a:ea typeface="+mn-ea"/>
                <a:cs typeface="Arial" pitchFamily="34" charset="0"/>
              </a:defRPr>
            </a:lvl1pPr>
            <a:lvl2pPr marL="402335"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2pPr>
            <a:lvl3pPr marL="603502" indent="-201167"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3pPr>
            <a:lvl4pPr marL="804669"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4pPr>
            <a:lvl5pPr marL="1005836" indent="-201167"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5pPr>
            <a:lvl6pPr marL="1207004"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6pPr>
            <a:lvl7pPr marL="1408172" indent="-197442"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7pPr>
            <a:lvl8pPr marL="1609339" indent="-204894"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8pPr>
            <a:lvl9pPr marL="1743449" indent="-197442"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9pPr>
          </a:lstStyle>
          <a:p>
            <a:pPr marL="0" indent="0" algn="ctr">
              <a:spcBef>
                <a:spcPct val="0"/>
              </a:spcBef>
              <a:spcAft>
                <a:spcPct val="0"/>
              </a:spcAft>
              <a:buNone/>
            </a:pPr>
            <a:fld id="{FB5F566B-C9BF-41A3-8D70-0012925F4A51}" type="datetime'''''''''1''''''''''''''''''''''''''''''''''''''''%'">
              <a:rPr lang="en-US" altLang="en-US" sz="600" smtClean="0">
                <a:solidFill>
                  <a:srgbClr val="707274"/>
                </a:solidFill>
                <a:latin typeface="Proxima Nova A" panose="02000506030000020004" pitchFamily="2" charset="0"/>
                <a:sym typeface="Proxima Nova A" panose="02000506030000020004" pitchFamily="2" charset="0"/>
              </a:rPr>
              <a:pPr/>
              <a:t>1%</a:t>
            </a:fld>
            <a:endParaRPr lang="en-US" sz="600" dirty="0">
              <a:solidFill>
                <a:srgbClr val="707274"/>
              </a:solidFill>
              <a:latin typeface="Proxima Nova A" panose="02000506030000020004" pitchFamily="2" charset="0"/>
              <a:sym typeface="Proxima Nova A" panose="02000506030000020004" pitchFamily="2" charset="0"/>
            </a:endParaRPr>
          </a:p>
        </p:txBody>
      </p:sp>
      <p:sp>
        <p:nvSpPr>
          <p:cNvPr id="87" name="Rectangle 86">
            <a:extLst>
              <a:ext uri="{FF2B5EF4-FFF2-40B4-BE49-F238E27FC236}">
                <a16:creationId xmlns:a16="http://schemas.microsoft.com/office/drawing/2014/main" id="{2F74FE99-05F2-4B9E-9928-6FDEAD09192B}"/>
              </a:ext>
            </a:extLst>
          </p:cNvPr>
          <p:cNvSpPr/>
          <p:nvPr>
            <p:custDataLst>
              <p:tags r:id="rId7"/>
            </p:custDataLst>
          </p:nvPr>
        </p:nvSpPr>
        <p:spPr bwMode="auto">
          <a:xfrm>
            <a:off x="6462713" y="2203450"/>
            <a:ext cx="107950" cy="80963"/>
          </a:xfrm>
          <a:prstGeom prst="rect">
            <a:avLst/>
          </a:prstGeom>
          <a:solidFill>
            <a:srgbClr val="175C9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dirty="0" err="1">
              <a:solidFill>
                <a:schemeClr val="bg1"/>
              </a:solidFill>
              <a:ea typeface="+mn-ea"/>
              <a:cs typeface="Arial" pitchFamily="34" charset="0"/>
            </a:endParaRPr>
          </a:p>
        </p:txBody>
      </p:sp>
      <p:sp>
        <p:nvSpPr>
          <p:cNvPr id="89" name="Rectangle 88">
            <a:extLst>
              <a:ext uri="{FF2B5EF4-FFF2-40B4-BE49-F238E27FC236}">
                <a16:creationId xmlns:a16="http://schemas.microsoft.com/office/drawing/2014/main" id="{14DB9349-7F7C-4873-A018-743E3DD8F2E0}"/>
              </a:ext>
            </a:extLst>
          </p:cNvPr>
          <p:cNvSpPr/>
          <p:nvPr>
            <p:custDataLst>
              <p:tags r:id="rId8"/>
            </p:custDataLst>
          </p:nvPr>
        </p:nvSpPr>
        <p:spPr bwMode="auto">
          <a:xfrm>
            <a:off x="6462713" y="2489200"/>
            <a:ext cx="107950" cy="80963"/>
          </a:xfrm>
          <a:prstGeom prst="rect">
            <a:avLst/>
          </a:prstGeom>
          <a:solidFill>
            <a:srgbClr val="77B8E4"/>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dirty="0" err="1">
              <a:solidFill>
                <a:schemeClr val="bg1"/>
              </a:solidFill>
              <a:ea typeface="+mn-ea"/>
              <a:cs typeface="Arial" pitchFamily="34" charset="0"/>
            </a:endParaRPr>
          </a:p>
        </p:txBody>
      </p:sp>
      <p:sp>
        <p:nvSpPr>
          <p:cNvPr id="88" name="Rectangle 87">
            <a:extLst>
              <a:ext uri="{FF2B5EF4-FFF2-40B4-BE49-F238E27FC236}">
                <a16:creationId xmlns:a16="http://schemas.microsoft.com/office/drawing/2014/main" id="{8E4D7C40-5142-4A77-854C-947205F3D4E2}"/>
              </a:ext>
            </a:extLst>
          </p:cNvPr>
          <p:cNvSpPr/>
          <p:nvPr>
            <p:custDataLst>
              <p:tags r:id="rId9"/>
            </p:custDataLst>
          </p:nvPr>
        </p:nvSpPr>
        <p:spPr bwMode="auto">
          <a:xfrm>
            <a:off x="6462713" y="2346325"/>
            <a:ext cx="107950" cy="80963"/>
          </a:xfrm>
          <a:prstGeom prst="rect">
            <a:avLst/>
          </a:prstGeom>
          <a:solidFill>
            <a:srgbClr val="33A3DC"/>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dirty="0" err="1">
              <a:solidFill>
                <a:schemeClr val="bg1"/>
              </a:solidFill>
              <a:ea typeface="+mn-ea"/>
              <a:cs typeface="Arial" pitchFamily="34" charset="0"/>
            </a:endParaRPr>
          </a:p>
        </p:txBody>
      </p:sp>
      <p:sp>
        <p:nvSpPr>
          <p:cNvPr id="90" name="Rectangle 89">
            <a:extLst>
              <a:ext uri="{FF2B5EF4-FFF2-40B4-BE49-F238E27FC236}">
                <a16:creationId xmlns:a16="http://schemas.microsoft.com/office/drawing/2014/main" id="{C80E5959-2006-459D-9650-22AE995C665C}"/>
              </a:ext>
            </a:extLst>
          </p:cNvPr>
          <p:cNvSpPr/>
          <p:nvPr>
            <p:custDataLst>
              <p:tags r:id="rId10"/>
            </p:custDataLst>
          </p:nvPr>
        </p:nvSpPr>
        <p:spPr bwMode="auto">
          <a:xfrm>
            <a:off x="6462713" y="2632075"/>
            <a:ext cx="107950" cy="80963"/>
          </a:xfrm>
          <a:prstGeom prst="rect">
            <a:avLst/>
          </a:prstGeom>
          <a:solidFill>
            <a:srgbClr val="ACD0EE"/>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dirty="0" err="1">
              <a:solidFill>
                <a:schemeClr val="bg1"/>
              </a:solidFill>
              <a:ea typeface="+mn-ea"/>
              <a:cs typeface="Arial" pitchFamily="34" charset="0"/>
            </a:endParaRPr>
          </a:p>
        </p:txBody>
      </p:sp>
      <p:sp>
        <p:nvSpPr>
          <p:cNvPr id="91" name="Rectangle 90">
            <a:extLst>
              <a:ext uri="{FF2B5EF4-FFF2-40B4-BE49-F238E27FC236}">
                <a16:creationId xmlns:a16="http://schemas.microsoft.com/office/drawing/2014/main" id="{4958B966-9387-4F53-9FD6-5B8C93864CF0}"/>
              </a:ext>
            </a:extLst>
          </p:cNvPr>
          <p:cNvSpPr/>
          <p:nvPr>
            <p:custDataLst>
              <p:tags r:id="rId11"/>
            </p:custDataLst>
          </p:nvPr>
        </p:nvSpPr>
        <p:spPr bwMode="auto">
          <a:xfrm>
            <a:off x="6462713" y="2774950"/>
            <a:ext cx="107950" cy="80963"/>
          </a:xfrm>
          <a:prstGeom prst="rect">
            <a:avLst/>
          </a:prstGeom>
          <a:solidFill>
            <a:srgbClr val="E1EDF9"/>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dirty="0" err="1">
              <a:solidFill>
                <a:schemeClr val="bg1"/>
              </a:solidFill>
              <a:ea typeface="+mn-ea"/>
              <a:cs typeface="Arial" pitchFamily="34" charset="0"/>
            </a:endParaRPr>
          </a:p>
        </p:txBody>
      </p:sp>
      <p:sp>
        <p:nvSpPr>
          <p:cNvPr id="64" name="Text Placeholder 2">
            <a:extLst>
              <a:ext uri="{FF2B5EF4-FFF2-40B4-BE49-F238E27FC236}">
                <a16:creationId xmlns:a16="http://schemas.microsoft.com/office/drawing/2014/main" id="{270D8BD6-62A7-43B2-8EFF-55F095B57396}"/>
              </a:ext>
            </a:extLst>
          </p:cNvPr>
          <p:cNvSpPr>
            <a:spLocks noGrp="1"/>
          </p:cNvSpPr>
          <p:nvPr>
            <p:custDataLst>
              <p:tags r:id="rId12"/>
            </p:custDataLst>
          </p:nvPr>
        </p:nvSpPr>
        <p:spPr bwMode="auto">
          <a:xfrm>
            <a:off x="6621463" y="2628900"/>
            <a:ext cx="738188" cy="92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01167" indent="-201167" algn="l" defTabSz="1072893" rtl="0" eaLnBrk="1" latinLnBrk="0" hangingPunct="1">
              <a:lnSpc>
                <a:spcPct val="100000"/>
              </a:lnSpc>
              <a:spcBef>
                <a:spcPts val="0"/>
              </a:spcBef>
              <a:buFont typeface="Arial" panose="020B0604020202020204" pitchFamily="34" charset="0"/>
              <a:buChar char="•"/>
              <a:defRPr sz="1600" kern="1200">
                <a:solidFill>
                  <a:srgbClr val="606060"/>
                </a:solidFill>
                <a:latin typeface="Lato" panose="020F0502020204030203" pitchFamily="34" charset="0"/>
                <a:ea typeface="+mn-ea"/>
                <a:cs typeface="Arial" pitchFamily="34" charset="0"/>
              </a:defRPr>
            </a:lvl1pPr>
            <a:lvl2pPr marL="402335"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2pPr>
            <a:lvl3pPr marL="603502" indent="-201167"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3pPr>
            <a:lvl4pPr marL="804669"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4pPr>
            <a:lvl5pPr marL="1005836" indent="-201167"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5pPr>
            <a:lvl6pPr marL="1207004"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6pPr>
            <a:lvl7pPr marL="1408172" indent="-197442"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7pPr>
            <a:lvl8pPr marL="1609339" indent="-204894"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8pPr>
            <a:lvl9pPr marL="1743449" indent="-197442"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9pPr>
          </a:lstStyle>
          <a:p>
            <a:pPr marL="0" indent="0">
              <a:spcBef>
                <a:spcPct val="0"/>
              </a:spcBef>
              <a:spcAft>
                <a:spcPct val="0"/>
              </a:spcAft>
              <a:buNone/>
            </a:pPr>
            <a:fld id="{1BFB4B80-2D25-460F-9A5E-4EFA6CB0E20A}" type="datetime'''S''''o''me''''''''''wh''''''''at un''''sat''isf''i''e''''d'">
              <a:rPr lang="en-US" altLang="en-US" sz="600" smtClean="0">
                <a:solidFill>
                  <a:srgbClr val="707274"/>
                </a:solidFill>
                <a:latin typeface="Proxima Nova A" panose="02000506030000020004" pitchFamily="2" charset="0"/>
                <a:sym typeface="Proxima Nova A" panose="02000506030000020004" pitchFamily="2" charset="0"/>
              </a:rPr>
              <a:pPr marL="0" indent="0">
                <a:spcBef>
                  <a:spcPct val="0"/>
                </a:spcBef>
                <a:spcAft>
                  <a:spcPct val="0"/>
                </a:spcAft>
                <a:buNone/>
              </a:pPr>
              <a:t>Somewhat unsatisfied</a:t>
            </a:fld>
            <a:endParaRPr lang="en-US" sz="600" dirty="0">
              <a:solidFill>
                <a:srgbClr val="707274"/>
              </a:solidFill>
              <a:latin typeface="Proxima Nova A" panose="02000506030000020004" pitchFamily="2" charset="0"/>
              <a:sym typeface="Proxima Nova A" panose="02000506030000020004" pitchFamily="2" charset="0"/>
            </a:endParaRPr>
          </a:p>
        </p:txBody>
      </p:sp>
      <p:sp>
        <p:nvSpPr>
          <p:cNvPr id="61" name="Text Placeholder 2">
            <a:extLst>
              <a:ext uri="{FF2B5EF4-FFF2-40B4-BE49-F238E27FC236}">
                <a16:creationId xmlns:a16="http://schemas.microsoft.com/office/drawing/2014/main" id="{D5DB47DA-E16E-4C47-A30A-7EF82048E9E8}"/>
              </a:ext>
            </a:extLst>
          </p:cNvPr>
          <p:cNvSpPr>
            <a:spLocks noGrp="1"/>
          </p:cNvSpPr>
          <p:nvPr>
            <p:custDataLst>
              <p:tags r:id="rId13"/>
            </p:custDataLst>
          </p:nvPr>
        </p:nvSpPr>
        <p:spPr bwMode="auto">
          <a:xfrm>
            <a:off x="6621463" y="2200275"/>
            <a:ext cx="460375" cy="92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01167" indent="-201167" algn="l" defTabSz="1072893" rtl="0" eaLnBrk="1" latinLnBrk="0" hangingPunct="1">
              <a:lnSpc>
                <a:spcPct val="100000"/>
              </a:lnSpc>
              <a:spcBef>
                <a:spcPts val="0"/>
              </a:spcBef>
              <a:buFont typeface="Arial" panose="020B0604020202020204" pitchFamily="34" charset="0"/>
              <a:buChar char="•"/>
              <a:defRPr sz="1600" kern="1200">
                <a:solidFill>
                  <a:srgbClr val="606060"/>
                </a:solidFill>
                <a:latin typeface="Lato" panose="020F0502020204030203" pitchFamily="34" charset="0"/>
                <a:ea typeface="+mn-ea"/>
                <a:cs typeface="Arial" pitchFamily="34" charset="0"/>
              </a:defRPr>
            </a:lvl1pPr>
            <a:lvl2pPr marL="402335"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2pPr>
            <a:lvl3pPr marL="603502" indent="-201167"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3pPr>
            <a:lvl4pPr marL="804669"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4pPr>
            <a:lvl5pPr marL="1005836" indent="-201167"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5pPr>
            <a:lvl6pPr marL="1207004"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6pPr>
            <a:lvl7pPr marL="1408172" indent="-197442"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7pPr>
            <a:lvl8pPr marL="1609339" indent="-204894"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8pPr>
            <a:lvl9pPr marL="1743449" indent="-197442"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9pPr>
          </a:lstStyle>
          <a:p>
            <a:pPr marL="0" indent="0">
              <a:spcBef>
                <a:spcPct val="0"/>
              </a:spcBef>
              <a:spcAft>
                <a:spcPct val="0"/>
              </a:spcAft>
              <a:buNone/>
            </a:pPr>
            <a:fld id="{E3114E73-932E-499F-9858-5BD568AE0EE7}" type="datetime'V''''e''''ry'''' ''''''sa''''''tisf''''''''''ie''''d'''">
              <a:rPr lang="en-US" altLang="en-US" sz="600" smtClean="0">
                <a:solidFill>
                  <a:srgbClr val="707274"/>
                </a:solidFill>
                <a:latin typeface="Proxima Nova A" panose="02000506030000020004" pitchFamily="2" charset="0"/>
                <a:sym typeface="Proxima Nova A" panose="02000506030000020004" pitchFamily="2" charset="0"/>
              </a:rPr>
              <a:pPr marL="0" indent="0">
                <a:spcBef>
                  <a:spcPct val="0"/>
                </a:spcBef>
                <a:spcAft>
                  <a:spcPct val="0"/>
                </a:spcAft>
                <a:buNone/>
              </a:pPr>
              <a:t>Very satisfied</a:t>
            </a:fld>
            <a:endParaRPr lang="en-US" sz="600" dirty="0">
              <a:solidFill>
                <a:srgbClr val="707274"/>
              </a:solidFill>
              <a:latin typeface="Proxima Nova A" panose="02000506030000020004" pitchFamily="2" charset="0"/>
              <a:sym typeface="Proxima Nova A" panose="02000506030000020004" pitchFamily="2" charset="0"/>
            </a:endParaRPr>
          </a:p>
        </p:txBody>
      </p:sp>
      <p:sp>
        <p:nvSpPr>
          <p:cNvPr id="63" name="Text Placeholder 2">
            <a:extLst>
              <a:ext uri="{FF2B5EF4-FFF2-40B4-BE49-F238E27FC236}">
                <a16:creationId xmlns:a16="http://schemas.microsoft.com/office/drawing/2014/main" id="{2AD8937A-C43A-418B-95C2-911205CA2116}"/>
              </a:ext>
            </a:extLst>
          </p:cNvPr>
          <p:cNvSpPr>
            <a:spLocks noGrp="1"/>
          </p:cNvSpPr>
          <p:nvPr>
            <p:custDataLst>
              <p:tags r:id="rId14"/>
            </p:custDataLst>
          </p:nvPr>
        </p:nvSpPr>
        <p:spPr bwMode="auto">
          <a:xfrm>
            <a:off x="6621463" y="2486025"/>
            <a:ext cx="1057275" cy="92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01167" indent="-201167" algn="l" defTabSz="1072893" rtl="0" eaLnBrk="1" latinLnBrk="0" hangingPunct="1">
              <a:lnSpc>
                <a:spcPct val="100000"/>
              </a:lnSpc>
              <a:spcBef>
                <a:spcPts val="0"/>
              </a:spcBef>
              <a:buFont typeface="Arial" panose="020B0604020202020204" pitchFamily="34" charset="0"/>
              <a:buChar char="•"/>
              <a:defRPr sz="1600" kern="1200">
                <a:solidFill>
                  <a:srgbClr val="606060"/>
                </a:solidFill>
                <a:latin typeface="Lato" panose="020F0502020204030203" pitchFamily="34" charset="0"/>
                <a:ea typeface="+mn-ea"/>
                <a:cs typeface="Arial" pitchFamily="34" charset="0"/>
              </a:defRPr>
            </a:lvl1pPr>
            <a:lvl2pPr marL="402335"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2pPr>
            <a:lvl3pPr marL="603502" indent="-201167"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3pPr>
            <a:lvl4pPr marL="804669"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4pPr>
            <a:lvl5pPr marL="1005836" indent="-201167"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5pPr>
            <a:lvl6pPr marL="1207004"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6pPr>
            <a:lvl7pPr marL="1408172" indent="-197442"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7pPr>
            <a:lvl8pPr marL="1609339" indent="-204894"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8pPr>
            <a:lvl9pPr marL="1743449" indent="-197442"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9pPr>
          </a:lstStyle>
          <a:p>
            <a:pPr marL="0" indent="0">
              <a:spcBef>
                <a:spcPct val="0"/>
              </a:spcBef>
              <a:spcAft>
                <a:spcPct val="0"/>
              </a:spcAft>
              <a:buNone/>
            </a:pPr>
            <a:fld id="{092A1984-9BBD-4321-A640-3899EB45E965}" type="datetime'Ne''''ither sa''ti''sf''ied n''''or'' u''nsatisf''''''ied'''">
              <a:rPr lang="en-US" altLang="en-US" sz="600" smtClean="0">
                <a:solidFill>
                  <a:srgbClr val="707274"/>
                </a:solidFill>
                <a:latin typeface="Proxima Nova A" panose="02000506030000020004" pitchFamily="2" charset="0"/>
                <a:sym typeface="Proxima Nova A" panose="02000506030000020004" pitchFamily="2" charset="0"/>
              </a:rPr>
              <a:pPr/>
              <a:t>Neither satisfied nor unsatisfied</a:t>
            </a:fld>
            <a:endParaRPr lang="en-US" sz="600" dirty="0">
              <a:solidFill>
                <a:srgbClr val="707274"/>
              </a:solidFill>
              <a:latin typeface="Proxima Nova A" panose="02000506030000020004" pitchFamily="2" charset="0"/>
              <a:sym typeface="Proxima Nova A" panose="02000506030000020004" pitchFamily="2" charset="0"/>
            </a:endParaRPr>
          </a:p>
        </p:txBody>
      </p:sp>
      <p:sp>
        <p:nvSpPr>
          <p:cNvPr id="62" name="Text Placeholder 2">
            <a:extLst>
              <a:ext uri="{FF2B5EF4-FFF2-40B4-BE49-F238E27FC236}">
                <a16:creationId xmlns:a16="http://schemas.microsoft.com/office/drawing/2014/main" id="{B07EFC16-6F94-4496-9E93-68EBB8977A1A}"/>
              </a:ext>
            </a:extLst>
          </p:cNvPr>
          <p:cNvSpPr>
            <a:spLocks noGrp="1"/>
          </p:cNvSpPr>
          <p:nvPr>
            <p:custDataLst>
              <p:tags r:id="rId15"/>
            </p:custDataLst>
          </p:nvPr>
        </p:nvSpPr>
        <p:spPr bwMode="auto">
          <a:xfrm>
            <a:off x="6621463" y="2343150"/>
            <a:ext cx="655638" cy="92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01167" indent="-201167" algn="l" defTabSz="1072893" rtl="0" eaLnBrk="1" latinLnBrk="0" hangingPunct="1">
              <a:lnSpc>
                <a:spcPct val="100000"/>
              </a:lnSpc>
              <a:spcBef>
                <a:spcPts val="0"/>
              </a:spcBef>
              <a:buFont typeface="Arial" panose="020B0604020202020204" pitchFamily="34" charset="0"/>
              <a:buChar char="•"/>
              <a:defRPr sz="1600" kern="1200">
                <a:solidFill>
                  <a:srgbClr val="606060"/>
                </a:solidFill>
                <a:latin typeface="Lato" panose="020F0502020204030203" pitchFamily="34" charset="0"/>
                <a:ea typeface="+mn-ea"/>
                <a:cs typeface="Arial" pitchFamily="34" charset="0"/>
              </a:defRPr>
            </a:lvl1pPr>
            <a:lvl2pPr marL="402335"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2pPr>
            <a:lvl3pPr marL="603502" indent="-201167"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3pPr>
            <a:lvl4pPr marL="804669"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4pPr>
            <a:lvl5pPr marL="1005836" indent="-201167"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5pPr>
            <a:lvl6pPr marL="1207004"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6pPr>
            <a:lvl7pPr marL="1408172" indent="-197442"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7pPr>
            <a:lvl8pPr marL="1609339" indent="-204894"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8pPr>
            <a:lvl9pPr marL="1743449" indent="-197442"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9pPr>
          </a:lstStyle>
          <a:p>
            <a:pPr marL="0" indent="0">
              <a:spcBef>
                <a:spcPct val="0"/>
              </a:spcBef>
              <a:spcAft>
                <a:spcPct val="0"/>
              </a:spcAft>
              <a:buNone/>
            </a:pPr>
            <a:fld id="{0F620C8A-BA1E-4675-A1ED-2090550523A9}" type="datetime'''''''''S''o''m''e''wha''''t'''' ''s''at''i''''''s''fie''d'">
              <a:rPr lang="en-US" altLang="en-US" sz="600" smtClean="0">
                <a:solidFill>
                  <a:srgbClr val="707274"/>
                </a:solidFill>
                <a:latin typeface="Proxima Nova A" panose="02000506030000020004" pitchFamily="2" charset="0"/>
                <a:sym typeface="Proxima Nova A" panose="02000506030000020004" pitchFamily="2" charset="0"/>
              </a:rPr>
              <a:pPr marL="0" indent="0">
                <a:spcBef>
                  <a:spcPct val="0"/>
                </a:spcBef>
                <a:spcAft>
                  <a:spcPct val="0"/>
                </a:spcAft>
                <a:buNone/>
              </a:pPr>
              <a:t>Somewhat satisfied</a:t>
            </a:fld>
            <a:endParaRPr lang="en-US" sz="600" dirty="0">
              <a:solidFill>
                <a:srgbClr val="707274"/>
              </a:solidFill>
              <a:latin typeface="Proxima Nova A" panose="02000506030000020004" pitchFamily="2" charset="0"/>
              <a:sym typeface="Proxima Nova A" panose="02000506030000020004" pitchFamily="2" charset="0"/>
            </a:endParaRPr>
          </a:p>
        </p:txBody>
      </p:sp>
      <p:sp>
        <p:nvSpPr>
          <p:cNvPr id="65" name="Text Placeholder 2">
            <a:extLst>
              <a:ext uri="{FF2B5EF4-FFF2-40B4-BE49-F238E27FC236}">
                <a16:creationId xmlns:a16="http://schemas.microsoft.com/office/drawing/2014/main" id="{E2C68EC1-567F-43C5-8C3A-6A888614C243}"/>
              </a:ext>
            </a:extLst>
          </p:cNvPr>
          <p:cNvSpPr>
            <a:spLocks noGrp="1"/>
          </p:cNvSpPr>
          <p:nvPr>
            <p:custDataLst>
              <p:tags r:id="rId16"/>
            </p:custDataLst>
          </p:nvPr>
        </p:nvSpPr>
        <p:spPr bwMode="auto">
          <a:xfrm>
            <a:off x="6621463" y="2771775"/>
            <a:ext cx="542925" cy="92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01167" indent="-201167" algn="l" defTabSz="1072893" rtl="0" eaLnBrk="1" latinLnBrk="0" hangingPunct="1">
              <a:lnSpc>
                <a:spcPct val="100000"/>
              </a:lnSpc>
              <a:spcBef>
                <a:spcPts val="0"/>
              </a:spcBef>
              <a:buFont typeface="Arial" panose="020B0604020202020204" pitchFamily="34" charset="0"/>
              <a:buChar char="•"/>
              <a:defRPr sz="1600" kern="1200">
                <a:solidFill>
                  <a:srgbClr val="606060"/>
                </a:solidFill>
                <a:latin typeface="Lato" panose="020F0502020204030203" pitchFamily="34" charset="0"/>
                <a:ea typeface="+mn-ea"/>
                <a:cs typeface="Arial" pitchFamily="34" charset="0"/>
              </a:defRPr>
            </a:lvl1pPr>
            <a:lvl2pPr marL="402335"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2pPr>
            <a:lvl3pPr marL="603502" indent="-201167"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3pPr>
            <a:lvl4pPr marL="804669"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4pPr>
            <a:lvl5pPr marL="1005836" indent="-201167"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5pPr>
            <a:lvl6pPr marL="1207004" indent="-201167"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6pPr>
            <a:lvl7pPr marL="1408172" indent="-197442"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7pPr>
            <a:lvl8pPr marL="1609339" indent="-204894" algn="l" defTabSz="1072893"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8pPr>
            <a:lvl9pPr marL="1743449" indent="-197442" algn="l" defTabSz="1072893"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9pPr>
          </a:lstStyle>
          <a:p>
            <a:pPr marL="0" indent="0">
              <a:spcBef>
                <a:spcPct val="0"/>
              </a:spcBef>
              <a:spcAft>
                <a:spcPct val="0"/>
              </a:spcAft>
              <a:buNone/>
            </a:pPr>
            <a:fld id="{721C3ECD-BD6B-44F1-9E2B-63602B61F687}" type="datetime'''Ver''y'''''' ''''u''nsa''''''''ti''''s''''''f''''i''ed'">
              <a:rPr lang="en-US" altLang="en-US" sz="600" smtClean="0">
                <a:solidFill>
                  <a:srgbClr val="707274"/>
                </a:solidFill>
                <a:latin typeface="Proxima Nova A" panose="02000506030000020004" pitchFamily="2" charset="0"/>
                <a:sym typeface="Proxima Nova A" panose="02000506030000020004" pitchFamily="2" charset="0"/>
              </a:rPr>
              <a:pPr marL="0" indent="0">
                <a:spcBef>
                  <a:spcPct val="0"/>
                </a:spcBef>
                <a:spcAft>
                  <a:spcPct val="0"/>
                </a:spcAft>
                <a:buNone/>
              </a:pPr>
              <a:t>Very unsatisfied</a:t>
            </a:fld>
            <a:endParaRPr lang="en-US" sz="600" dirty="0">
              <a:solidFill>
                <a:srgbClr val="707274"/>
              </a:solidFill>
              <a:latin typeface="Proxima Nova A" panose="02000506030000020004" pitchFamily="2" charset="0"/>
              <a:sym typeface="Proxima Nova A" panose="02000506030000020004" pitchFamily="2" charset="0"/>
            </a:endParaRPr>
          </a:p>
        </p:txBody>
      </p:sp>
      <p:grpSp>
        <p:nvGrpSpPr>
          <p:cNvPr id="8" name="Group 7">
            <a:extLst>
              <a:ext uri="{FF2B5EF4-FFF2-40B4-BE49-F238E27FC236}">
                <a16:creationId xmlns:a16="http://schemas.microsoft.com/office/drawing/2014/main" id="{2411CC42-FF1E-4500-AEC3-C6A14EBA5A71}"/>
              </a:ext>
            </a:extLst>
          </p:cNvPr>
          <p:cNvGrpSpPr/>
          <p:nvPr/>
        </p:nvGrpSpPr>
        <p:grpSpPr>
          <a:xfrm>
            <a:off x="4603751" y="2043112"/>
            <a:ext cx="2759075" cy="2198688"/>
            <a:chOff x="2168525" y="2037654"/>
            <a:chExt cx="5494715" cy="3494648"/>
          </a:xfrm>
        </p:grpSpPr>
        <p:sp>
          <p:nvSpPr>
            <p:cNvPr id="101" name="Text Placeholder 3">
              <a:extLst>
                <a:ext uri="{FF2B5EF4-FFF2-40B4-BE49-F238E27FC236}">
                  <a16:creationId xmlns:a16="http://schemas.microsoft.com/office/drawing/2014/main" id="{06801614-0341-4DE0-9467-AD237F39784B}"/>
                </a:ext>
              </a:extLst>
            </p:cNvPr>
            <p:cNvSpPr txBox="1">
              <a:spLocks/>
            </p:cNvSpPr>
            <p:nvPr/>
          </p:nvSpPr>
          <p:spPr bwMode="gray">
            <a:xfrm>
              <a:off x="2168525" y="5312048"/>
              <a:ext cx="5416550" cy="220254"/>
            </a:xfrm>
            <a:prstGeom prst="rect">
              <a:avLst/>
            </a:prstGeom>
          </p:spPr>
          <p:txBody>
            <a:bodyPr vert="horz" wrap="square" lIns="0" tIns="0" rIns="0" bIns="0" rtlCol="0" anchor="b">
              <a:spAutoFit/>
            </a:bodyPr>
            <a:lstStyle>
              <a:lvl1pPr marL="0" indent="0" algn="l" defTabSz="1072866" rtl="0" eaLnBrk="1" latinLnBrk="0" hangingPunct="1">
                <a:lnSpc>
                  <a:spcPct val="100000"/>
                </a:lnSpc>
                <a:spcBef>
                  <a:spcPts val="0"/>
                </a:spcBef>
                <a:buFont typeface="Arial" panose="020B0604020202020204" pitchFamily="34" charset="0"/>
                <a:buNone/>
                <a:defRPr sz="1000" kern="1200" baseline="0">
                  <a:solidFill>
                    <a:srgbClr val="606060"/>
                  </a:solidFill>
                  <a:latin typeface="Lato" panose="020F0502020204030203" pitchFamily="34" charset="0"/>
                  <a:ea typeface="+mn-ea"/>
                  <a:cs typeface="Arial" pitchFamily="34" charset="0"/>
                </a:defRPr>
              </a:lvl1pPr>
              <a:lvl2pPr marL="402325" indent="-201162"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2pPr>
              <a:lvl3pPr marL="603487" indent="-201162"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3pPr>
              <a:lvl4pPr marL="804649" indent="-201162"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4pPr>
              <a:lvl5pPr marL="1005811" indent="-201162"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5pPr>
              <a:lvl6pPr marL="1206974" indent="-201162"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6pPr>
              <a:lvl7pPr marL="1408136" indent="-197437"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7pPr>
              <a:lvl8pPr marL="1609298" indent="-204888"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8pPr>
              <a:lvl9pPr marL="1743406" indent="-197437"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9pPr>
            </a:lstStyle>
            <a:p>
              <a:r>
                <a:rPr lang="en-GB" sz="450" dirty="0">
                  <a:solidFill>
                    <a:srgbClr val="707274"/>
                  </a:solidFill>
                  <a:latin typeface="Proxima Nova A" panose="02000506030000020004" pitchFamily="2" charset="0"/>
                </a:rPr>
                <a:t>Source: State of Aadhaar pulse survey, 2019 (N = 147,868)</a:t>
              </a:r>
            </a:p>
            <a:p>
              <a:r>
                <a:rPr lang="en-US" sz="450" dirty="0">
                  <a:solidFill>
                    <a:srgbClr val="707274"/>
                  </a:solidFill>
                  <a:latin typeface="Proxima Nova A" panose="02000506030000020004" pitchFamily="2" charset="0"/>
                </a:rPr>
                <a:t>Note: Numbers in the text and the chart may not match due to rounding.</a:t>
              </a:r>
              <a:endParaRPr lang="en-GB" sz="450" dirty="0">
                <a:solidFill>
                  <a:srgbClr val="707274"/>
                </a:solidFill>
                <a:latin typeface="Proxima Nova A" panose="02000506030000020004" pitchFamily="2" charset="0"/>
              </a:endParaRPr>
            </a:p>
          </p:txBody>
        </p:sp>
        <p:sp>
          <p:nvSpPr>
            <p:cNvPr id="23" name="TextBox 22">
              <a:extLst>
                <a:ext uri="{FF2B5EF4-FFF2-40B4-BE49-F238E27FC236}">
                  <a16:creationId xmlns:a16="http://schemas.microsoft.com/office/drawing/2014/main" id="{5398CD72-70FE-46D9-A99E-CEB7E9EA2C9F}"/>
                </a:ext>
              </a:extLst>
            </p:cNvPr>
            <p:cNvSpPr txBox="1"/>
            <p:nvPr/>
          </p:nvSpPr>
          <p:spPr bwMode="gray">
            <a:xfrm>
              <a:off x="5848526" y="2037654"/>
              <a:ext cx="1814714" cy="168158"/>
            </a:xfrm>
            <a:prstGeom prst="rect">
              <a:avLst/>
            </a:prstGeom>
          </p:spPr>
          <p:txBody>
            <a:bodyPr vert="horz" wrap="square" lIns="0" tIns="0" rIns="0" bIns="0" rtlCol="0" anchor="t">
              <a:noAutofit/>
            </a:bodyPr>
            <a:lstStyle/>
            <a:p>
              <a:pPr>
                <a:spcBef>
                  <a:spcPts val="600"/>
                </a:spcBef>
              </a:pPr>
              <a:r>
                <a:rPr lang="en-US" sz="600" b="1" dirty="0">
                  <a:solidFill>
                    <a:srgbClr val="707274"/>
                  </a:solidFill>
                  <a:latin typeface="Proxima Nova A" panose="02000506030000020004" pitchFamily="2" charset="0"/>
                </a:rPr>
                <a:t>Legend</a:t>
              </a:r>
            </a:p>
          </p:txBody>
        </p:sp>
      </p:grpSp>
    </p:spTree>
    <p:extLst>
      <p:ext uri="{BB962C8B-B14F-4D97-AF65-F5344CB8AC3E}">
        <p14:creationId xmlns:p14="http://schemas.microsoft.com/office/powerpoint/2010/main" val="33690664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C44D30C-5CEF-484A-8C61-9B7E75147A51}"/>
              </a:ext>
            </a:extLst>
          </p:cNvPr>
          <p:cNvGraphicFramePr>
            <a:graphicFrameLocks noChangeAspect="1"/>
          </p:cNvGraphicFramePr>
          <p:nvPr>
            <p:custDataLst>
              <p:tags r:id="rId2"/>
            </p:custDataLst>
            <p:extLst>
              <p:ext uri="{D42A27DB-BD31-4B8C-83A1-F6EECF244321}">
                <p14:modId xmlns:p14="http://schemas.microsoft.com/office/powerpoint/2010/main" val="1552934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954"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604FD695-CF9C-45CC-A78B-3CF309926BD0}"/>
              </a:ext>
            </a:extLst>
          </p:cNvPr>
          <p:cNvSpPr>
            <a:spLocks noGrp="1"/>
          </p:cNvSpPr>
          <p:nvPr>
            <p:ph type="body" sz="quarter" idx="13"/>
          </p:nvPr>
        </p:nvSpPr>
        <p:spPr/>
        <p:txBody>
          <a:bodyPr/>
          <a:lstStyle/>
          <a:p>
            <a:endParaRPr lang="en-US"/>
          </a:p>
        </p:txBody>
      </p:sp>
      <p:sp>
        <p:nvSpPr>
          <p:cNvPr id="3" name="Text Placeholder 2">
            <a:extLst>
              <a:ext uri="{FF2B5EF4-FFF2-40B4-BE49-F238E27FC236}">
                <a16:creationId xmlns:a16="http://schemas.microsoft.com/office/drawing/2014/main" id="{A91AF29E-D7F2-4CE9-830A-96A941B8B5D0}"/>
              </a:ext>
            </a:extLst>
          </p:cNvPr>
          <p:cNvSpPr>
            <a:spLocks noGrp="1"/>
          </p:cNvSpPr>
          <p:nvPr>
            <p:ph type="body" sz="quarter" idx="14"/>
          </p:nvPr>
        </p:nvSpPr>
        <p:spPr>
          <a:xfrm>
            <a:off x="1312986" y="2972159"/>
            <a:ext cx="9566031" cy="738664"/>
          </a:xfrm>
        </p:spPr>
        <p:txBody>
          <a:bodyPr/>
          <a:lstStyle/>
          <a:p>
            <a:r>
              <a:rPr lang="en-US" dirty="0">
                <a:latin typeface="Proxima Nova A" panose="02000506030000020004" pitchFamily="2" charset="0"/>
              </a:rPr>
              <a:t>ARCHIVE</a:t>
            </a:r>
          </a:p>
        </p:txBody>
      </p:sp>
      <p:sp>
        <p:nvSpPr>
          <p:cNvPr id="4" name="Text Placeholder 3">
            <a:extLst>
              <a:ext uri="{FF2B5EF4-FFF2-40B4-BE49-F238E27FC236}">
                <a16:creationId xmlns:a16="http://schemas.microsoft.com/office/drawing/2014/main" id="{5EB42F5D-EE62-44E8-9656-A6C9FB09C948}"/>
              </a:ext>
            </a:extLst>
          </p:cNvPr>
          <p:cNvSpPr>
            <a:spLocks noGrp="1"/>
          </p:cNvSpPr>
          <p:nvPr>
            <p:ph type="body" sz="quarter" idx="20"/>
          </p:nvPr>
        </p:nvSpPr>
        <p:spPr/>
        <p:txBody>
          <a:bodyPr/>
          <a:lstStyle/>
          <a:p>
            <a:endParaRPr lang="en-US"/>
          </a:p>
        </p:txBody>
      </p:sp>
      <p:sp>
        <p:nvSpPr>
          <p:cNvPr id="6" name="Slide Number Placeholder 5">
            <a:extLst>
              <a:ext uri="{FF2B5EF4-FFF2-40B4-BE49-F238E27FC236}">
                <a16:creationId xmlns:a16="http://schemas.microsoft.com/office/drawing/2014/main" id="{7213A067-FED3-40EF-942A-59C49C4EE4C6}"/>
              </a:ext>
            </a:extLst>
          </p:cNvPr>
          <p:cNvSpPr>
            <a:spLocks noGrp="1"/>
          </p:cNvSpPr>
          <p:nvPr>
            <p:ph type="sldNum" sz="quarter" idx="4294967295"/>
          </p:nvPr>
        </p:nvSpPr>
        <p:spPr>
          <a:xfrm>
            <a:off x="11912600" y="6529388"/>
            <a:ext cx="279400" cy="153987"/>
          </a:xfrm>
        </p:spPr>
        <p:txBody>
          <a:bodyPr/>
          <a:lstStyle/>
          <a:p>
            <a:fld id="{A90607E6-BCED-4FC1-A345-AB2A307AB80F}" type="slidenum">
              <a:rPr lang="en-US" smtClean="0"/>
              <a:pPr/>
              <a:t>7</a:t>
            </a:fld>
            <a:endParaRPr lang="en-US" dirty="0"/>
          </a:p>
        </p:txBody>
      </p:sp>
    </p:spTree>
    <p:extLst>
      <p:ext uri="{BB962C8B-B14F-4D97-AF65-F5344CB8AC3E}">
        <p14:creationId xmlns:p14="http://schemas.microsoft.com/office/powerpoint/2010/main" val="10243482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1BB32B6-D66C-453A-AC2C-BFA4A436F448}"/>
              </a:ext>
            </a:extLst>
          </p:cNvPr>
          <p:cNvGraphicFramePr>
            <a:graphicFrameLocks noChangeAspect="1"/>
          </p:cNvGraphicFramePr>
          <p:nvPr>
            <p:custDataLst>
              <p:tags r:id="rId2"/>
            </p:custDataLst>
            <p:extLst>
              <p:ext uri="{D42A27DB-BD31-4B8C-83A1-F6EECF244321}">
                <p14:modId xmlns:p14="http://schemas.microsoft.com/office/powerpoint/2010/main" val="2417293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4906"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7D30EF07-6543-4F2A-8320-820C9263B706}"/>
              </a:ext>
            </a:extLst>
          </p:cNvPr>
          <p:cNvSpPr/>
          <p:nvPr>
            <p:custDataLst>
              <p:tags r:id="rId3"/>
            </p:custDataLst>
          </p:nvPr>
        </p:nvSpPr>
        <p:spPr>
          <a:xfrm>
            <a:off x="0" y="0"/>
            <a:ext cx="158750" cy="158750"/>
          </a:xfrm>
          <a:prstGeom prst="rect">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14400"/>
            <a:endParaRPr lang="en-US" sz="2601" kern="1200" dirty="0" err="1">
              <a:solidFill>
                <a:schemeClr val="bg1"/>
              </a:solidFill>
              <a:latin typeface="Lato" panose="020F0502020204030203" pitchFamily="34" charset="0"/>
              <a:ea typeface="+mj-ea"/>
              <a:cs typeface="Arial" panose="020B0604020202020204" pitchFamily="34" charset="0"/>
              <a:sym typeface="Lato" panose="020F0502020204030203" pitchFamily="34" charset="0"/>
            </a:endParaRPr>
          </a:p>
        </p:txBody>
      </p:sp>
      <p:sp>
        <p:nvSpPr>
          <p:cNvPr id="5" name="Title 4">
            <a:extLst>
              <a:ext uri="{FF2B5EF4-FFF2-40B4-BE49-F238E27FC236}">
                <a16:creationId xmlns:a16="http://schemas.microsoft.com/office/drawing/2014/main" id="{5523F507-7500-463C-AF9C-77C1EC522D15}"/>
              </a:ext>
            </a:extLst>
          </p:cNvPr>
          <p:cNvSpPr>
            <a:spLocks noGrp="1"/>
          </p:cNvSpPr>
          <p:nvPr>
            <p:ph type="title"/>
          </p:nvPr>
        </p:nvSpPr>
        <p:spPr>
          <a:xfrm>
            <a:off x="943689" y="291953"/>
            <a:ext cx="10621127" cy="400238"/>
          </a:xfrm>
        </p:spPr>
        <p:txBody>
          <a:bodyPr/>
          <a:lstStyle/>
          <a:p>
            <a:r>
              <a:rPr lang="en-US" dirty="0" err="1"/>
              <a:t>SoA</a:t>
            </a:r>
            <a:r>
              <a:rPr lang="en-US" dirty="0"/>
              <a:t> </a:t>
            </a:r>
            <a:r>
              <a:rPr lang="en-US" dirty="0" err="1"/>
              <a:t>colour</a:t>
            </a:r>
            <a:r>
              <a:rPr lang="en-US" dirty="0"/>
              <a:t> </a:t>
            </a:r>
            <a:r>
              <a:rPr lang="en-US" dirty="0" err="1"/>
              <a:t>pallete</a:t>
            </a:r>
            <a:endParaRPr lang="en-US" dirty="0"/>
          </a:p>
        </p:txBody>
      </p:sp>
      <p:sp>
        <p:nvSpPr>
          <p:cNvPr id="7" name="Text Placeholder 6">
            <a:extLst>
              <a:ext uri="{FF2B5EF4-FFF2-40B4-BE49-F238E27FC236}">
                <a16:creationId xmlns:a16="http://schemas.microsoft.com/office/drawing/2014/main" id="{DD5F660B-B436-4631-917A-FDFD72D4AD89}"/>
              </a:ext>
            </a:extLst>
          </p:cNvPr>
          <p:cNvSpPr>
            <a:spLocks noGrp="1"/>
          </p:cNvSpPr>
          <p:nvPr>
            <p:ph type="body" sz="quarter" idx="14"/>
          </p:nvPr>
        </p:nvSpPr>
        <p:spPr/>
        <p:txBody>
          <a:bodyPr/>
          <a:lstStyle/>
          <a:p>
            <a:endParaRPr lang="en-US"/>
          </a:p>
        </p:txBody>
      </p:sp>
      <p:sp>
        <p:nvSpPr>
          <p:cNvPr id="8" name="Text Placeholder 7">
            <a:extLst>
              <a:ext uri="{FF2B5EF4-FFF2-40B4-BE49-F238E27FC236}">
                <a16:creationId xmlns:a16="http://schemas.microsoft.com/office/drawing/2014/main" id="{0AF504A2-2D4D-495C-92E7-43659BC10246}"/>
              </a:ext>
            </a:extLst>
          </p:cNvPr>
          <p:cNvSpPr>
            <a:spLocks noGrp="1"/>
          </p:cNvSpPr>
          <p:nvPr>
            <p:ph type="body" sz="quarter" idx="17"/>
          </p:nvPr>
        </p:nvSpPr>
        <p:spPr/>
        <p:txBody>
          <a:bodyPr/>
          <a:lstStyle/>
          <a:p>
            <a:endParaRPr lang="en-US"/>
          </a:p>
        </p:txBody>
      </p:sp>
      <p:pic>
        <p:nvPicPr>
          <p:cNvPr id="12" name="Picture 11">
            <a:extLst>
              <a:ext uri="{FF2B5EF4-FFF2-40B4-BE49-F238E27FC236}">
                <a16:creationId xmlns:a16="http://schemas.microsoft.com/office/drawing/2014/main" id="{0C0C626D-07DD-4977-ACD7-F00382EB3FE3}"/>
              </a:ext>
            </a:extLst>
          </p:cNvPr>
          <p:cNvPicPr>
            <a:picLocks noChangeAspect="1"/>
          </p:cNvPicPr>
          <p:nvPr/>
        </p:nvPicPr>
        <p:blipFill>
          <a:blip r:embed="rId7"/>
          <a:stretch>
            <a:fillRect/>
          </a:stretch>
        </p:blipFill>
        <p:spPr>
          <a:xfrm>
            <a:off x="0" y="1354718"/>
            <a:ext cx="12192000" cy="4148563"/>
          </a:xfrm>
          <a:prstGeom prst="rect">
            <a:avLst/>
          </a:prstGeom>
        </p:spPr>
      </p:pic>
    </p:spTree>
    <p:extLst>
      <p:ext uri="{BB962C8B-B14F-4D97-AF65-F5344CB8AC3E}">
        <p14:creationId xmlns:p14="http://schemas.microsoft.com/office/powerpoint/2010/main" val="41271540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13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4&quot;&gt;&lt;elem m_fUsage=&quot;6.65306962396466605725E+00&quot;&gt;&lt;m_msothmcolidx val=&quot;0&quot;/&gt;&lt;m_rgb r=&quot;70&quot; g=&quot;72&quot; b=&quot;74&quot;/&gt;&lt;m_nBrightness endver=&quot;26206&quot; val=&quot;0&quot;/&gt;&lt;/elem&gt;&lt;elem m_fUsage=&quot;1.99607865836234266155E+00&quot;&gt;&lt;m_msothmcolidx val=&quot;0&quot;/&gt;&lt;m_rgb r=&quot;D6&quot; g=&quot;D6&quot; b=&quot;D6&quot;/&gt;&lt;m_nBrightness endver=&quot;26206&quot; val=&quot;0&quot;/&gt;&lt;/elem&gt;&lt;elem m_fUsage=&quot;2.56720959416444960421E-01&quot;&gt;&lt;m_msothmcolidx val=&quot;0&quot;/&gt;&lt;m_rgb r=&quot;77&quot; g=&quot;B8&quot; b=&quot;E4&quot;/&gt;&lt;m_nBrightness endver=&quot;26206&quot; val=&quot;0&quot;/&gt;&lt;/elem&gt;&lt;elem m_fUsage=&quot;1.73726267616810592376E-01&quot;&gt;&lt;m_msothmcolidx val=&quot;0&quot;/&gt;&lt;m_rgb r=&quot;F5&quot; g=&quot;8A&quot; b=&quot;77&quot;/&gt;&lt;m_nBrightness endver=&quot;26206&quot; val=&quot;0&quot;/&gt;&lt;/elem&gt;&lt;elem m_fUsage=&quot;1.63087909110628009879E-01&quot;&gt;&lt;m_msothmcolidx val=&quot;0&quot;/&gt;&lt;m_rgb r=&quot;E0&quot; g=&quot;EC&quot; b=&quot;F9&quot;/&gt;&lt;m_nBrightness endver=&quot;26206&quot; val=&quot;0&quot;/&gt;&lt;/elem&gt;&lt;elem m_fUsage=&quot;1.51302652506121154685E-01&quot;&gt;&lt;m_msothmcolidx val=&quot;0&quot;/&gt;&lt;m_rgb r=&quot;F9&quot; g=&quot;B8&quot; b=&quot;AA&quot;/&gt;&lt;m_nBrightness endver=&quot;26206&quot; val=&quot;0&quot;/&gt;&lt;/elem&gt;&lt;elem m_fUsage=&quot;1.49866054708733875689E-01&quot;&gt;&lt;m_msothmcolidx val=&quot;0&quot;/&gt;&lt;m_rgb r=&quot;FD&quot; g=&quot;E8&quot; b=&quot;E6&quot;/&gt;&lt;m_nBrightness endver=&quot;26206&quot; val=&quot;0&quot;/&gt;&lt;/elem&gt;&lt;elem m_fUsage=&quot;7.97664430768725701837E-02&quot;&gt;&lt;m_msothmcolidx val=&quot;0&quot;/&gt;&lt;m_rgb r=&quot;2C&quot; g=&quot;A0&quot; b=&quot;DB&quot;/&gt;&lt;m_nBrightness endver=&quot;26206&quot; val=&quot;0&quot;/&gt;&lt;/elem&gt;&lt;elem m_fUsage=&quot;5.63578890870537543845E-02&quot;&gt;&lt;m_msothmcolidx val=&quot;0&quot;/&gt;&lt;m_rgb r=&quot;AC&quot; g=&quot;D0&quot; b=&quot;EE&quot;/&gt;&lt;m_nBrightness endver=&quot;26206&quot; val=&quot;0&quot;/&gt;&lt;/elem&gt;&lt;elem m_fUsage=&quot;4.71012869724624916312E-02&quot;&gt;&lt;m_msothmcolidx val=&quot;0&quot;/&gt;&lt;m_rgb r=&quot;E1&quot; g=&quot;ED&quot; b=&quot;F9&quot;/&gt;&lt;m_nBrightness endver=&quot;26206&quot; val=&quot;0&quot;/&gt;&lt;/elem&gt;&lt;elem m_fUsage=&quot;3.43368382029251573151E-02&quot;&gt;&lt;m_msothmcolidx val=&quot;0&quot;/&gt;&lt;m_rgb r=&quot;33&quot; g=&quot;A3&quot; b=&quot;DC&quot;/&gt;&lt;m_nBrightness endver=&quot;26206&quot; val=&quot;0&quot;/&gt;&lt;/elem&gt;&lt;elem m_fUsage=&quot;3.09031543826326429714E-02&quot;&gt;&lt;m_msothmcolidx val=&quot;0&quot;/&gt;&lt;m_rgb r=&quot;17&quot; g=&quot;5C&quot; b=&quot;96&quot;/&gt;&lt;m_nBrightness endver=&quot;26206&quot; val=&quot;0&quot;/&gt;&lt;/elem&gt;&lt;elem m_fUsage=&quot;2.78128389443693807559E-02&quot;&gt;&lt;m_msothmcolidx val=&quot;0&quot;/&gt;&lt;m_rgb r=&quot;FF&quot; g=&quot;ED&quot; b=&quot;BC&quot;/&gt;&lt;m_nBrightness endver=&quot;26206&quot; val=&quot;0&quot;/&gt;&lt;/elem&gt;&lt;elem m_fUsage=&quot;2.50315550499324440681E-02&quot;&gt;&lt;m_msothmcolidx val=&quot;0&quot;/&gt;&lt;m_rgb r=&quot;FD&quot; g=&quot;CC&quot; b=&quot;8E&quot;/&gt;&lt;m_nBrightness endver=&quot;26206&quot; val=&quot;0&quot;/&gt;&lt;/elem&gt;&lt;elem m_fUsage=&quot;2.39155899502901496401E-02&quot;&gt;&lt;m_msothmcolidx val=&quot;0&quot;/&gt;&lt;m_rgb r=&quot;AD&quot; g=&quot;D1&quot; b=&quot;EF&quot;/&gt;&lt;m_nBrightness endver=&quot;26206&quot; val=&quot;0&quot;/&gt;&lt;/elem&gt;&lt;elem m_fUsage=&quot;2.25283995449391989674E-02&quot;&gt;&lt;m_msothmcolidx val=&quot;0&quot;/&gt;&lt;m_rgb r=&quot;F9&quot; g=&quot;AA&quot; b=&quot;65&quot;/&gt;&lt;m_nBrightness endver=&quot;26206&quot; val=&quot;0&quot;/&gt;&lt;/elem&gt;&lt;elem m_fUsage=&quot;2.02755595904452780298E-02&quot;&gt;&lt;m_msothmcolidx val=&quot;0&quot;/&gt;&lt;m_rgb r=&quot;F6&quot; g=&quot;8B&quot; b=&quot;3C&quot;/&gt;&lt;m_nBrightness endver=&quot;26206&quot; val=&quot;0&quot;/&gt;&lt;/elem&gt;&lt;elem m_fUsage=&quot;1.82480036314007498799E-02&quot;&gt;&lt;m_msothmcolidx val=&quot;0&quot;/&gt;&lt;m_rgb r=&quot;A1&quot; g=&quot;4F&quot; b=&quot;13&quot;/&gt;&lt;m_nBrightness endver=&quot;26206&quot; val=&quot;0&quot;/&gt;&lt;/elem&gt;&lt;elem m_fUsage=&quot;1.52656991952825876052E-02&quot;&gt;&lt;m_msothmcolidx val=&quot;0&quot;/&gt;&lt;m_rgb r=&quot;76&quot; g=&quot;B8&quot; b=&quot;E4&quot;/&gt;&lt;m_nBrightness endver=&quot;26206&quot; val=&quot;0&quot;/&gt;&lt;/elem&gt;&lt;elem m_fUsage=&quot;1.07756626657753862980E-02&quot;&gt;&lt;m_msothmcolidx val=&quot;0&quot;/&gt;&lt;m_rgb r=&quot;FF&quot; g=&quot;AC&quot; b=&quot;00&quot;/&gt;&lt;m_nBrightness endver=&quot;26206&quot; val=&quot;0&quot;/&gt;&lt;/elem&gt;&lt;elem m_fUsage=&quot;1.07752636643058292976E-02&quot;&gt;&lt;m_msothmcolidx val=&quot;0&quot;/&gt;&lt;m_rgb r=&quot;E1&quot; g=&quot;EE&quot; b=&quot;F9&quot;/&gt;&lt;m_nBrightness endver=&quot;26206&quot; val=&quot;0&quot;/&gt;&lt;/elem&gt;&lt;elem m_fUsage=&quot;8.72796356808772273717E-03&quot;&gt;&lt;m_msothmcolidx val=&quot;0&quot;/&gt;&lt;m_rgb r=&quot;F2&quot; g=&quot;F2&quot; b=&quot;F2&quot;/&gt;&lt;m_nBrightness endver=&quot;26206&quot; val=&quot;0&quot;/&gt;&lt;/elem&gt;&lt;elem m_fUsage=&quot;7.06965049015105539976E-03&quot;&gt;&lt;m_msothmcolidx val=&quot;0&quot;/&gt;&lt;m_rgb r=&quot;FE&quot; g=&quot;CC&quot; b=&quot;8F&quot;/&gt;&lt;m_nBrightness endver=&quot;26206&quot; val=&quot;0&quot;/&gt;&lt;/elem&gt;&lt;elem m_fUsage=&quot;5.01655557595195086135E-03&quot;&gt;&lt;m_msothmcolidx val=&quot;0&quot;/&gt;&lt;m_rgb r=&quot;A8&quot; g=&quot;D3&quot; b=&quot;63&quot;/&gt;&lt;m_nBrightness endver=&quot;26206&quot;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gXVTjNx.jDQHpmIGMsCU4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G_v.JZtwBBlnfhoEi0GcP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MhNIRHwj6eHNBdepX_n.s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XHj5pHoIDkVuXdOe8qg6S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NQ2bmVf8DwRQIhgWXrx8b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rd9VrFPkrUWobuNLYKzpK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I0F0auA8C2TpP83Sd5q.9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_zGyZ3lmydlNMp7Lqv31M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72aFrlpwIKakD6BEvQ_5f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75zUl2tR9PJywerBt4Pyi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xPflytIP0pBjJLR4eXjj1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nLQXjF4DA6teG3Q.G4x0B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AqWv0o0nhVWQ0q.oCusxt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SSoQUs74p_KrKHMVLujHY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TS0Mf70xwqzLGORo9pOZ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BTQDjN3T20qlnTfeoGH6A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8oZO0hOKT1aSl_5CzLrJz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qRUuSFR.SDOdXVfyTUY_s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BlHCcFIQfWWOB0WOoHVx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uCx1ZUtiQ.OlDGfMh0Y3K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RIYM2yGgQkS7FuogpK.3s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mHOWWDhJQdmQAYnZvfq7D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_vVffS6ShW3.5VP4Yurj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BTQDjN3T20qlnTfeoGH6A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BTQDjN3T20qlnTfeoGH6A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BTQDjN3T20qlnTfeoGH6A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BTQDjN3T20qlnTfeoGH6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BTQDjN3T20qlnTfeoGH6A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BTQDjN3T20qlnTfeoGH6A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6Sh4NnEdR8iUNhatMhBS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BTQDjN3T20qlnTfeoGH6A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BAUKmCGT2iC6cfSnldL5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BTQDjN3T20qlnTfeoGH6A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BTQDjN3T20qlnTfeoGH6A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BTQDjN3T20qlnTfeoGH6A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BTQDjN3T20qlnTfeoGH6A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BTQDjN3T20qlnTfeoGH6A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BTQDjN3T20qlnTfeoGH6A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JwLG7I3ydyMqSIsFZAHRf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9pPrKCI6lMkkmUcFhg7mR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NkHDiLduB5PxewRmKWaJq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3_GxY7UhCo.GJ8Ji8fDDX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RhQuvcR27N8LPim4dc8o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uX56KCipaQE7MjEBAExaZ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PB2KvfsCmeXxYp53IqlO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8ypyVC0aEQipE6oM7DraI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OqyTd.ARVcqRUdplDUo88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28jGO_qwmBlX7__mH1IQE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JNSVW743.c5tW7bSuJBcj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uu44knYDMCG8uvm8g8.ft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9Phq65mF_wcbPUOwuGSWu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OlWnyRO8kErjCIqo3Wiad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j1bf.5jmRiOHn2Yjn.WHA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5yv6GUvQEDKb6C8gaWMUg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7ft7Ug4xHepGDVOCqomWY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kAY4SBA7XrlBhZbgMROvs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aRjvrc2no2SxNSFoODdpm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3Q0AyRo2f3lpkKjYpSRGx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jqyvfMoX41Mbjs6cmGLpn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xt9EeakQx4sdQQJ8LZtcu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EaI8ndbN.8fI__nSQTVyC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8md9nv7Erz9F_Tj7j1r6U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tetAjUH1PJA4od2wtwnja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FlTpLKWUmzPvGOgnEnswB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YGvCjPTJ0pB5Q9CXx4yjz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alberg_Advisors_Master_20180604">
  <a:themeElements>
    <a:clrScheme name="Dalberg colours">
      <a:dk1>
        <a:srgbClr val="606060"/>
      </a:dk1>
      <a:lt1>
        <a:sysClr val="window" lastClr="FFFFFF"/>
      </a:lt1>
      <a:dk2>
        <a:srgbClr val="118AAA"/>
      </a:dk2>
      <a:lt2>
        <a:srgbClr val="FFFFFF"/>
      </a:lt2>
      <a:accent1>
        <a:srgbClr val="F3B11C"/>
      </a:accent1>
      <a:accent2>
        <a:srgbClr val="888381"/>
      </a:accent2>
      <a:accent3>
        <a:srgbClr val="000000"/>
      </a:accent3>
      <a:accent4>
        <a:srgbClr val="0D7741"/>
      </a:accent4>
      <a:accent5>
        <a:srgbClr val="4857A6"/>
      </a:accent5>
      <a:accent6>
        <a:srgbClr val="AB855F"/>
      </a:accent6>
      <a:hlink>
        <a:srgbClr val="222F66"/>
      </a:hlink>
      <a:folHlink>
        <a:srgbClr val="6068B0"/>
      </a:folHlink>
    </a:clrScheme>
    <a:fontScheme name="Dalberg_2018">
      <a:majorFont>
        <a:latin typeface="Lato"/>
        <a:ea typeface=""/>
        <a:cs typeface=""/>
      </a:majorFont>
      <a:minorFont>
        <a:latin typeface="Lat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defTabSz="914400" rtl="0" eaLnBrk="1" latinLnBrk="0" hangingPunct="1">
          <a:lnSpc>
            <a:spcPct val="100000"/>
          </a:lnSpc>
          <a:spcBef>
            <a:spcPts val="0"/>
          </a:spcBef>
          <a:defRPr sz="1600" kern="1200" dirty="0" err="1" smtClean="0">
            <a:solidFill>
              <a:schemeClr val="bg1"/>
            </a:solidFill>
            <a:ea typeface="+mn-ea"/>
            <a:cs typeface="Arial" pitchFamily="34" charset="0"/>
          </a:defRPr>
        </a:defPPr>
      </a:lstStyle>
      <a:style>
        <a:lnRef idx="1">
          <a:schemeClr val="accent1"/>
        </a:lnRef>
        <a:fillRef idx="0">
          <a:schemeClr val="accent1"/>
        </a:fillRef>
        <a:effectRef idx="0">
          <a:schemeClr val="accent1"/>
        </a:effectRef>
        <a:fontRef idx="minor">
          <a:schemeClr val="tx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bodyPr vert="horz" wrap="square" lIns="0" tIns="0" rIns="0" bIns="0" rtlCol="0" anchor="t">
        <a:noAutofit/>
      </a:bodyPr>
      <a:lstStyle>
        <a:defPPr>
          <a:spcBef>
            <a:spcPts val="600"/>
          </a:spcBef>
          <a:defRPr dirty="0">
            <a:solidFill>
              <a:srgbClr val="606060"/>
            </a:solidFill>
          </a:defRPr>
        </a:defPPr>
      </a:lstStyle>
    </a:txDef>
  </a:objectDefaults>
  <a:extraClrSchemeLst/>
  <a:extLst>
    <a:ext uri="{05A4C25C-085E-4340-85A3-A5531E510DB2}">
      <thm15:themeFamily xmlns:thm15="http://schemas.microsoft.com/office/thememl/2012/main" name="Presentation1" id="{02CEDA95-8D92-4E5A-A6B2-A0CA975577EC}" vid="{7266AF39-89C3-4368-97E8-7C4340514D23}"/>
    </a:ext>
  </a:extLst>
</a:theme>
</file>

<file path=ppt/theme/theme2.xml><?xml version="1.0" encoding="utf-8"?>
<a:theme xmlns:a="http://schemas.openxmlformats.org/drawingml/2006/main" name="Board slides">
  <a:themeElements>
    <a:clrScheme name="Dalberg colours">
      <a:dk1>
        <a:srgbClr val="606060"/>
      </a:dk1>
      <a:lt1>
        <a:sysClr val="window" lastClr="FFFFFF"/>
      </a:lt1>
      <a:dk2>
        <a:srgbClr val="118AAA"/>
      </a:dk2>
      <a:lt2>
        <a:srgbClr val="FFFFFF"/>
      </a:lt2>
      <a:accent1>
        <a:srgbClr val="F3B11C"/>
      </a:accent1>
      <a:accent2>
        <a:srgbClr val="888381"/>
      </a:accent2>
      <a:accent3>
        <a:srgbClr val="000000"/>
      </a:accent3>
      <a:accent4>
        <a:srgbClr val="0D7741"/>
      </a:accent4>
      <a:accent5>
        <a:srgbClr val="4857A6"/>
      </a:accent5>
      <a:accent6>
        <a:srgbClr val="AB855F"/>
      </a:accent6>
      <a:hlink>
        <a:srgbClr val="222F66"/>
      </a:hlink>
      <a:folHlink>
        <a:srgbClr val="6068B0"/>
      </a:folHlink>
    </a:clrScheme>
    <a:fontScheme name="Dalberg_2018">
      <a:majorFont>
        <a:latin typeface="Lato"/>
        <a:ea typeface=""/>
        <a:cs typeface=""/>
      </a:majorFont>
      <a:minorFont>
        <a:latin typeface="Lat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w="9525">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defTabSz="914400" rtl="0" eaLnBrk="1" latinLnBrk="0" hangingPunct="1">
          <a:lnSpc>
            <a:spcPct val="100000"/>
          </a:lnSpc>
          <a:spcBef>
            <a:spcPts val="0"/>
          </a:spcBef>
          <a:defRPr sz="1600" kern="1200" dirty="0" err="1" smtClean="0">
            <a:solidFill>
              <a:schemeClr val="bg2"/>
            </a:solidFill>
            <a:ea typeface="+mn-ea"/>
            <a:cs typeface="Arial" pitchFamily="34" charset="0"/>
          </a:defRPr>
        </a:defPPr>
      </a:lstStyle>
      <a:style>
        <a:lnRef idx="1">
          <a:schemeClr val="accent1"/>
        </a:lnRef>
        <a:fillRef idx="0">
          <a:schemeClr val="accent1"/>
        </a:fillRef>
        <a:effectRef idx="0">
          <a:schemeClr val="accent1"/>
        </a:effectRef>
        <a:fontRef idx="minor">
          <a:schemeClr val="tx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bodyPr vert="horz" wrap="square" lIns="0" tIns="0" rIns="0" bIns="0" rtlCol="0">
        <a:noAutofit/>
      </a:bodyPr>
      <a:lstStyle>
        <a:defPPr>
          <a:defRPr smtClean="0"/>
        </a:defPPr>
      </a:lstStyle>
    </a:txDef>
  </a:objectDefaults>
  <a:extraClrSchemeLst/>
  <a:extLst>
    <a:ext uri="{05A4C25C-085E-4340-85A3-A5531E510DB2}">
      <thm15:themeFamily xmlns:thm15="http://schemas.microsoft.com/office/thememl/2012/main" name="Presentation1" id="{02CEDA95-8D92-4E5A-A6B2-A0CA975577EC}" vid="{5584049F-C79A-4C26-8B36-55A1DF9BE2B2}"/>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ww.presentationdepot.co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www.presentationdepot.co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9">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4D239ECB-61F4-4925-BE01-9671A02C71F2}">
  <we:reference id="wa104381063" version="1.0.0.1" store="en-US" storeType="OMEX"/>
  <we:alternateReferences>
    <we:reference id="wa104381063" version="1.0.0.1" store="wa104381063"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blank</Template>
  <TotalTime>7551</TotalTime>
  <Words>437</Words>
  <Application>Microsoft Office PowerPoint</Application>
  <PresentationFormat>Widescreen</PresentationFormat>
  <Paragraphs>97</Paragraphs>
  <Slides>8</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6" baseType="lpstr">
      <vt:lpstr>Arial</vt:lpstr>
      <vt:lpstr>Homebase 12 Light</vt:lpstr>
      <vt:lpstr>Lato</vt:lpstr>
      <vt:lpstr>Lato Light</vt:lpstr>
      <vt:lpstr>Proxima Nova A</vt:lpstr>
      <vt:lpstr>Dalberg_Advisors_Master_20180604</vt:lpstr>
      <vt:lpstr>Board slides</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oA colour pallete</vt:lpstr>
    </vt:vector>
  </TitlesOfParts>
  <Company>www.presentationdepot.c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vvart Poddar</dc:creator>
  <cp:lastModifiedBy>Devvart Poddar</cp:lastModifiedBy>
  <cp:revision>299</cp:revision>
  <cp:lastPrinted>2018-06-13T20:48:11Z</cp:lastPrinted>
  <dcterms:created xsi:type="dcterms:W3CDTF">2019-09-27T07:44:13Z</dcterms:created>
  <dcterms:modified xsi:type="dcterms:W3CDTF">2019-11-20T13:38:35Z</dcterms:modified>
</cp:coreProperties>
</file>